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1.xml" ContentType="application/vnd.openxmlformats-officedocument.presentationml.notesSlide+xml"/>
  <Override PartName="/ppt/charts/chart463.xml" ContentType="application/vnd.openxmlformats-officedocument.drawingml.chart+xml"/>
  <Override PartName="/ppt/tags/tag656.xml" ContentType="application/vnd.openxmlformats-officedocument.presentationml.tags+xml"/>
  <Override PartName="/ppt/notesSlides/notesSlide2.xml" ContentType="application/vnd.openxmlformats-officedocument.presentationml.notesSlide+xml"/>
  <Override PartName="/ppt/charts/chart464.xml" ContentType="application/vnd.openxmlformats-officedocument.drawingml.chart+xml"/>
  <Override PartName="/ppt/tags/tag657.xml" ContentType="application/vnd.openxmlformats-officedocument.presentationml.tags+xml"/>
  <Override PartName="/ppt/notesSlides/notesSlide3.xml" ContentType="application/vnd.openxmlformats-officedocument.presentationml.notesSlide+xml"/>
  <Override PartName="/ppt/charts/chart465.xml" ContentType="application/vnd.openxmlformats-officedocument.drawingml.chart+xml"/>
  <Override PartName="/ppt/tags/tag658.xml" ContentType="application/vnd.openxmlformats-officedocument.presentationml.tags+xml"/>
  <Override PartName="/ppt/notesSlides/notesSlide4.xml" ContentType="application/vnd.openxmlformats-officedocument.presentationml.notesSlide+xml"/>
  <Override PartName="/ppt/charts/chart466.xml" ContentType="application/vnd.openxmlformats-officedocument.drawingml.chart+xml"/>
  <Override PartName="/ppt/tags/tag659.xml" ContentType="application/vnd.openxmlformats-officedocument.presentationml.tags+xml"/>
  <Override PartName="/ppt/notesSlides/notesSlide5.xml" ContentType="application/vnd.openxmlformats-officedocument.presentationml.notesSlide+xml"/>
  <Override PartName="/ppt/charts/chart467.xml" ContentType="application/vnd.openxmlformats-officedocument.drawingml.chart+xml"/>
  <Override PartName="/ppt/tags/tag660.xml" ContentType="application/vnd.openxmlformats-officedocument.presentationml.tags+xml"/>
  <Override PartName="/ppt/notesSlides/notesSlide6.xml" ContentType="application/vnd.openxmlformats-officedocument.presentationml.notesSlide+xml"/>
  <Override PartName="/ppt/charts/chart468.xml" ContentType="application/vnd.openxmlformats-officedocument.drawingml.chart+xml"/>
  <Override PartName="/ppt/tags/tag661.xml" ContentType="application/vnd.openxmlformats-officedocument.presentationml.tags+xml"/>
  <Override PartName="/ppt/notesSlides/notesSlide7.xml" ContentType="application/vnd.openxmlformats-officedocument.presentationml.notesSlide+xml"/>
  <Override PartName="/ppt/charts/chart469.xml" ContentType="application/vnd.openxmlformats-officedocument.drawingml.chart+xml"/>
  <Override PartName="/ppt/tags/tag662.xml" ContentType="application/vnd.openxmlformats-officedocument.presentationml.tags+xml"/>
  <Override PartName="/ppt/notesSlides/notesSlide8.xml" ContentType="application/vnd.openxmlformats-officedocument.presentationml.notesSlide+xml"/>
  <Override PartName="/ppt/charts/chart470.xml" ContentType="application/vnd.openxmlformats-officedocument.drawingml.chart+xml"/>
  <Override PartName="/ppt/tags/tag663.xml" ContentType="application/vnd.openxmlformats-officedocument.presentationml.tags+xml"/>
  <Override PartName="/ppt/notesSlides/notesSlide9.xml" ContentType="application/vnd.openxmlformats-officedocument.presentationml.notesSlide+xml"/>
  <Override PartName="/ppt/charts/chart471.xml" ContentType="application/vnd.openxmlformats-officedocument.drawingml.chart+xml"/>
  <Override PartName="/ppt/tags/tag664.xml" ContentType="application/vnd.openxmlformats-officedocument.presentationml.tags+xml"/>
  <Override PartName="/ppt/notesSlides/notesSlide10.xml" ContentType="application/vnd.openxmlformats-officedocument.presentationml.notesSlide+xml"/>
  <Override PartName="/ppt/charts/chart472.xml" ContentType="application/vnd.openxmlformats-officedocument.drawingml.chart+xml"/>
  <Override PartName="/ppt/tags/tag665.xml" ContentType="application/vnd.openxmlformats-officedocument.presentationml.tags+xml"/>
  <Override PartName="/ppt/notesSlides/notesSlide11.xml" ContentType="application/vnd.openxmlformats-officedocument.presentationml.notesSlide+xml"/>
  <Override PartName="/ppt/charts/chart473.xml" ContentType="application/vnd.openxmlformats-officedocument.drawingml.chart+xml"/>
  <Override PartName="/ppt/tags/tag666.xml" ContentType="application/vnd.openxmlformats-officedocument.presentationml.tags+xml"/>
  <Override PartName="/ppt/notesSlides/notesSlide12.xml" ContentType="application/vnd.openxmlformats-officedocument.presentationml.notesSlide+xml"/>
  <Override PartName="/ppt/charts/chart474.xml" ContentType="application/vnd.openxmlformats-officedocument.drawingml.chart+xml"/>
  <Override PartName="/ppt/tags/tag667.xml" ContentType="application/vnd.openxmlformats-officedocument.presentationml.tags+xml"/>
  <Override PartName="/ppt/notesSlides/notesSlide13.xml" ContentType="application/vnd.openxmlformats-officedocument.presentationml.notesSlide+xml"/>
  <Override PartName="/ppt/charts/chart475.xml" ContentType="application/vnd.openxmlformats-officedocument.drawingml.chart+xml"/>
  <Override PartName="/ppt/tags/tag668.xml" ContentType="application/vnd.openxmlformats-officedocument.presentationml.tags+xml"/>
  <Override PartName="/ppt/notesSlides/notesSlide14.xml" ContentType="application/vnd.openxmlformats-officedocument.presentationml.notesSlide+xml"/>
  <Override PartName="/ppt/charts/chart476.xml" ContentType="application/vnd.openxmlformats-officedocument.drawingml.chart+xml"/>
  <Override PartName="/ppt/tags/tag669.xml" ContentType="application/vnd.openxmlformats-officedocument.presentationml.tags+xml"/>
  <Override PartName="/ppt/notesSlides/notesSlide15.xml" ContentType="application/vnd.openxmlformats-officedocument.presentationml.notesSlide+xml"/>
  <Override PartName="/ppt/charts/chart477.xml" ContentType="application/vnd.openxmlformats-officedocument.drawingml.chart+xml"/>
  <Override PartName="/ppt/tags/tag670.xml" ContentType="application/vnd.openxmlformats-officedocument.presentationml.tags+xml"/>
  <Override PartName="/ppt/notesSlides/notesSlide16.xml" ContentType="application/vnd.openxmlformats-officedocument.presentationml.notesSlide+xml"/>
  <Override PartName="/ppt/charts/chart478.xml" ContentType="application/vnd.openxmlformats-officedocument.drawingml.chart+xml"/>
  <Override PartName="/ppt/tags/tag671.xml" ContentType="application/vnd.openxmlformats-officedocument.presentationml.tags+xml"/>
  <Override PartName="/ppt/notesSlides/notesSlide17.xml" ContentType="application/vnd.openxmlformats-officedocument.presentationml.notesSlide+xml"/>
  <Override PartName="/ppt/charts/chart479.xml" ContentType="application/vnd.openxmlformats-officedocument.drawingml.chart+xml"/>
  <Override PartName="/ppt/tags/tag672.xml" ContentType="application/vnd.openxmlformats-officedocument.presentationml.tags+xml"/>
  <Override PartName="/ppt/notesSlides/notesSlide18.xml" ContentType="application/vnd.openxmlformats-officedocument.presentationml.notesSlide+xml"/>
  <Override PartName="/ppt/charts/chart480.xml" ContentType="application/vnd.openxmlformats-officedocument.drawingml.chart+xml"/>
  <Override PartName="/ppt/tags/tag673.xml" ContentType="application/vnd.openxmlformats-officedocument.presentationml.tags+xml"/>
  <Override PartName="/ppt/notesSlides/notesSlide19.xml" ContentType="application/vnd.openxmlformats-officedocument.presentationml.notesSlide+xml"/>
  <Override PartName="/ppt/charts/chart481.xml" ContentType="application/vnd.openxmlformats-officedocument.drawingml.chart+xml"/>
  <Override PartName="/ppt/tags/tag674.xml" ContentType="application/vnd.openxmlformats-officedocument.presentationml.tags+xml"/>
  <Override PartName="/ppt/notesSlides/notesSlide20.xml" ContentType="application/vnd.openxmlformats-officedocument.presentationml.notesSlide+xml"/>
  <Override PartName="/ppt/charts/chart482.xml" ContentType="application/vnd.openxmlformats-officedocument.drawingml.chart+xml"/>
  <Override PartName="/ppt/tags/tag675.xml" ContentType="application/vnd.openxmlformats-officedocument.presentationml.tags+xml"/>
  <Override PartName="/ppt/notesSlides/notesSlide21.xml" ContentType="application/vnd.openxmlformats-officedocument.presentationml.notesSlide+xml"/>
  <Override PartName="/ppt/charts/chart483.xml" ContentType="application/vnd.openxmlformats-officedocument.drawingml.chart+xml"/>
  <Override PartName="/ppt/tags/tag676.xml" ContentType="application/vnd.openxmlformats-officedocument.presentationml.tags+xml"/>
  <Override PartName="/ppt/notesSlides/notesSlide22.xml" ContentType="application/vnd.openxmlformats-officedocument.presentationml.notesSlide+xml"/>
  <Override PartName="/ppt/charts/chart484.xml" ContentType="application/vnd.openxmlformats-officedocument.drawingml.chart+xml"/>
  <Override PartName="/ppt/tags/tag677.xml" ContentType="application/vnd.openxmlformats-officedocument.presentationml.tags+xml"/>
  <Override PartName="/ppt/notesSlides/notesSlide23.xml" ContentType="application/vnd.openxmlformats-officedocument.presentationml.notesSlide+xml"/>
  <Override PartName="/ppt/charts/chart485.xml" ContentType="application/vnd.openxmlformats-officedocument.drawingml.chart+xml"/>
  <Override PartName="/ppt/tags/tag678.xml" ContentType="application/vnd.openxmlformats-officedocument.presentationml.tags+xml"/>
  <Override PartName="/ppt/notesSlides/notesSlide24.xml" ContentType="application/vnd.openxmlformats-officedocument.presentationml.notesSlide+xml"/>
  <Override PartName="/ppt/charts/chart486.xml" ContentType="application/vnd.openxmlformats-officedocument.drawingml.chart+xml"/>
  <Override PartName="/ppt/tags/tag679.xml" ContentType="application/vnd.openxmlformats-officedocument.presentationml.tags+xml"/>
  <Override PartName="/ppt/notesSlides/notesSlide25.xml" ContentType="application/vnd.openxmlformats-officedocument.presentationml.notesSlide+xml"/>
  <Override PartName="/ppt/charts/chart487.xml" ContentType="application/vnd.openxmlformats-officedocument.drawingml.chart+xml"/>
  <Override PartName="/ppt/tags/tag680.xml" ContentType="application/vnd.openxmlformats-officedocument.presentationml.tags+xml"/>
  <Override PartName="/ppt/notesSlides/notesSlide26.xml" ContentType="application/vnd.openxmlformats-officedocument.presentationml.notesSlide+xml"/>
  <Override PartName="/ppt/charts/chart488.xml" ContentType="application/vnd.openxmlformats-officedocument.drawingml.chart+xml"/>
  <Override PartName="/ppt/tags/tag681.xml" ContentType="application/vnd.openxmlformats-officedocument.presentationml.tags+xml"/>
  <Override PartName="/ppt/notesSlides/notesSlide27.xml" ContentType="application/vnd.openxmlformats-officedocument.presentationml.notesSlide+xml"/>
  <Override PartName="/ppt/charts/chart489.xml" ContentType="application/vnd.openxmlformats-officedocument.drawingml.chart+xml"/>
  <Override PartName="/ppt/tags/tag682.xml" ContentType="application/vnd.openxmlformats-officedocument.presentationml.tags+xml"/>
  <Override PartName="/ppt/notesSlides/notesSlide28.xml" ContentType="application/vnd.openxmlformats-officedocument.presentationml.notesSlide+xml"/>
  <Override PartName="/ppt/charts/chart490.xml" ContentType="application/vnd.openxmlformats-officedocument.drawingml.chart+xml"/>
  <Override PartName="/ppt/tags/tag683.xml" ContentType="application/vnd.openxmlformats-officedocument.presentationml.tags+xml"/>
  <Override PartName="/ppt/notesSlides/notesSlide29.xml" ContentType="application/vnd.openxmlformats-officedocument.presentationml.notesSlide+xml"/>
  <Override PartName="/ppt/charts/chart491.xml" ContentType="application/vnd.openxmlformats-officedocument.drawingml.chart+xml"/>
  <Override PartName="/ppt/tags/tag684.xml" ContentType="application/vnd.openxmlformats-officedocument.presentationml.tags+xml"/>
  <Override PartName="/ppt/notesSlides/notesSlide30.xml" ContentType="application/vnd.openxmlformats-officedocument.presentationml.notesSlide+xml"/>
  <Override PartName="/ppt/charts/chart492.xml" ContentType="application/vnd.openxmlformats-officedocument.drawingml.chart+xml"/>
  <Override PartName="/ppt/tags/tag685.xml" ContentType="application/vnd.openxmlformats-officedocument.presentationml.tags+xml"/>
  <Override PartName="/ppt/notesSlides/notesSlide31.xml" ContentType="application/vnd.openxmlformats-officedocument.presentationml.notesSlide+xml"/>
  <Override PartName="/ppt/charts/chart493.xml" ContentType="application/vnd.openxmlformats-officedocument.drawingml.chart+xml"/>
  <Override PartName="/ppt/tags/tag686.xml" ContentType="application/vnd.openxmlformats-officedocument.presentationml.tags+xml"/>
  <Override PartName="/ppt/notesSlides/notesSlide32.xml" ContentType="application/vnd.openxmlformats-officedocument.presentationml.notesSlide+xml"/>
  <Override PartName="/ppt/charts/chart494.xml" ContentType="application/vnd.openxmlformats-officedocument.drawingml.chart+xml"/>
  <Override PartName="/ppt/tags/tag687.xml" ContentType="application/vnd.openxmlformats-officedocument.presentationml.tags+xml"/>
  <Override PartName="/ppt/notesSlides/notesSlide33.xml" ContentType="application/vnd.openxmlformats-officedocument.presentationml.notesSlide+xml"/>
  <Override PartName="/ppt/charts/chart495.xml" ContentType="application/vnd.openxmlformats-officedocument.drawingml.chart+xml"/>
  <Override PartName="/ppt/tags/tag688.xml" ContentType="application/vnd.openxmlformats-officedocument.presentationml.tags+xml"/>
  <Override PartName="/ppt/notesSlides/notesSlide34.xml" ContentType="application/vnd.openxmlformats-officedocument.presentationml.notesSlide+xml"/>
  <Override PartName="/ppt/charts/chart496.xml" ContentType="application/vnd.openxmlformats-officedocument.drawingml.chart+xml"/>
  <Override PartName="/ppt/tags/tag689.xml" ContentType="application/vnd.openxmlformats-officedocument.presentationml.tags+xml"/>
  <Override PartName="/ppt/notesSlides/notesSlide35.xml" ContentType="application/vnd.openxmlformats-officedocument.presentationml.notesSlide+xml"/>
  <Override PartName="/ppt/charts/chart497.xml" ContentType="application/vnd.openxmlformats-officedocument.drawingml.chart+xml"/>
  <Override PartName="/ppt/tags/tag690.xml" ContentType="application/vnd.openxmlformats-officedocument.presentationml.tags+xml"/>
  <Override PartName="/ppt/notesSlides/notesSlide36.xml" ContentType="application/vnd.openxmlformats-officedocument.presentationml.notesSlide+xml"/>
  <Override PartName="/ppt/charts/chart498.xml" ContentType="application/vnd.openxmlformats-officedocument.drawingml.chart+xml"/>
  <Override PartName="/ppt/tags/tag691.xml" ContentType="application/vnd.openxmlformats-officedocument.presentationml.tags+xml"/>
  <Override PartName="/ppt/notesSlides/notesSlide37.xml" ContentType="application/vnd.openxmlformats-officedocument.presentationml.notesSlide+xml"/>
  <Override PartName="/ppt/charts/chart499.xml" ContentType="application/vnd.openxmlformats-officedocument.drawingml.chart+xml"/>
  <Override PartName="/ppt/tags/tag692.xml" ContentType="application/vnd.openxmlformats-officedocument.presentationml.tags+xml"/>
  <Override PartName="/ppt/notesSlides/notesSlide38.xml" ContentType="application/vnd.openxmlformats-officedocument.presentationml.notesSlide+xml"/>
  <Override PartName="/ppt/charts/chart500.xml" ContentType="application/vnd.openxmlformats-officedocument.drawingml.chart+xml"/>
  <Override PartName="/ppt/tags/tag693.xml" ContentType="application/vnd.openxmlformats-officedocument.presentationml.tags+xml"/>
  <Override PartName="/ppt/notesSlides/notesSlide39.xml" ContentType="application/vnd.openxmlformats-officedocument.presentationml.notesSlide+xml"/>
  <Override PartName="/ppt/charts/chart501.xml" ContentType="application/vnd.openxmlformats-officedocument.drawingml.chart+xml"/>
  <Override PartName="/ppt/tags/tag694.xml" ContentType="application/vnd.openxmlformats-officedocument.presentationml.tags+xml"/>
  <Override PartName="/ppt/notesSlides/notesSlide40.xml" ContentType="application/vnd.openxmlformats-officedocument.presentationml.notesSlide+xml"/>
  <Override PartName="/ppt/charts/chart502.xml" ContentType="application/vnd.openxmlformats-officedocument.drawingml.chart+xml"/>
  <Override PartName="/ppt/tags/tag695.xml" ContentType="application/vnd.openxmlformats-officedocument.presentationml.tags+xml"/>
  <Override PartName="/ppt/notesSlides/notesSlide41.xml" ContentType="application/vnd.openxmlformats-officedocument.presentationml.notesSlide+xml"/>
  <Override PartName="/ppt/charts/chart503.xml" ContentType="application/vnd.openxmlformats-officedocument.drawingml.chart+xml"/>
  <Override PartName="/ppt/tags/tag696.xml" ContentType="application/vnd.openxmlformats-officedocument.presentationml.tags+xml"/>
  <Override PartName="/ppt/notesSlides/notesSlide42.xml" ContentType="application/vnd.openxmlformats-officedocument.presentationml.notesSlide+xml"/>
  <Override PartName="/ppt/charts/chart504.xml" ContentType="application/vnd.openxmlformats-officedocument.drawingml.chart+xml"/>
  <Override PartName="/ppt/tags/tag697.xml" ContentType="application/vnd.openxmlformats-officedocument.presentationml.tags+xml"/>
  <Override PartName="/ppt/notesSlides/notesSlide43.xml" ContentType="application/vnd.openxmlformats-officedocument.presentationml.notesSlide+xml"/>
  <Override PartName="/ppt/charts/chart505.xml" ContentType="application/vnd.openxmlformats-officedocument.drawingml.chart+xml"/>
  <Override PartName="/ppt/tags/tag698.xml" ContentType="application/vnd.openxmlformats-officedocument.presentationml.tags+xml"/>
  <Override PartName="/ppt/notesSlides/notesSlide44.xml" ContentType="application/vnd.openxmlformats-officedocument.presentationml.notesSlide+xml"/>
  <Override PartName="/ppt/charts/chart506.xml" ContentType="application/vnd.openxmlformats-officedocument.drawingml.chart+xml"/>
  <Override PartName="/ppt/tags/tag699.xml" ContentType="application/vnd.openxmlformats-officedocument.presentationml.tags+xml"/>
  <Override PartName="/ppt/notesSlides/notesSlide45.xml" ContentType="application/vnd.openxmlformats-officedocument.presentationml.notesSlide+xml"/>
  <Override PartName="/ppt/charts/chart507.xml" ContentType="application/vnd.openxmlformats-officedocument.drawingml.chart+xml"/>
  <Override PartName="/ppt/tags/tag700.xml" ContentType="application/vnd.openxmlformats-officedocument.presentationml.tags+xml"/>
  <Override PartName="/ppt/notesSlides/notesSlide46.xml" ContentType="application/vnd.openxmlformats-officedocument.presentationml.notesSlide+xml"/>
  <Override PartName="/ppt/charts/chart508.xml" ContentType="application/vnd.openxmlformats-officedocument.drawingml.chart+xml"/>
  <Override PartName="/ppt/tags/tag701.xml" ContentType="application/vnd.openxmlformats-officedocument.presentationml.tags+xml"/>
  <Override PartName="/ppt/notesSlides/notesSlide47.xml" ContentType="application/vnd.openxmlformats-officedocument.presentationml.notesSlide+xml"/>
  <Override PartName="/ppt/charts/chart509.xml" ContentType="application/vnd.openxmlformats-officedocument.drawingml.chart+xml"/>
  <Override PartName="/ppt/tags/tag702.xml" ContentType="application/vnd.openxmlformats-officedocument.presentationml.tags+xml"/>
  <Override PartName="/ppt/notesSlides/notesSlide48.xml" ContentType="application/vnd.openxmlformats-officedocument.presentationml.notesSlide+xml"/>
  <Override PartName="/ppt/charts/chart510.xml" ContentType="application/vnd.openxmlformats-officedocument.drawingml.chart+xml"/>
  <Override PartName="/ppt/tags/tag703.xml" ContentType="application/vnd.openxmlformats-officedocument.presentationml.tags+xml"/>
  <Override PartName="/ppt/notesSlides/notesSlide49.xml" ContentType="application/vnd.openxmlformats-officedocument.presentationml.notesSlide+xml"/>
  <Override PartName="/ppt/charts/chart511.xml" ContentType="application/vnd.openxmlformats-officedocument.drawingml.chart+xml"/>
  <Override PartName="/ppt/tags/tag704.xml" ContentType="application/vnd.openxmlformats-officedocument.presentationml.tags+xml"/>
  <Override PartName="/ppt/notesSlides/notesSlide50.xml" ContentType="application/vnd.openxmlformats-officedocument.presentationml.notesSlide+xml"/>
  <Override PartName="/ppt/charts/chart512.xml" ContentType="application/vnd.openxmlformats-officedocument.drawingml.chart+xml"/>
  <Override PartName="/ppt/tags/tag705.xml" ContentType="application/vnd.openxmlformats-officedocument.presentationml.tags+xml"/>
  <Override PartName="/ppt/notesSlides/notesSlide51.xml" ContentType="application/vnd.openxmlformats-officedocument.presentationml.notesSlide+xml"/>
  <Override PartName="/ppt/charts/chart513.xml" ContentType="application/vnd.openxmlformats-officedocument.drawingml.chart+xml"/>
  <Override PartName="/ppt/tags/tag706.xml" ContentType="application/vnd.openxmlformats-officedocument.presentationml.tags+xml"/>
  <Override PartName="/ppt/notesSlides/notesSlide52.xml" ContentType="application/vnd.openxmlformats-officedocument.presentationml.notesSlide+xml"/>
  <Override PartName="/ppt/charts/chart514.xml" ContentType="application/vnd.openxmlformats-officedocument.drawingml.chart+xml"/>
  <Override PartName="/ppt/tags/tag707.xml" ContentType="application/vnd.openxmlformats-officedocument.presentationml.tags+xml"/>
  <Override PartName="/ppt/notesSlides/notesSlide53.xml" ContentType="application/vnd.openxmlformats-officedocument.presentationml.notesSlide+xml"/>
  <Override PartName="/ppt/charts/chart515.xml" ContentType="application/vnd.openxmlformats-officedocument.drawingml.chart+xml"/>
  <Override PartName="/ppt/tags/tag708.xml" ContentType="application/vnd.openxmlformats-officedocument.presentationml.tags+xml"/>
  <Override PartName="/ppt/notesSlides/notesSlide54.xml" ContentType="application/vnd.openxmlformats-officedocument.presentationml.notesSlide+xml"/>
  <Override PartName="/ppt/charts/chart516.xml" ContentType="application/vnd.openxmlformats-officedocument.drawingml.chart+xml"/>
  <Override PartName="/ppt/tags/tag709.xml" ContentType="application/vnd.openxmlformats-officedocument.presentationml.tags+xml"/>
  <Override PartName="/ppt/notesSlides/notesSlide55.xml" ContentType="application/vnd.openxmlformats-officedocument.presentationml.notesSlide+xml"/>
  <Override PartName="/ppt/charts/chart517.xml" ContentType="application/vnd.openxmlformats-officedocument.drawingml.chart+xml"/>
  <Override PartName="/ppt/tags/tag710.xml" ContentType="application/vnd.openxmlformats-officedocument.presentationml.tags+xml"/>
  <Override PartName="/ppt/notesSlides/notesSlide56.xml" ContentType="application/vnd.openxmlformats-officedocument.presentationml.notesSlide+xml"/>
  <Override PartName="/ppt/charts/chart518.xml" ContentType="application/vnd.openxmlformats-officedocument.drawingml.chart+xml"/>
  <Override PartName="/ppt/tags/tag711.xml" ContentType="application/vnd.openxmlformats-officedocument.presentationml.tags+xml"/>
  <Override PartName="/ppt/notesSlides/notesSlide57.xml" ContentType="application/vnd.openxmlformats-officedocument.presentationml.notesSlide+xml"/>
  <Override PartName="/ppt/charts/chart519.xml" ContentType="application/vnd.openxmlformats-officedocument.drawingml.chart+xml"/>
  <Override PartName="/ppt/tags/tag712.xml" ContentType="application/vnd.openxmlformats-officedocument.presentationml.tags+xml"/>
  <Override PartName="/ppt/charts/chart520.xml" ContentType="application/vnd.openxmlformats-officedocument.drawingml.chart+xml"/>
  <Override PartName="/ppt/tags/tag713.xml" ContentType="application/vnd.openxmlformats-officedocument.presentationml.tags+xml"/>
  <Override PartName="/ppt/charts/chart521.xml" ContentType="application/vnd.openxmlformats-officedocument.drawingml.chart+xml"/>
  <Override PartName="/ppt/tags/tag714.xml" ContentType="application/vnd.openxmlformats-officedocument.presentationml.tags+xml"/>
  <Override PartName="/ppt/charts/chart522.xml" ContentType="application/vnd.openxmlformats-officedocument.drawingml.chart+xml"/>
  <Override PartName="/ppt/tags/tag715.xml" ContentType="application/vnd.openxmlformats-officedocument.presentationml.tags+xml"/>
  <Override PartName="/ppt/charts/chart523.xml" ContentType="application/vnd.openxmlformats-officedocument.drawingml.chart+xml"/>
  <Override PartName="/ppt/tags/tag716.xml" ContentType="application/vnd.openxmlformats-officedocument.presentationml.tags+xml"/>
  <Override PartName="/ppt/charts/chart524.xml" ContentType="application/vnd.openxmlformats-officedocument.drawingml.chart+xml"/>
  <Override PartName="/ppt/tags/tag717.xml" ContentType="application/vnd.openxmlformats-officedocument.presentationml.tags+xml"/>
  <Override PartName="/ppt/charts/chart525.xml" ContentType="application/vnd.openxmlformats-officedocument.drawingml.chart+xml"/>
  <Override PartName="/ppt/tags/tag718.xml" ContentType="application/vnd.openxmlformats-officedocument.presentationml.tags+xml"/>
  <Override PartName="/ppt/charts/chart526.xml" ContentType="application/vnd.openxmlformats-officedocument.drawingml.chart+xml"/>
  <Override PartName="/ppt/tags/tag719.xml" ContentType="application/vnd.openxmlformats-officedocument.presentationml.tags+xml"/>
  <Override PartName="/ppt/charts/chart527.xml" ContentType="application/vnd.openxmlformats-officedocument.drawingml.chart+xml"/>
  <Override PartName="/ppt/tags/tag720.xml" ContentType="application/vnd.openxmlformats-officedocument.presentationml.tags+xml"/>
  <Override PartName="/ppt/charts/chart528.xml" ContentType="application/vnd.openxmlformats-officedocument.drawingml.chart+xml"/>
  <Override PartName="/ppt/tags/tag721.xml" ContentType="application/vnd.openxmlformats-officedocument.presentationml.tags+xml"/>
  <Override PartName="/ppt/charts/chart529.xml" ContentType="application/vnd.openxmlformats-officedocument.drawingml.chart+xml"/>
  <Override PartName="/ppt/tags/tag722.xml" ContentType="application/vnd.openxmlformats-officedocument.presentationml.tags+xml"/>
  <Override PartName="/ppt/charts/chart530.xml" ContentType="application/vnd.openxmlformats-officedocument.drawingml.chart+xml"/>
  <Override PartName="/ppt/tags/tag723.xml" ContentType="application/vnd.openxmlformats-officedocument.presentationml.tags+xml"/>
  <Override PartName="/ppt/charts/chart531.xml" ContentType="application/vnd.openxmlformats-officedocument.drawingml.chart+xml"/>
  <Override PartName="/ppt/tags/tag724.xml" ContentType="application/vnd.openxmlformats-officedocument.presentationml.tags+xml"/>
  <Override PartName="/ppt/charts/chart532.xml" ContentType="application/vnd.openxmlformats-officedocument.drawingml.chart+xml"/>
  <Override PartName="/ppt/tags/tag725.xml" ContentType="application/vnd.openxmlformats-officedocument.presentationml.tags+xml"/>
  <Override PartName="/ppt/charts/chart533.xml" ContentType="application/vnd.openxmlformats-officedocument.drawingml.chart+xml"/>
  <Override PartName="/ppt/tags/tag726.xml" ContentType="application/vnd.openxmlformats-officedocument.presentationml.tags+xml"/>
  <Override PartName="/ppt/charts/chart534.xml" ContentType="application/vnd.openxmlformats-officedocument.drawingml.chart+xml"/>
  <Override PartName="/ppt/tags/tag727.xml" ContentType="application/vnd.openxmlformats-officedocument.presentationml.tags+xml"/>
  <Override PartName="/ppt/charts/chart535.xml" ContentType="application/vnd.openxmlformats-officedocument.drawingml.chart+xml"/>
  <Override PartName="/ppt/tags/tag728.xml" ContentType="application/vnd.openxmlformats-officedocument.presentationml.tags+xml"/>
  <Override PartName="/ppt/charts/chart536.xml" ContentType="application/vnd.openxmlformats-officedocument.drawingml.chart+xml"/>
  <Override PartName="/ppt/tags/tag729.xml" ContentType="application/vnd.openxmlformats-officedocument.presentationml.tags+xml"/>
  <Override PartName="/ppt/charts/chart537.xml" ContentType="application/vnd.openxmlformats-officedocument.drawingml.chart+xml"/>
  <Override PartName="/ppt/tags/tag730.xml" ContentType="application/vnd.openxmlformats-officedocument.presentationml.tags+xml"/>
  <Override PartName="/ppt/charts/chart538.xml" ContentType="application/vnd.openxmlformats-officedocument.drawingml.chart+xml"/>
  <Override PartName="/ppt/tags/tag731.xml" ContentType="application/vnd.openxmlformats-officedocument.presentationml.tags+xml"/>
  <Override PartName="/ppt/charts/chart539.xml" ContentType="application/vnd.openxmlformats-officedocument.drawingml.chart+xml"/>
  <Override PartName="/ppt/tags/tag732.xml" ContentType="application/vnd.openxmlformats-officedocument.presentationml.tags+xml"/>
  <Override PartName="/ppt/charts/chart540.xml" ContentType="application/vnd.openxmlformats-officedocument.drawingml.chart+xml"/>
  <Override PartName="/ppt/tags/tag733.xml" ContentType="application/vnd.openxmlformats-officedocument.presentationml.tags+xml"/>
  <Override PartName="/ppt/charts/chart541.xml" ContentType="application/vnd.openxmlformats-officedocument.drawingml.chart+xml"/>
  <Override PartName="/ppt/tags/tag734.xml" ContentType="application/vnd.openxmlformats-officedocument.presentationml.tags+xml"/>
  <Override PartName="/ppt/charts/chart542.xml" ContentType="application/vnd.openxmlformats-officedocument.drawingml.chart+xml"/>
  <Override PartName="/ppt/tags/tag735.xml" ContentType="application/vnd.openxmlformats-officedocument.presentationml.tags+xml"/>
  <Override PartName="/ppt/charts/chart543.xml" ContentType="application/vnd.openxmlformats-officedocument.drawingml.chart+xml"/>
  <Override PartName="/ppt/tags/tag736.xml" ContentType="application/vnd.openxmlformats-officedocument.presentationml.tags+xml"/>
  <Override PartName="/ppt/charts/chart544.xml" ContentType="application/vnd.openxmlformats-officedocument.drawingml.chart+xml"/>
  <Override PartName="/ppt/tags/tag737.xml" ContentType="application/vnd.openxmlformats-officedocument.presentationml.tags+xml"/>
  <Override PartName="/ppt/charts/chart545.xml" ContentType="application/vnd.openxmlformats-officedocument.drawingml.chart+xml"/>
  <Override PartName="/ppt/tags/tag738.xml" ContentType="application/vnd.openxmlformats-officedocument.presentationml.tags+xml"/>
  <Override PartName="/ppt/charts/chart546.xml" ContentType="application/vnd.openxmlformats-officedocument.drawingml.chart+xml"/>
  <Override PartName="/ppt/tags/tag739.xml" ContentType="application/vnd.openxmlformats-officedocument.presentationml.tags+xml"/>
  <Override PartName="/ppt/charts/chart547.xml" ContentType="application/vnd.openxmlformats-officedocument.drawingml.chart+xml"/>
  <Override PartName="/ppt/tags/tag740.xml" ContentType="application/vnd.openxmlformats-officedocument.presentationml.tags+xml"/>
  <Override PartName="/ppt/charts/chart548.xml" ContentType="application/vnd.openxmlformats-officedocument.drawingml.chart+xml"/>
  <Override PartName="/ppt/tags/tag741.xml" ContentType="application/vnd.openxmlformats-officedocument.presentationml.tags+xml"/>
  <Override PartName="/ppt/charts/chart549.xml" ContentType="application/vnd.openxmlformats-officedocument.drawingml.chart+xml"/>
  <Override PartName="/ppt/tags/tag742.xml" ContentType="application/vnd.openxmlformats-officedocument.presentationml.tags+xml"/>
  <Override PartName="/ppt/charts/chart550.xml" ContentType="application/vnd.openxmlformats-officedocument.drawingml.chart+xml"/>
  <Override PartName="/ppt/tags/tag743.xml" ContentType="application/vnd.openxmlformats-officedocument.presentationml.tags+xml"/>
  <Override PartName="/ppt/charts/chart551.xml" ContentType="application/vnd.openxmlformats-officedocument.drawingml.chart+xml"/>
  <Override PartName="/ppt/tags/tag744.xml" ContentType="application/vnd.openxmlformats-officedocument.presentationml.tags+xml"/>
  <Override PartName="/ppt/charts/chart552.xml" ContentType="application/vnd.openxmlformats-officedocument.drawingml.chart+xml"/>
  <Override PartName="/ppt/tags/tag745.xml" ContentType="application/vnd.openxmlformats-officedocument.presentationml.tags+xml"/>
  <Override PartName="/ppt/charts/chart553.xml" ContentType="application/vnd.openxmlformats-officedocument.drawingml.chart+xml"/>
  <Override PartName="/ppt/tags/tag746.xml" ContentType="application/vnd.openxmlformats-officedocument.presentationml.tags+xml"/>
  <Override PartName="/ppt/charts/chart554.xml" ContentType="application/vnd.openxmlformats-officedocument.drawingml.chart+xml"/>
  <Override PartName="/ppt/tags/tag747.xml" ContentType="application/vnd.openxmlformats-officedocument.presentationml.tags+xml"/>
  <Override PartName="/ppt/charts/chart555.xml" ContentType="application/vnd.openxmlformats-officedocument.drawingml.chart+xml"/>
  <Override PartName="/ppt/tags/tag748.xml" ContentType="application/vnd.openxmlformats-officedocument.presentationml.tags+xml"/>
  <Override PartName="/ppt/charts/chart556.xml" ContentType="application/vnd.openxmlformats-officedocument.drawingml.chart+xml"/>
  <Override PartName="/ppt/tags/tag749.xml" ContentType="application/vnd.openxmlformats-officedocument.presentationml.tags+xml"/>
  <Override PartName="/ppt/charts/chart557.xml" ContentType="application/vnd.openxmlformats-officedocument.drawingml.chart+xml"/>
  <Override PartName="/ppt/tags/tag750.xml" ContentType="application/vnd.openxmlformats-officedocument.presentationml.tags+xml"/>
  <Override PartName="/ppt/charts/chart558.xml" ContentType="application/vnd.openxmlformats-officedocument.drawingml.chart+xml"/>
  <Override PartName="/ppt/tags/tag751.xml" ContentType="application/vnd.openxmlformats-officedocument.presentationml.tags+xml"/>
  <Override PartName="/ppt/charts/chart559.xml" ContentType="application/vnd.openxmlformats-officedocument.drawingml.chart+xml"/>
  <Override PartName="/ppt/tags/tag752.xml" ContentType="application/vnd.openxmlformats-officedocument.presentationml.tags+xml"/>
  <Override PartName="/ppt/charts/chart560.xml" ContentType="application/vnd.openxmlformats-officedocument.drawingml.chart+xml"/>
  <Override PartName="/ppt/tags/tag753.xml" ContentType="application/vnd.openxmlformats-officedocument.presentationml.tags+xml"/>
  <Override PartName="/ppt/charts/chart561.xml" ContentType="application/vnd.openxmlformats-officedocument.drawingml.chart+xml"/>
  <Override PartName="/ppt/tags/tag754.xml" ContentType="application/vnd.openxmlformats-officedocument.presentationml.tags+xml"/>
  <Override PartName="/ppt/charts/chart562.xml" ContentType="application/vnd.openxmlformats-officedocument.drawingml.chart+xml"/>
  <Override PartName="/ppt/tags/tag755.xml" ContentType="application/vnd.openxmlformats-officedocument.presentationml.tags+xml"/>
  <Override PartName="/ppt/charts/chart563.xml" ContentType="application/vnd.openxmlformats-officedocument.drawingml.chart+xml"/>
  <Override PartName="/ppt/tags/tag756.xml" ContentType="application/vnd.openxmlformats-officedocument.presentationml.tags+xml"/>
  <Override PartName="/ppt/charts/chart564.xml" ContentType="application/vnd.openxmlformats-officedocument.drawingml.chart+xml"/>
  <Override PartName="/ppt/tags/tag757.xml" ContentType="application/vnd.openxmlformats-officedocument.presentationml.tags+xml"/>
  <Override PartName="/ppt/charts/chart565.xml" ContentType="application/vnd.openxmlformats-officedocument.drawingml.chart+xml"/>
  <Override PartName="/ppt/tags/tag758.xml" ContentType="application/vnd.openxmlformats-officedocument.presentationml.tags+xml"/>
  <Override PartName="/ppt/charts/chart566.xml" ContentType="application/vnd.openxmlformats-officedocument.drawingml.chart+xml"/>
  <Override PartName="/ppt/tags/tag759.xml" ContentType="application/vnd.openxmlformats-officedocument.presentationml.tags+xml"/>
  <Override PartName="/ppt/charts/chart567.xml" ContentType="application/vnd.openxmlformats-officedocument.drawingml.chart+xml"/>
  <Override PartName="/ppt/tags/tag760.xml" ContentType="application/vnd.openxmlformats-officedocument.presentationml.tags+xml"/>
  <Override PartName="/ppt/charts/chart568.xml" ContentType="application/vnd.openxmlformats-officedocument.drawingml.chart+xml"/>
  <Override PartName="/ppt/tags/tag761.xml" ContentType="application/vnd.openxmlformats-officedocument.presentationml.tags+xml"/>
  <Override PartName="/ppt/charts/chart569.xml" ContentType="application/vnd.openxmlformats-officedocument.drawingml.chart+xml"/>
  <Override PartName="/ppt/tags/tag762.xml" ContentType="application/vnd.openxmlformats-officedocument.presentationml.tags+xml"/>
  <Override PartName="/ppt/charts/chart570.xml" ContentType="application/vnd.openxmlformats-officedocument.drawingml.chart+xml"/>
  <Override PartName="/ppt/tags/tag763.xml" ContentType="application/vnd.openxmlformats-officedocument.presentationml.tags+xml"/>
  <Override PartName="/ppt/charts/chart571.xml" ContentType="application/vnd.openxmlformats-officedocument.drawingml.chart+xml"/>
  <Override PartName="/ppt/tags/tag764.xml" ContentType="application/vnd.openxmlformats-officedocument.presentationml.tags+xml"/>
  <Override PartName="/ppt/charts/chart572.xml" ContentType="application/vnd.openxmlformats-officedocument.drawingml.chart+xml"/>
  <Override PartName="/ppt/tags/tag765.xml" ContentType="application/vnd.openxmlformats-officedocument.presentationml.tags+xml"/>
  <Override PartName="/ppt/charts/chart573.xml" ContentType="application/vnd.openxmlformats-officedocument.drawingml.chart+xml"/>
  <Override PartName="/ppt/tags/tag766.xml" ContentType="application/vnd.openxmlformats-officedocument.presentationml.tags+xml"/>
  <Override PartName="/ppt/charts/chart574.xml" ContentType="application/vnd.openxmlformats-officedocument.drawingml.chart+xml"/>
  <Override PartName="/ppt/tags/tag767.xml" ContentType="application/vnd.openxmlformats-officedocument.presentationml.tags+xml"/>
  <Override PartName="/ppt/charts/chart575.xml" ContentType="application/vnd.openxmlformats-officedocument.drawingml.chart+xml"/>
  <Override PartName="/ppt/tags/tag768.xml" ContentType="application/vnd.openxmlformats-officedocument.presentationml.tags+xml"/>
  <Override PartName="/ppt/charts/chart576.xml" ContentType="application/vnd.openxmlformats-officedocument.drawingml.chart+xml"/>
  <Override PartName="/ppt/tags/tag769.xml" ContentType="application/vnd.openxmlformats-officedocument.presentationml.tags+xml"/>
  <Override PartName="/ppt/notesSlides/notesSlide58.xml" ContentType="application/vnd.openxmlformats-officedocument.presentationml.notesSlide+xml"/>
  <Override PartName="/ppt/tags/tag770.xml" ContentType="application/vnd.openxmlformats-officedocument.presentationml.tags+xml"/>
  <Override PartName="/ppt/notesSlides/notesSlide59.xml" ContentType="application/vnd.openxmlformats-officedocument.presentationml.notesSlide+xml"/>
  <Override PartName="/ppt/tags/tag771.xml" ContentType="application/vnd.openxmlformats-officedocument.presentationml.tags+xml"/>
  <Override PartName="/ppt/notesSlides/notesSlide60.xml" ContentType="application/vnd.openxmlformats-officedocument.presentationml.notesSlide+xml"/>
  <Override PartName="/ppt/tags/tag772.xml" ContentType="application/vnd.openxmlformats-officedocument.presentationml.tags+xml"/>
  <Override PartName="/ppt/notesSlides/notesSlide61.xml" ContentType="application/vnd.openxmlformats-officedocument.presentationml.notesSlide+xml"/>
  <Override PartName="/ppt/tags/tag773.xml" ContentType="application/vnd.openxmlformats-officedocument.presentationml.tags+xml"/>
  <Override PartName="/ppt/notesSlides/notesSlide62.xml" ContentType="application/vnd.openxmlformats-officedocument.presentationml.notesSlide+xml"/>
  <Override PartName="/ppt/tags/tag774.xml" ContentType="application/vnd.openxmlformats-officedocument.presentationml.tags+xml"/>
  <Override PartName="/ppt/notesSlides/notesSlide63.xml" ContentType="application/vnd.openxmlformats-officedocument.presentationml.notesSlide+xml"/>
  <Override PartName="/ppt/tags/tag775.xml" ContentType="application/vnd.openxmlformats-officedocument.presentationml.tags+xml"/>
  <Override PartName="/ppt/notesSlides/notesSlide64.xml" ContentType="application/vnd.openxmlformats-officedocument.presentationml.notesSlide+xml"/>
  <Override PartName="/ppt/tags/tag776.xml" ContentType="application/vnd.openxmlformats-officedocument.presentationml.tags+xml"/>
  <Override PartName="/ppt/notesSlides/notesSlide65.xml" ContentType="application/vnd.openxmlformats-officedocument.presentationml.notesSlide+xml"/>
  <Override PartName="/ppt/tags/tag777.xml" ContentType="application/vnd.openxmlformats-officedocument.presentationml.tags+xml"/>
  <Override PartName="/ppt/notesSlides/notesSlide66.xml" ContentType="application/vnd.openxmlformats-officedocument.presentationml.notesSlide+xml"/>
  <Override PartName="/ppt/tags/tag778.xml" ContentType="application/vnd.openxmlformats-officedocument.presentationml.tags+xml"/>
  <Override PartName="/ppt/notesSlides/notesSlide67.xml" ContentType="application/vnd.openxmlformats-officedocument.presentationml.notesSlide+xml"/>
  <Override PartName="/ppt/tags/tag779.xml" ContentType="application/vnd.openxmlformats-officedocument.presentationml.tags+xml"/>
  <Override PartName="/ppt/notesSlides/notesSlide68.xml" ContentType="application/vnd.openxmlformats-officedocument.presentationml.notesSlide+xml"/>
  <Override PartName="/ppt/tags/tag780.xml" ContentType="application/vnd.openxmlformats-officedocument.presentationml.tags+xml"/>
  <Override PartName="/ppt/notesSlides/notesSlide69.xml" ContentType="application/vnd.openxmlformats-officedocument.presentationml.notesSlide+xml"/>
  <Override PartName="/ppt/tags/tag781.xml" ContentType="application/vnd.openxmlformats-officedocument.presentationml.tags+xml"/>
  <Override PartName="/ppt/notesSlides/notesSlide70.xml" ContentType="application/vnd.openxmlformats-officedocument.presentationml.notesSlide+xml"/>
  <Override PartName="/ppt/tags/tag782.xml" ContentType="application/vnd.openxmlformats-officedocument.presentationml.tags+xml"/>
  <Override PartName="/ppt/notesSlides/notesSlide71.xml" ContentType="application/vnd.openxmlformats-officedocument.presentationml.notesSlide+xml"/>
  <Override PartName="/ppt/tags/tag783.xml" ContentType="application/vnd.openxmlformats-officedocument.presentationml.tags+xml"/>
  <Override PartName="/ppt/notesSlides/notesSlide72.xml" ContentType="application/vnd.openxmlformats-officedocument.presentationml.notesSlide+xml"/>
  <Override PartName="/ppt/tags/tag784.xml" ContentType="application/vnd.openxmlformats-officedocument.presentationml.tags+xml"/>
  <Override PartName="/ppt/notesSlides/notesSlide73.xml" ContentType="application/vnd.openxmlformats-officedocument.presentationml.notesSlide+xml"/>
  <Override PartName="/ppt/tags/tag785.xml" ContentType="application/vnd.openxmlformats-officedocument.presentationml.tags+xml"/>
  <Override PartName="/ppt/notesSlides/notesSlide74.xml" ContentType="application/vnd.openxmlformats-officedocument.presentationml.notesSlide+xml"/>
  <Override PartName="/ppt/tags/tag786.xml" ContentType="application/vnd.openxmlformats-officedocument.presentationml.tags+xml"/>
  <Override PartName="/ppt/notesSlides/notesSlide75.xml" ContentType="application/vnd.openxmlformats-officedocument.presentationml.notesSlide+xml"/>
  <Override PartName="/ppt/tags/tag787.xml" ContentType="application/vnd.openxmlformats-officedocument.presentationml.tags+xml"/>
  <Override PartName="/ppt/notesSlides/notesSlide76.xml" ContentType="application/vnd.openxmlformats-officedocument.presentationml.notesSlide+xml"/>
  <Override PartName="/ppt/tags/tag788.xml" ContentType="application/vnd.openxmlformats-officedocument.presentationml.tags+xml"/>
  <Override PartName="/ppt/notesSlides/notesSlide77.xml" ContentType="application/vnd.openxmlformats-officedocument.presentationml.notesSlide+xml"/>
  <Override PartName="/ppt/tags/tag789.xml" ContentType="application/vnd.openxmlformats-officedocument.presentationml.tags+xml"/>
  <Override PartName="/ppt/notesSlides/notesSlide78.xml" ContentType="application/vnd.openxmlformats-officedocument.presentationml.notesSlide+xml"/>
  <Override PartName="/ppt/tags/tag790.xml" ContentType="application/vnd.openxmlformats-officedocument.presentationml.tags+xml"/>
  <Override PartName="/ppt/notesSlides/notesSlide79.xml" ContentType="application/vnd.openxmlformats-officedocument.presentationml.notesSlide+xml"/>
  <Override PartName="/ppt/tags/tag791.xml" ContentType="application/vnd.openxmlformats-officedocument.presentationml.tags+xml"/>
  <Override PartName="/ppt/notesSlides/notesSlide80.xml" ContentType="application/vnd.openxmlformats-officedocument.presentationml.notesSlide+xml"/>
  <Override PartName="/ppt/tags/tag792.xml" ContentType="application/vnd.openxmlformats-officedocument.presentationml.tags+xml"/>
  <Override PartName="/ppt/notesSlides/notesSlide81.xml" ContentType="application/vnd.openxmlformats-officedocument.presentationml.notesSlide+xml"/>
  <Override PartName="/ppt/tags/tag793.xml" ContentType="application/vnd.openxmlformats-officedocument.presentationml.tags+xml"/>
  <Override PartName="/ppt/notesSlides/notesSlide82.xml" ContentType="application/vnd.openxmlformats-officedocument.presentationml.notesSlide+xml"/>
  <Override PartName="/ppt/tags/tag794.xml" ContentType="application/vnd.openxmlformats-officedocument.presentationml.tags+xml"/>
  <Override PartName="/ppt/notesSlides/notesSlide83.xml" ContentType="application/vnd.openxmlformats-officedocument.presentationml.notesSlide+xml"/>
  <Override PartName="/ppt/tags/tag795.xml" ContentType="application/vnd.openxmlformats-officedocument.presentationml.tags+xml"/>
  <Override PartName="/ppt/notesSlides/notesSlide84.xml" ContentType="application/vnd.openxmlformats-officedocument.presentationml.notesSlide+xml"/>
  <Override PartName="/ppt/tags/tag796.xml" ContentType="application/vnd.openxmlformats-officedocument.presentationml.tags+xml"/>
  <Override PartName="/ppt/notesSlides/notesSlide85.xml" ContentType="application/vnd.openxmlformats-officedocument.presentationml.notesSlide+xml"/>
  <Override PartName="/ppt/tags/tag797.xml" ContentType="application/vnd.openxmlformats-officedocument.presentationml.tags+xml"/>
  <Override PartName="/ppt/notesSlides/notesSlide86.xml" ContentType="application/vnd.openxmlformats-officedocument.presentationml.notesSlide+xml"/>
  <Override PartName="/ppt/tags/tag798.xml" ContentType="application/vnd.openxmlformats-officedocument.presentationml.tags+xml"/>
  <Override PartName="/ppt/notesSlides/notesSlide87.xml" ContentType="application/vnd.openxmlformats-officedocument.presentationml.notesSlide+xml"/>
  <Override PartName="/ppt/tags/tag799.xml" ContentType="application/vnd.openxmlformats-officedocument.presentationml.tags+xml"/>
  <Override PartName="/ppt/notesSlides/notesSlide88.xml" ContentType="application/vnd.openxmlformats-officedocument.presentationml.notesSlide+xml"/>
  <Override PartName="/ppt/tags/tag800.xml" ContentType="application/vnd.openxmlformats-officedocument.presentationml.tags+xml"/>
  <Override PartName="/ppt/notesSlides/notesSlide89.xml" ContentType="application/vnd.openxmlformats-officedocument.presentationml.notesSlide+xml"/>
  <Override PartName="/ppt/tags/tag801.xml" ContentType="application/vnd.openxmlformats-officedocument.presentationml.tags+xml"/>
  <Override PartName="/ppt/notesSlides/notesSlide90.xml" ContentType="application/vnd.openxmlformats-officedocument.presentationml.notesSlide+xml"/>
  <Override PartName="/ppt/tags/tag802.xml" ContentType="application/vnd.openxmlformats-officedocument.presentationml.tags+xml"/>
  <Override PartName="/ppt/notesSlides/notesSlide91.xml" ContentType="application/vnd.openxmlformats-officedocument.presentationml.notesSlide+xml"/>
  <Override PartName="/ppt/tags/tag803.xml" ContentType="application/vnd.openxmlformats-officedocument.presentationml.tags+xml"/>
  <Override PartName="/ppt/notesSlides/notesSlide92.xml" ContentType="application/vnd.openxmlformats-officedocument.presentationml.notesSlide+xml"/>
  <Override PartName="/ppt/tags/tag804.xml" ContentType="application/vnd.openxmlformats-officedocument.presentationml.tags+xml"/>
  <Override PartName="/ppt/notesSlides/notesSlide93.xml" ContentType="application/vnd.openxmlformats-officedocument.presentationml.notesSlide+xml"/>
  <Override PartName="/ppt/tags/tag805.xml" ContentType="application/vnd.openxmlformats-officedocument.presentationml.tags+xml"/>
  <Override PartName="/ppt/notesSlides/notesSlide94.xml" ContentType="application/vnd.openxmlformats-officedocument.presentationml.notesSlide+xml"/>
  <Override PartName="/ppt/tags/tag806.xml" ContentType="application/vnd.openxmlformats-officedocument.presentationml.tags+xml"/>
  <Override PartName="/ppt/notesSlides/notesSlide95.xml" ContentType="application/vnd.openxmlformats-officedocument.presentationml.notesSlide+xml"/>
  <Override PartName="/ppt/tags/tag807.xml" ContentType="application/vnd.openxmlformats-officedocument.presentationml.tags+xml"/>
  <Override PartName="/ppt/notesSlides/notesSlide96.xml" ContentType="application/vnd.openxmlformats-officedocument.presentationml.notesSlide+xml"/>
  <Override PartName="/ppt/tags/tag808.xml" ContentType="application/vnd.openxmlformats-officedocument.presentationml.tags+xml"/>
  <Override PartName="/ppt/notesSlides/notesSlide97.xml" ContentType="application/vnd.openxmlformats-officedocument.presentationml.notesSlide+xml"/>
  <Override PartName="/ppt/tags/tag809.xml" ContentType="application/vnd.openxmlformats-officedocument.presentationml.tags+xml"/>
  <Override PartName="/ppt/notesSlides/notesSlide98.xml" ContentType="application/vnd.openxmlformats-officedocument.presentationml.notesSlide+xml"/>
  <Override PartName="/ppt/tags/tag810.xml" ContentType="application/vnd.openxmlformats-officedocument.presentationml.tags+xml"/>
  <Override PartName="/ppt/notesSlides/notesSlide99.xml" ContentType="application/vnd.openxmlformats-officedocument.presentationml.notesSlide+xml"/>
  <Override PartName="/ppt/tags/tag811.xml" ContentType="application/vnd.openxmlformats-officedocument.presentationml.tags+xml"/>
  <Override PartName="/ppt/notesSlides/notesSlide100.xml" ContentType="application/vnd.openxmlformats-officedocument.presentationml.notesSlide+xml"/>
  <Override PartName="/ppt/tags/tag812.xml" ContentType="application/vnd.openxmlformats-officedocument.presentationml.tags+xml"/>
  <Override PartName="/ppt/notesSlides/notesSlide10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790"/>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B3C4468B-95E4-442A-8F01-75AD158451C9}">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Lst>
        </p14:section>
        <p14:section name="Cumulative Product Shares" id="{9FAF5BBD-A9DD-4707-8791-75ACE94EDDE7}">
          <p14:sldIdLst>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Lst>
        </p14:section>
        <p14:section name="Manuf Cumulative Product Share" id="{61CC29C4-EDC1-40B4-AF66-DFA9FCB1E9A6}">
          <p14:sldIdLst>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Lst>
        </p14:section>
        <p14:section name="Top 20 cumulative share" id="{F3F8E2AE-8E41-4402-8B84-D8A149EE91F0}">
          <p14:sldIdLst>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Lst>
        </p14:section>
        <p14:section name="SKU Productivity Analysis with TM%" id="{5054D42A-89F5-472D-A355-94EBED37F84C}">
          <p14:sldIdLst>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Lst>
        </p14:section>
        <p14:section name="SKU Productivity Analysis with WD" id="{26A465BE-09A1-4FF2-AC98-B8E0060E2A10}">
          <p14:sldIdLst>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Lst>
        </p14:section>
        <p14:section name="Sectors Fair Share" id="{739D10EE-527D-473A-BA86-598D625AE3BC}">
          <p14:sldIdLst>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Lst>
        </p14:section>
        <p14:section name="Segments Fair Share" id="{D78C8410-CF0C-4800-9275-ED5DA04D1F63}">
          <p14:sldIdLst>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22" d="100"/>
          <a:sy n="122" d="100"/>
        </p:scale>
        <p:origin x="326" y="43"/>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theme" Target="theme/theme1.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781" Type="http://schemas.openxmlformats.org/officeDocument/2006/relationships/slide" Target="slides/slide777.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641" Type="http://schemas.openxmlformats.org/officeDocument/2006/relationships/slide" Target="slides/slide637.xml"/><Relationship Id="rId683" Type="http://schemas.openxmlformats.org/officeDocument/2006/relationships/slide" Target="slides/slide679.xml"/><Relationship Id="rId739" Type="http://schemas.openxmlformats.org/officeDocument/2006/relationships/slide" Target="slides/slide73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750" Type="http://schemas.openxmlformats.org/officeDocument/2006/relationships/slide" Target="slides/slide746.xml"/><Relationship Id="rId792" Type="http://schemas.openxmlformats.org/officeDocument/2006/relationships/viewProps" Target="viewProps.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652" Type="http://schemas.openxmlformats.org/officeDocument/2006/relationships/slide" Target="slides/slide648.xml"/><Relationship Id="rId694" Type="http://schemas.openxmlformats.org/officeDocument/2006/relationships/slide" Target="slides/slide690.xml"/><Relationship Id="rId708" Type="http://schemas.openxmlformats.org/officeDocument/2006/relationships/slide" Target="slides/slide70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719" Type="http://schemas.openxmlformats.org/officeDocument/2006/relationships/slide" Target="slides/slide715.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30" Type="http://schemas.openxmlformats.org/officeDocument/2006/relationships/slide" Target="slides/slide726.xml"/><Relationship Id="rId772" Type="http://schemas.openxmlformats.org/officeDocument/2006/relationships/slide" Target="slides/slide768.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tableStyles" Target="tableStyles.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presProps" Target="presProps.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microsoft.com/office/2015/10/relationships/revisionInfo" Target="revisionInfo.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notesMaster" Target="notesMasters/notesMaster1.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Roederer</c:v>
                </c:pt>
                <c:pt idx="7">
                  <c:v>Ayala</c:v>
                </c:pt>
                <c:pt idx="8">
                  <c:v>De Bligny</c:v>
                </c:pt>
                <c:pt idx="9">
                  <c:v>Others</c:v>
                </c:pt>
              </c:strCache>
            </c:strRef>
          </c:cat>
          <c:val>
            <c:numRef>
              <c:f>Sheet1!$B$2:$B$11</c:f>
              <c:numCache>
                <c:formatCode>General</c:formatCode>
                <c:ptCount val="10"/>
                <c:pt idx="0">
                  <c:v>0.2246009879970044</c:v>
                </c:pt>
                <c:pt idx="1">
                  <c:v>9.7633500916506258E-2</c:v>
                </c:pt>
                <c:pt idx="2">
                  <c:v>8.0668823563233141E-2</c:v>
                </c:pt>
                <c:pt idx="3">
                  <c:v>4.0934145707318993E-2</c:v>
                </c:pt>
                <c:pt idx="4">
                  <c:v>3.9507946971732405E-2</c:v>
                </c:pt>
                <c:pt idx="5">
                  <c:v>3.5555163407154061E-2</c:v>
                </c:pt>
                <c:pt idx="6">
                  <c:v>3.4725986505353849E-2</c:v>
                </c:pt>
                <c:pt idx="7">
                  <c:v>3.0343607581273257E-2</c:v>
                </c:pt>
                <c:pt idx="8">
                  <c:v>3.0116876697091517E-2</c:v>
                </c:pt>
                <c:pt idx="9">
                  <c:v>0.385912960653332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Roederer</c:v>
                </c:pt>
                <c:pt idx="7">
                  <c:v>Ayala</c:v>
                </c:pt>
                <c:pt idx="8">
                  <c:v>De Bligny</c:v>
                </c:pt>
                <c:pt idx="9">
                  <c:v>Others</c:v>
                </c:pt>
              </c:strCache>
            </c:strRef>
          </c:cat>
          <c:val>
            <c:numRef>
              <c:f>Sheet1!$C$2:$C$11</c:f>
              <c:numCache>
                <c:formatCode>General</c:formatCode>
                <c:ptCount val="10"/>
                <c:pt idx="0">
                  <c:v>8.5203430031016172E-2</c:v>
                </c:pt>
                <c:pt idx="1">
                  <c:v>7.0060207991242435E-2</c:v>
                </c:pt>
                <c:pt idx="2">
                  <c:v>4.2692939244663365E-2</c:v>
                </c:pt>
                <c:pt idx="3">
                  <c:v>3.968253968253966E-2</c:v>
                </c:pt>
                <c:pt idx="4">
                  <c:v>3.22933771209633E-2</c:v>
                </c:pt>
                <c:pt idx="5">
                  <c:v>8.666301769750041E-3</c:v>
                </c:pt>
                <c:pt idx="6">
                  <c:v>6.0390439700784497E-2</c:v>
                </c:pt>
                <c:pt idx="7">
                  <c:v>1.5234446268929018E-2</c:v>
                </c:pt>
                <c:pt idx="8">
                  <c:v>1.4687100893997437E-2</c:v>
                </c:pt>
                <c:pt idx="9">
                  <c:v>0.631089217296113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Roederer</c:v>
                </c:pt>
                <c:pt idx="7">
                  <c:v>Ayala</c:v>
                </c:pt>
                <c:pt idx="8">
                  <c:v>De Bligny</c:v>
                </c:pt>
                <c:pt idx="9">
                  <c:v>Others</c:v>
                </c:pt>
              </c:strCache>
            </c:strRef>
          </c:cat>
          <c:val>
            <c:numRef>
              <c:f>Sheet1!$D$2:$D$11</c:f>
              <c:numCache>
                <c:formatCode>General</c:formatCode>
                <c:ptCount val="10"/>
                <c:pt idx="0">
                  <c:v>37.935465373888995</c:v>
                </c:pt>
                <c:pt idx="1">
                  <c:v>71.758369139252906</c:v>
                </c:pt>
                <c:pt idx="2">
                  <c:v>52.92371620022206</c:v>
                </c:pt>
                <c:pt idx="3">
                  <c:v>96.942391240485691</c:v>
                </c:pt>
                <c:pt idx="4">
                  <c:v>81.738940127840436</c:v>
                </c:pt>
                <c:pt idx="5">
                  <c:v>24.37424255517918</c:v>
                </c:pt>
                <c:pt idx="6">
                  <c:v>173.90561299525314</c:v>
                </c:pt>
                <c:pt idx="7">
                  <c:v>50.206443739837482</c:v>
                </c:pt>
                <c:pt idx="8">
                  <c:v>48.767012070065739</c:v>
                </c:pt>
                <c:pt idx="9">
                  <c:v>163.531490683212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Ayala</c:v>
                </c:pt>
                <c:pt idx="5">
                  <c:v>Laurent Perrier</c:v>
                </c:pt>
                <c:pt idx="6">
                  <c:v>De Bligny</c:v>
                </c:pt>
                <c:pt idx="7">
                  <c:v>Canard Duchêne</c:v>
                </c:pt>
                <c:pt idx="8">
                  <c:v>Nicolas Feuillatte</c:v>
                </c:pt>
                <c:pt idx="9">
                  <c:v>Others</c:v>
                </c:pt>
              </c:strCache>
            </c:strRef>
          </c:cat>
          <c:val>
            <c:numRef>
              <c:f>Sheet1!$B$2:$B$11</c:f>
              <c:numCache>
                <c:formatCode>General</c:formatCode>
                <c:ptCount val="10"/>
                <c:pt idx="0">
                  <c:v>0.18693617501127649</c:v>
                </c:pt>
                <c:pt idx="1">
                  <c:v>6.9052451833236675E-2</c:v>
                </c:pt>
                <c:pt idx="2">
                  <c:v>5.9986951478832401E-2</c:v>
                </c:pt>
                <c:pt idx="3">
                  <c:v>5.1954459050196536E-2</c:v>
                </c:pt>
                <c:pt idx="4">
                  <c:v>5.0176396675043498E-2</c:v>
                </c:pt>
                <c:pt idx="5">
                  <c:v>3.7685659514143953E-2</c:v>
                </c:pt>
                <c:pt idx="6">
                  <c:v>3.6304288291771375E-2</c:v>
                </c:pt>
                <c:pt idx="7">
                  <c:v>3.6024389458083637E-2</c:v>
                </c:pt>
                <c:pt idx="8">
                  <c:v>2.1850231973709645E-2</c:v>
                </c:pt>
                <c:pt idx="9">
                  <c:v>0.4500289967137057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Ayala</c:v>
                </c:pt>
                <c:pt idx="5">
                  <c:v>Laurent Perrier</c:v>
                </c:pt>
                <c:pt idx="6">
                  <c:v>De Bligny</c:v>
                </c:pt>
                <c:pt idx="7">
                  <c:v>Canard Duchêne</c:v>
                </c:pt>
                <c:pt idx="8">
                  <c:v>Nicolas Feuillatte</c:v>
                </c:pt>
                <c:pt idx="9">
                  <c:v>Others</c:v>
                </c:pt>
              </c:strCache>
            </c:strRef>
          </c:cat>
          <c:val>
            <c:numRef>
              <c:f>Sheet1!$C$2:$C$11</c:f>
              <c:numCache>
                <c:formatCode>General</c:formatCode>
                <c:ptCount val="10"/>
                <c:pt idx="0">
                  <c:v>8.0316945795065736E-2</c:v>
                </c:pt>
                <c:pt idx="1">
                  <c:v>4.3309922564379613E-2</c:v>
                </c:pt>
                <c:pt idx="2">
                  <c:v>8.121735998559336E-2</c:v>
                </c:pt>
                <c:pt idx="3">
                  <c:v>3.8627768773635877E-2</c:v>
                </c:pt>
                <c:pt idx="4">
                  <c:v>1.7107869620025213E-2</c:v>
                </c:pt>
                <c:pt idx="5">
                  <c:v>2.818296416351522E-2</c:v>
                </c:pt>
                <c:pt idx="6">
                  <c:v>1.2875922924545292E-2</c:v>
                </c:pt>
                <c:pt idx="7">
                  <c:v>3.4936070592472543E-2</c:v>
                </c:pt>
                <c:pt idx="8">
                  <c:v>3.2324869439942373E-2</c:v>
                </c:pt>
                <c:pt idx="9">
                  <c:v>0.63110030614082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Ayala</c:v>
                </c:pt>
                <c:pt idx="5">
                  <c:v>Laurent Perrier</c:v>
                </c:pt>
                <c:pt idx="6">
                  <c:v>De Bligny</c:v>
                </c:pt>
                <c:pt idx="7">
                  <c:v>Canard Duchêne</c:v>
                </c:pt>
                <c:pt idx="8">
                  <c:v>Nicolas Feuillatte</c:v>
                </c:pt>
                <c:pt idx="9">
                  <c:v>Others</c:v>
                </c:pt>
              </c:strCache>
            </c:strRef>
          </c:cat>
          <c:val>
            <c:numRef>
              <c:f>Sheet1!$D$2:$D$11</c:f>
              <c:numCache>
                <c:formatCode>General</c:formatCode>
                <c:ptCount val="10"/>
                <c:pt idx="0">
                  <c:v>42.964902748342212</c:v>
                </c:pt>
                <c:pt idx="1">
                  <c:v>62.720325512805999</c:v>
                </c:pt>
                <c:pt idx="2">
                  <c:v>135.39171100277122</c:v>
                </c:pt>
                <c:pt idx="3">
                  <c:v>74.349284892592408</c:v>
                </c:pt>
                <c:pt idx="4">
                  <c:v>34.095452750066144</c:v>
                </c:pt>
                <c:pt idx="5">
                  <c:v>74.784319889473508</c:v>
                </c:pt>
                <c:pt idx="6">
                  <c:v>35.466672204296351</c:v>
                </c:pt>
                <c:pt idx="7">
                  <c:v>96.978938763480187</c:v>
                </c:pt>
                <c:pt idx="8">
                  <c:v>147.93833529472772</c:v>
                </c:pt>
                <c:pt idx="9">
                  <c:v>140.235476102512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Besserat De Bellefon</c:v>
                </c:pt>
                <c:pt idx="6">
                  <c:v>Pommery</c:v>
                </c:pt>
                <c:pt idx="7">
                  <c:v>Malard</c:v>
                </c:pt>
                <c:pt idx="8">
                  <c:v>Nicolas Feuillatte</c:v>
                </c:pt>
                <c:pt idx="9">
                  <c:v>Others</c:v>
                </c:pt>
              </c:strCache>
            </c:strRef>
          </c:cat>
          <c:val>
            <c:numRef>
              <c:f>Sheet1!$B$2:$B$11</c:f>
              <c:numCache>
                <c:formatCode>General</c:formatCode>
                <c:ptCount val="10"/>
                <c:pt idx="0">
                  <c:v>0.33075156410865608</c:v>
                </c:pt>
                <c:pt idx="1">
                  <c:v>0.13120561759193264</c:v>
                </c:pt>
                <c:pt idx="2">
                  <c:v>0.11479105620231779</c:v>
                </c:pt>
                <c:pt idx="3">
                  <c:v>0.10288535149547266</c:v>
                </c:pt>
                <c:pt idx="4">
                  <c:v>6.6751141733322777E-2</c:v>
                </c:pt>
                <c:pt idx="5">
                  <c:v>5.0368258493703966E-2</c:v>
                </c:pt>
                <c:pt idx="6">
                  <c:v>4.5716850135952058E-2</c:v>
                </c:pt>
                <c:pt idx="7">
                  <c:v>4.0357963094955256E-2</c:v>
                </c:pt>
                <c:pt idx="8">
                  <c:v>3.8937726036799451E-2</c:v>
                </c:pt>
                <c:pt idx="9">
                  <c:v>7.8234471106887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Besserat De Bellefon</c:v>
                </c:pt>
                <c:pt idx="6">
                  <c:v>Pommery</c:v>
                </c:pt>
                <c:pt idx="7">
                  <c:v>Malard</c:v>
                </c:pt>
                <c:pt idx="8">
                  <c:v>Nicolas Feuillatte</c:v>
                </c:pt>
                <c:pt idx="9">
                  <c:v>Others</c:v>
                </c:pt>
              </c:strCache>
            </c:strRef>
          </c:cat>
          <c:val>
            <c:numRef>
              <c:f>Sheet1!$C$2:$C$11</c:f>
              <c:numCache>
                <c:formatCode>General</c:formatCode>
                <c:ptCount val="10"/>
                <c:pt idx="0">
                  <c:v>0.16973578863090477</c:v>
                </c:pt>
                <c:pt idx="1">
                  <c:v>0.12009607686148922</c:v>
                </c:pt>
                <c:pt idx="2">
                  <c:v>4.7237790232185758E-2</c:v>
                </c:pt>
                <c:pt idx="3">
                  <c:v>0.15532425940752603</c:v>
                </c:pt>
                <c:pt idx="4">
                  <c:v>7.5260208166533241E-2</c:v>
                </c:pt>
                <c:pt idx="5">
                  <c:v>7.12570056044836E-2</c:v>
                </c:pt>
                <c:pt idx="6">
                  <c:v>5.4443554843875121E-2</c:v>
                </c:pt>
                <c:pt idx="7">
                  <c:v>4.003202562049641E-2</c:v>
                </c:pt>
                <c:pt idx="8">
                  <c:v>3.5228182546036838E-2</c:v>
                </c:pt>
                <c:pt idx="9">
                  <c:v>0.2313851080864692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Besserat De Bellefon</c:v>
                </c:pt>
                <c:pt idx="6">
                  <c:v>Pommery</c:v>
                </c:pt>
                <c:pt idx="7">
                  <c:v>Malard</c:v>
                </c:pt>
                <c:pt idx="8">
                  <c:v>Nicolas Feuillatte</c:v>
                </c:pt>
                <c:pt idx="9">
                  <c:v>Others</c:v>
                </c:pt>
              </c:strCache>
            </c:strRef>
          </c:cat>
          <c:val>
            <c:numRef>
              <c:f>Sheet1!$D$2:$D$11</c:f>
              <c:numCache>
                <c:formatCode>General</c:formatCode>
                <c:ptCount val="10"/>
                <c:pt idx="0">
                  <c:v>51.318211929950067</c:v>
                </c:pt>
                <c:pt idx="1">
                  <c:v>91.532724791559147</c:v>
                </c:pt>
                <c:pt idx="2">
                  <c:v>41.151106884956043</c:v>
                </c:pt>
                <c:pt idx="3">
                  <c:v>150.96829349352117</c:v>
                </c:pt>
                <c:pt idx="4">
                  <c:v>112.74744702825458</c:v>
                </c:pt>
                <c:pt idx="5">
                  <c:v>141.47204556097711</c:v>
                </c:pt>
                <c:pt idx="6">
                  <c:v>119.08859574089581</c:v>
                </c:pt>
                <c:pt idx="7">
                  <c:v>99.192383734303007</c:v>
                </c:pt>
                <c:pt idx="8">
                  <c:v>90.473137832299756</c:v>
                </c:pt>
                <c:pt idx="9">
                  <c:v>295.758512600335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Besserat De Bellefon</c:v>
                </c:pt>
                <c:pt idx="6">
                  <c:v>Nicolas Feuillatte</c:v>
                </c:pt>
                <c:pt idx="7">
                  <c:v>Pommery</c:v>
                </c:pt>
                <c:pt idx="8">
                  <c:v>Malard</c:v>
                </c:pt>
                <c:pt idx="9">
                  <c:v>Others</c:v>
                </c:pt>
              </c:strCache>
            </c:strRef>
          </c:cat>
          <c:val>
            <c:numRef>
              <c:f>Sheet1!$B$2:$B$11</c:f>
              <c:numCache>
                <c:formatCode>General</c:formatCode>
                <c:ptCount val="10"/>
                <c:pt idx="0">
                  <c:v>0.36399549647421336</c:v>
                </c:pt>
                <c:pt idx="1">
                  <c:v>0.11857309340865546</c:v>
                </c:pt>
                <c:pt idx="2">
                  <c:v>0.11086310993475156</c:v>
                </c:pt>
                <c:pt idx="3">
                  <c:v>0.10776858198194639</c:v>
                </c:pt>
                <c:pt idx="4">
                  <c:v>9.9334347285045532E-2</c:v>
                </c:pt>
                <c:pt idx="5">
                  <c:v>5.1494261955083255E-2</c:v>
                </c:pt>
                <c:pt idx="6">
                  <c:v>4.6305989557614183E-2</c:v>
                </c:pt>
                <c:pt idx="7">
                  <c:v>4.3046859054127903E-2</c:v>
                </c:pt>
                <c:pt idx="8">
                  <c:v>3.6284986272147275E-2</c:v>
                </c:pt>
                <c:pt idx="9">
                  <c:v>2.233327407641508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Besserat De Bellefon</c:v>
                </c:pt>
                <c:pt idx="6">
                  <c:v>Nicolas Feuillatte</c:v>
                </c:pt>
                <c:pt idx="7">
                  <c:v>Pommery</c:v>
                </c:pt>
                <c:pt idx="8">
                  <c:v>Malard</c:v>
                </c:pt>
                <c:pt idx="9">
                  <c:v>Others</c:v>
                </c:pt>
              </c:strCache>
            </c:strRef>
          </c:cat>
          <c:val>
            <c:numRef>
              <c:f>Sheet1!$C$2:$C$11</c:f>
              <c:numCache>
                <c:formatCode>General</c:formatCode>
                <c:ptCount val="10"/>
                <c:pt idx="0">
                  <c:v>0.23444444444444448</c:v>
                </c:pt>
                <c:pt idx="1">
                  <c:v>0.10555555555555557</c:v>
                </c:pt>
                <c:pt idx="2">
                  <c:v>6.5555555555555575E-2</c:v>
                </c:pt>
                <c:pt idx="3">
                  <c:v>9.7777777777777783E-2</c:v>
                </c:pt>
                <c:pt idx="4">
                  <c:v>0.1788888888888889</c:v>
                </c:pt>
                <c:pt idx="5">
                  <c:v>8.6666666666666684E-2</c:v>
                </c:pt>
                <c:pt idx="6">
                  <c:v>5.3333333333333344E-2</c:v>
                </c:pt>
                <c:pt idx="7">
                  <c:v>5.7777777777777789E-2</c:v>
                </c:pt>
                <c:pt idx="8">
                  <c:v>5.000000000000001E-2</c:v>
                </c:pt>
                <c:pt idx="9">
                  <c:v>7.000000000000000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Demoiselle</c:v>
                </c:pt>
                <c:pt idx="4">
                  <c:v>Nicolas</c:v>
                </c:pt>
                <c:pt idx="5">
                  <c:v>Besserat De Bellefon</c:v>
                </c:pt>
                <c:pt idx="6">
                  <c:v>Nicolas Feuillatte</c:v>
                </c:pt>
                <c:pt idx="7">
                  <c:v>Pommery</c:v>
                </c:pt>
                <c:pt idx="8">
                  <c:v>Malard</c:v>
                </c:pt>
                <c:pt idx="9">
                  <c:v>Others</c:v>
                </c:pt>
              </c:strCache>
            </c:strRef>
          </c:cat>
          <c:val>
            <c:numRef>
              <c:f>Sheet1!$D$2:$D$11</c:f>
              <c:numCache>
                <c:formatCode>General</c:formatCode>
                <c:ptCount val="10"/>
                <c:pt idx="0">
                  <c:v>64.408611291995285</c:v>
                </c:pt>
                <c:pt idx="1">
                  <c:v>89.021507764636212</c:v>
                </c:pt>
                <c:pt idx="2">
                  <c:v>59.131983212574745</c:v>
                </c:pt>
                <c:pt idx="3">
                  <c:v>90.729390681003593</c:v>
                </c:pt>
                <c:pt idx="4">
                  <c:v>180.08764720178522</c:v>
                </c:pt>
                <c:pt idx="5">
                  <c:v>168.30354174657975</c:v>
                </c:pt>
                <c:pt idx="6">
                  <c:v>115.17588511303856</c:v>
                </c:pt>
                <c:pt idx="7">
                  <c:v>134.22065871316408</c:v>
                </c:pt>
                <c:pt idx="8">
                  <c:v>137.79804028307024</c:v>
                </c:pt>
                <c:pt idx="9">
                  <c:v>313.433667452830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B$2:$B$11</c:f>
              <c:numCache>
                <c:formatCode>General</c:formatCode>
                <c:ptCount val="10"/>
                <c:pt idx="0">
                  <c:v>0.32557301247949089</c:v>
                </c:pt>
                <c:pt idx="1">
                  <c:v>0.14522945358723213</c:v>
                </c:pt>
                <c:pt idx="2">
                  <c:v>0.10504400139213443</c:v>
                </c:pt>
                <c:pt idx="3">
                  <c:v>9.5758961865460152E-2</c:v>
                </c:pt>
                <c:pt idx="4">
                  <c:v>9.209217918759012E-2</c:v>
                </c:pt>
                <c:pt idx="5">
                  <c:v>7.3012479490876553E-2</c:v>
                </c:pt>
                <c:pt idx="6">
                  <c:v>5.5896683736886589E-2</c:v>
                </c:pt>
                <c:pt idx="7">
                  <c:v>5.1297668174812308E-2</c:v>
                </c:pt>
                <c:pt idx="8">
                  <c:v>3.4107293790086014E-2</c:v>
                </c:pt>
                <c:pt idx="9">
                  <c:v>2.198826629543081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C$2:$C$11</c:f>
              <c:numCache>
                <c:formatCode>General</c:formatCode>
                <c:ptCount val="10"/>
                <c:pt idx="0">
                  <c:v>0.17738791423001951</c:v>
                </c:pt>
                <c:pt idx="1">
                  <c:v>0.11890838206627682</c:v>
                </c:pt>
                <c:pt idx="2">
                  <c:v>0.10818713450292398</c:v>
                </c:pt>
                <c:pt idx="3">
                  <c:v>7.4074074074074084E-2</c:v>
                </c:pt>
                <c:pt idx="4">
                  <c:v>0.19200779727095521</c:v>
                </c:pt>
                <c:pt idx="5">
                  <c:v>5.8479532163742701E-2</c:v>
                </c:pt>
                <c:pt idx="6">
                  <c:v>8.7719298245614058E-2</c:v>
                </c:pt>
                <c:pt idx="7">
                  <c:v>7.4074074074074084E-2</c:v>
                </c:pt>
                <c:pt idx="8">
                  <c:v>5.8479532163742701E-2</c:v>
                </c:pt>
                <c:pt idx="9">
                  <c:v>5.0682261208577009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Laurent Perrier</c:v>
                </c:pt>
                <c:pt idx="4">
                  <c:v>Nicolas</c:v>
                </c:pt>
                <c:pt idx="5">
                  <c:v>Nicolas Feuillatte</c:v>
                </c:pt>
                <c:pt idx="6">
                  <c:v>Besserat De Bellefon</c:v>
                </c:pt>
                <c:pt idx="7">
                  <c:v>Malard</c:v>
                </c:pt>
                <c:pt idx="8">
                  <c:v>Pommery</c:v>
                </c:pt>
                <c:pt idx="9">
                  <c:v>Others</c:v>
                </c:pt>
              </c:strCache>
            </c:strRef>
          </c:cat>
          <c:val>
            <c:numRef>
              <c:f>Sheet1!$D$2:$D$11</c:f>
              <c:numCache>
                <c:formatCode>General</c:formatCode>
                <c:ptCount val="10"/>
                <c:pt idx="0">
                  <c:v>54.484833641177147</c:v>
                </c:pt>
                <c:pt idx="1">
                  <c:v>81.876216655221697</c:v>
                </c:pt>
                <c:pt idx="2">
                  <c:v>102.99220618896274</c:v>
                </c:pt>
                <c:pt idx="3">
                  <c:v>77.354717126264376</c:v>
                </c:pt>
                <c:pt idx="4">
                  <c:v>208.49522615795505</c:v>
                </c:pt>
                <c:pt idx="5">
                  <c:v>80.095255730974245</c:v>
                </c:pt>
                <c:pt idx="6">
                  <c:v>156.93113147556465</c:v>
                </c:pt>
                <c:pt idx="7">
                  <c:v>144.4004702546016</c:v>
                </c:pt>
                <c:pt idx="8">
                  <c:v>171.45755545325903</c:v>
                </c:pt>
                <c:pt idx="9">
                  <c:v>230.496850127328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Pommery</c:v>
                </c:pt>
                <c:pt idx="6">
                  <c:v>Nicolas Feuillatte</c:v>
                </c:pt>
                <c:pt idx="7">
                  <c:v>Besserat De Bellefon</c:v>
                </c:pt>
                <c:pt idx="8">
                  <c:v>Malard</c:v>
                </c:pt>
                <c:pt idx="9">
                  <c:v>Others</c:v>
                </c:pt>
              </c:strCache>
            </c:strRef>
          </c:cat>
          <c:val>
            <c:numRef>
              <c:f>Sheet1!$B$2:$B$11</c:f>
              <c:numCache>
                <c:formatCode>General</c:formatCode>
                <c:ptCount val="10"/>
                <c:pt idx="0">
                  <c:v>0.36989734760150816</c:v>
                </c:pt>
                <c:pt idx="1">
                  <c:v>0.16267462894754048</c:v>
                </c:pt>
                <c:pt idx="2">
                  <c:v>9.2801255366911486E-2</c:v>
                </c:pt>
                <c:pt idx="3">
                  <c:v>8.91397685417257E-2</c:v>
                </c:pt>
                <c:pt idx="4">
                  <c:v>7.1257328422291474E-2</c:v>
                </c:pt>
                <c:pt idx="5">
                  <c:v>4.558333151711963E-2</c:v>
                </c:pt>
                <c:pt idx="6">
                  <c:v>4.3970533748883031E-2</c:v>
                </c:pt>
                <c:pt idx="7">
                  <c:v>3.6266155220887913E-2</c:v>
                </c:pt>
                <c:pt idx="8">
                  <c:v>3.2713641217880264E-2</c:v>
                </c:pt>
                <c:pt idx="9">
                  <c:v>5.569600941525183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Pommery</c:v>
                </c:pt>
                <c:pt idx="6">
                  <c:v>Nicolas Feuillatte</c:v>
                </c:pt>
                <c:pt idx="7">
                  <c:v>Besserat De Bellefon</c:v>
                </c:pt>
                <c:pt idx="8">
                  <c:v>Malard</c:v>
                </c:pt>
                <c:pt idx="9">
                  <c:v>Others</c:v>
                </c:pt>
              </c:strCache>
            </c:strRef>
          </c:cat>
          <c:val>
            <c:numRef>
              <c:f>Sheet1!$C$2:$C$11</c:f>
              <c:numCache>
                <c:formatCode>General</c:formatCode>
                <c:ptCount val="10"/>
                <c:pt idx="0">
                  <c:v>0.18698630136986302</c:v>
                </c:pt>
                <c:pt idx="1">
                  <c:v>0.13561643835616438</c:v>
                </c:pt>
                <c:pt idx="2">
                  <c:v>5.2739726027397266E-2</c:v>
                </c:pt>
                <c:pt idx="3">
                  <c:v>0.16438356164383561</c:v>
                </c:pt>
                <c:pt idx="4">
                  <c:v>7.4657534246575355E-2</c:v>
                </c:pt>
                <c:pt idx="5">
                  <c:v>5.3424657534246578E-2</c:v>
                </c:pt>
                <c:pt idx="6">
                  <c:v>3.287671232876712E-2</c:v>
                </c:pt>
                <c:pt idx="7">
                  <c:v>6.7123287671232879E-2</c:v>
                </c:pt>
                <c:pt idx="8">
                  <c:v>3.8356164383561646E-2</c:v>
                </c:pt>
                <c:pt idx="9">
                  <c:v>0.1938356164383561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Pommery</c:v>
                </c:pt>
                <c:pt idx="6">
                  <c:v>Nicolas Feuillatte</c:v>
                </c:pt>
                <c:pt idx="7">
                  <c:v>Besserat De Bellefon</c:v>
                </c:pt>
                <c:pt idx="8">
                  <c:v>Malard</c:v>
                </c:pt>
                <c:pt idx="9">
                  <c:v>Others</c:v>
                </c:pt>
              </c:strCache>
            </c:strRef>
          </c:cat>
          <c:val>
            <c:numRef>
              <c:f>Sheet1!$D$2:$D$11</c:f>
              <c:numCache>
                <c:formatCode>General</c:formatCode>
                <c:ptCount val="10"/>
                <c:pt idx="0">
                  <c:v>50.55086298464191</c:v>
                </c:pt>
                <c:pt idx="1">
                  <c:v>83.366680614896723</c:v>
                </c:pt>
                <c:pt idx="2">
                  <c:v>56.830832534407435</c:v>
                </c:pt>
                <c:pt idx="3">
                  <c:v>184.41102589007602</c:v>
                </c:pt>
                <c:pt idx="4">
                  <c:v>104.77172790443852</c:v>
                </c:pt>
                <c:pt idx="5">
                  <c:v>117.20217841949967</c:v>
                </c:pt>
                <c:pt idx="6">
                  <c:v>74.769873198553739</c:v>
                </c:pt>
                <c:pt idx="7">
                  <c:v>185.08520482086405</c:v>
                </c:pt>
                <c:pt idx="8">
                  <c:v>117.24822720925773</c:v>
                </c:pt>
                <c:pt idx="9">
                  <c:v>348.0242453156367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Deutz</c:v>
                </c:pt>
                <c:pt idx="3">
                  <c:v>Nicolas</c:v>
                </c:pt>
                <c:pt idx="4">
                  <c:v>Nicolas Feuillatte</c:v>
                </c:pt>
                <c:pt idx="5">
                  <c:v>Laurent Perrier</c:v>
                </c:pt>
                <c:pt idx="6">
                  <c:v>Pommery</c:v>
                </c:pt>
                <c:pt idx="7">
                  <c:v>Besserat De Bellefon</c:v>
                </c:pt>
                <c:pt idx="8">
                  <c:v>Malard</c:v>
                </c:pt>
                <c:pt idx="9">
                  <c:v>Others</c:v>
                </c:pt>
              </c:strCache>
            </c:strRef>
          </c:cat>
          <c:val>
            <c:numRef>
              <c:f>Sheet1!$B$2:$B$11</c:f>
              <c:numCache>
                <c:formatCode>General</c:formatCode>
                <c:ptCount val="10"/>
                <c:pt idx="0">
                  <c:v>0.29811464915541236</c:v>
                </c:pt>
                <c:pt idx="1">
                  <c:v>0.13259406104158922</c:v>
                </c:pt>
                <c:pt idx="2">
                  <c:v>0.11275967455499113</c:v>
                </c:pt>
                <c:pt idx="3">
                  <c:v>0.10382852186841779</c:v>
                </c:pt>
                <c:pt idx="4">
                  <c:v>8.6472143063643495E-2</c:v>
                </c:pt>
                <c:pt idx="5">
                  <c:v>7.9502746458514018E-2</c:v>
                </c:pt>
                <c:pt idx="6">
                  <c:v>7.114979556436625E-2</c:v>
                </c:pt>
                <c:pt idx="7">
                  <c:v>5.106760830958576E-2</c:v>
                </c:pt>
                <c:pt idx="8">
                  <c:v>3.8976995828687071E-2</c:v>
                </c:pt>
                <c:pt idx="9">
                  <c:v>2.55338041547928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Deutz</c:v>
                </c:pt>
                <c:pt idx="3">
                  <c:v>Nicolas</c:v>
                </c:pt>
                <c:pt idx="4">
                  <c:v>Nicolas Feuillatte</c:v>
                </c:pt>
                <c:pt idx="5">
                  <c:v>Laurent Perrier</c:v>
                </c:pt>
                <c:pt idx="6">
                  <c:v>Pommery</c:v>
                </c:pt>
                <c:pt idx="7">
                  <c:v>Besserat De Bellefon</c:v>
                </c:pt>
                <c:pt idx="8">
                  <c:v>Malard</c:v>
                </c:pt>
                <c:pt idx="9">
                  <c:v>Others</c:v>
                </c:pt>
              </c:strCache>
            </c:strRef>
          </c:cat>
          <c:val>
            <c:numRef>
              <c:f>Sheet1!$C$2:$C$11</c:f>
              <c:numCache>
                <c:formatCode>General</c:formatCode>
                <c:ptCount val="10"/>
                <c:pt idx="0">
                  <c:v>0.21010101010101018</c:v>
                </c:pt>
                <c:pt idx="1">
                  <c:v>0.11414141414141417</c:v>
                </c:pt>
                <c:pt idx="2">
                  <c:v>0.12525252525252528</c:v>
                </c:pt>
                <c:pt idx="3">
                  <c:v>0.1828282828282829</c:v>
                </c:pt>
                <c:pt idx="4">
                  <c:v>5.9595959595959612E-2</c:v>
                </c:pt>
                <c:pt idx="5">
                  <c:v>6.9696969696969716E-2</c:v>
                </c:pt>
                <c:pt idx="6">
                  <c:v>6.1616161616161631E-2</c:v>
                </c:pt>
                <c:pt idx="7">
                  <c:v>6.666666666666668E-2</c:v>
                </c:pt>
                <c:pt idx="8">
                  <c:v>5.555555555555558E-2</c:v>
                </c:pt>
                <c:pt idx="9">
                  <c:v>5.454545454545455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Deutz</c:v>
                </c:pt>
                <c:pt idx="3">
                  <c:v>Nicolas</c:v>
                </c:pt>
                <c:pt idx="4">
                  <c:v>Nicolas Feuillatte</c:v>
                </c:pt>
                <c:pt idx="5">
                  <c:v>Laurent Perrier</c:v>
                </c:pt>
                <c:pt idx="6">
                  <c:v>Pommery</c:v>
                </c:pt>
                <c:pt idx="7">
                  <c:v>Besserat De Bellefon</c:v>
                </c:pt>
                <c:pt idx="8">
                  <c:v>Malard</c:v>
                </c:pt>
                <c:pt idx="9">
                  <c:v>Others</c:v>
                </c:pt>
              </c:strCache>
            </c:strRef>
          </c:cat>
          <c:val>
            <c:numRef>
              <c:f>Sheet1!$D$2:$D$11</c:f>
              <c:numCache>
                <c:formatCode>General</c:formatCode>
                <c:ptCount val="10"/>
                <c:pt idx="0">
                  <c:v>70.476580300983755</c:v>
                </c:pt>
                <c:pt idx="1">
                  <c:v>86.083353390626428</c:v>
                </c:pt>
                <c:pt idx="2">
                  <c:v>111.07918300299953</c:v>
                </c:pt>
                <c:pt idx="3">
                  <c:v>176.08676261420899</c:v>
                </c:pt>
                <c:pt idx="4">
                  <c:v>68.919258254183646</c:v>
                </c:pt>
                <c:pt idx="5">
                  <c:v>87.66611570247936</c:v>
                </c:pt>
                <c:pt idx="6">
                  <c:v>86.60061652660697</c:v>
                </c:pt>
                <c:pt idx="7">
                  <c:v>130.54589567327136</c:v>
                </c:pt>
                <c:pt idx="8">
                  <c:v>142.53421633554089</c:v>
                </c:pt>
                <c:pt idx="9">
                  <c:v>213.620556556262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Demoiselle</c:v>
                </c:pt>
                <c:pt idx="4">
                  <c:v>Laurent Perrier</c:v>
                </c:pt>
                <c:pt idx="5">
                  <c:v>Dom Perignon</c:v>
                </c:pt>
                <c:pt idx="6">
                  <c:v>Besserat De Bellefon</c:v>
                </c:pt>
                <c:pt idx="7">
                  <c:v>Nicolas Feuillatte</c:v>
                </c:pt>
                <c:pt idx="8">
                  <c:v>Pommery</c:v>
                </c:pt>
                <c:pt idx="9">
                  <c:v>Others</c:v>
                </c:pt>
              </c:strCache>
            </c:strRef>
          </c:cat>
          <c:val>
            <c:numRef>
              <c:f>Sheet1!$B$2:$B$11</c:f>
              <c:numCache>
                <c:formatCode>General</c:formatCode>
                <c:ptCount val="10"/>
                <c:pt idx="0">
                  <c:v>0.27291727779407449</c:v>
                </c:pt>
                <c:pt idx="1">
                  <c:v>0.14269824973110395</c:v>
                </c:pt>
                <c:pt idx="2">
                  <c:v>0.13564583944460742</c:v>
                </c:pt>
                <c:pt idx="3">
                  <c:v>0.10502835631172387</c:v>
                </c:pt>
                <c:pt idx="4">
                  <c:v>9.2622469932531537E-2</c:v>
                </c:pt>
                <c:pt idx="5">
                  <c:v>5.8668231152830742E-2</c:v>
                </c:pt>
                <c:pt idx="6">
                  <c:v>5.7543756722401487E-2</c:v>
                </c:pt>
                <c:pt idx="7">
                  <c:v>5.0393566050650242E-2</c:v>
                </c:pt>
                <c:pt idx="8">
                  <c:v>4.5064535054268114E-2</c:v>
                </c:pt>
                <c:pt idx="9">
                  <c:v>3.941771780580815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Demoiselle</c:v>
                </c:pt>
                <c:pt idx="4">
                  <c:v>Laurent Perrier</c:v>
                </c:pt>
                <c:pt idx="5">
                  <c:v>Dom Perignon</c:v>
                </c:pt>
                <c:pt idx="6">
                  <c:v>Besserat De Bellefon</c:v>
                </c:pt>
                <c:pt idx="7">
                  <c:v>Nicolas Feuillatte</c:v>
                </c:pt>
                <c:pt idx="8">
                  <c:v>Pommery</c:v>
                </c:pt>
                <c:pt idx="9">
                  <c:v>Others</c:v>
                </c:pt>
              </c:strCache>
            </c:strRef>
          </c:cat>
          <c:val>
            <c:numRef>
              <c:f>Sheet1!$C$2:$C$11</c:f>
              <c:numCache>
                <c:formatCode>General</c:formatCode>
                <c:ptCount val="10"/>
                <c:pt idx="0">
                  <c:v>0.21602787456445993</c:v>
                </c:pt>
                <c:pt idx="1">
                  <c:v>0.18931475029036005</c:v>
                </c:pt>
                <c:pt idx="2">
                  <c:v>0.13821138211382114</c:v>
                </c:pt>
                <c:pt idx="3">
                  <c:v>9.4076655052264826E-2</c:v>
                </c:pt>
                <c:pt idx="4">
                  <c:v>4.7619047619047616E-2</c:v>
                </c:pt>
                <c:pt idx="5">
                  <c:v>2.2067363530778168E-2</c:v>
                </c:pt>
                <c:pt idx="6">
                  <c:v>9.9883855981416955E-2</c:v>
                </c:pt>
                <c:pt idx="7">
                  <c:v>5.6910569105691061E-2</c:v>
                </c:pt>
                <c:pt idx="8">
                  <c:v>4.6457607433217196E-2</c:v>
                </c:pt>
                <c:pt idx="9">
                  <c:v>8.943089430894307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Demoiselle</c:v>
                </c:pt>
                <c:pt idx="4">
                  <c:v>Laurent Perrier</c:v>
                </c:pt>
                <c:pt idx="5">
                  <c:v>Dom Perignon</c:v>
                </c:pt>
                <c:pt idx="6">
                  <c:v>Besserat De Bellefon</c:v>
                </c:pt>
                <c:pt idx="7">
                  <c:v>Nicolas Feuillatte</c:v>
                </c:pt>
                <c:pt idx="8">
                  <c:v>Pommery</c:v>
                </c:pt>
                <c:pt idx="9">
                  <c:v>Others</c:v>
                </c:pt>
              </c:strCache>
            </c:strRef>
          </c:cat>
          <c:val>
            <c:numRef>
              <c:f>Sheet1!$D$2:$D$11</c:f>
              <c:numCache>
                <c:formatCode>General</c:formatCode>
                <c:ptCount val="10"/>
                <c:pt idx="0">
                  <c:v>79.15507450116823</c:v>
                </c:pt>
                <c:pt idx="1">
                  <c:v>132.66788530840338</c:v>
                </c:pt>
                <c:pt idx="2">
                  <c:v>101.89135374864291</c:v>
                </c:pt>
                <c:pt idx="3">
                  <c:v>89.572624342559052</c:v>
                </c:pt>
                <c:pt idx="4">
                  <c:v>51.411982053312208</c:v>
                </c:pt>
                <c:pt idx="5">
                  <c:v>37.613821138211385</c:v>
                </c:pt>
                <c:pt idx="6">
                  <c:v>173.57896263754481</c:v>
                </c:pt>
                <c:pt idx="7">
                  <c:v>112.93221251397574</c:v>
                </c:pt>
                <c:pt idx="8">
                  <c:v>103.09128315042307</c:v>
                </c:pt>
                <c:pt idx="9">
                  <c:v>226.879939497069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Besserat De Bellefon</c:v>
                </c:pt>
                <c:pt idx="6">
                  <c:v>Malard</c:v>
                </c:pt>
                <c:pt idx="7">
                  <c:v>Nicolas Feuillatte</c:v>
                </c:pt>
                <c:pt idx="8">
                  <c:v>Pommery</c:v>
                </c:pt>
                <c:pt idx="9">
                  <c:v>Others</c:v>
                </c:pt>
              </c:strCache>
            </c:strRef>
          </c:cat>
          <c:val>
            <c:numRef>
              <c:f>Sheet1!$B$2:$B$11</c:f>
              <c:numCache>
                <c:formatCode>General</c:formatCode>
                <c:ptCount val="10"/>
                <c:pt idx="0">
                  <c:v>0.34641412088979984</c:v>
                </c:pt>
                <c:pt idx="1">
                  <c:v>0.1348658056080711</c:v>
                </c:pt>
                <c:pt idx="2">
                  <c:v>0.1172853684824284</c:v>
                </c:pt>
                <c:pt idx="3">
                  <c:v>0.10235524851140519</c:v>
                </c:pt>
                <c:pt idx="4">
                  <c:v>9.4580984857854655E-2</c:v>
                </c:pt>
                <c:pt idx="5">
                  <c:v>6.0974963337279364E-2</c:v>
                </c:pt>
                <c:pt idx="6">
                  <c:v>4.8960192236337616E-2</c:v>
                </c:pt>
                <c:pt idx="7">
                  <c:v>4.8430128805413718E-2</c:v>
                </c:pt>
                <c:pt idx="8">
                  <c:v>3.4118416170468402E-2</c:v>
                </c:pt>
                <c:pt idx="9">
                  <c:v>1.201477110094174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Besserat De Bellefon</c:v>
                </c:pt>
                <c:pt idx="6">
                  <c:v>Malard</c:v>
                </c:pt>
                <c:pt idx="7">
                  <c:v>Nicolas Feuillatte</c:v>
                </c:pt>
                <c:pt idx="8">
                  <c:v>Pommery</c:v>
                </c:pt>
                <c:pt idx="9">
                  <c:v>Others</c:v>
                </c:pt>
              </c:strCache>
            </c:strRef>
          </c:cat>
          <c:val>
            <c:numRef>
              <c:f>Sheet1!$C$2:$C$11</c:f>
              <c:numCache>
                <c:formatCode>General</c:formatCode>
                <c:ptCount val="10"/>
                <c:pt idx="0">
                  <c:v>0.22308546059933407</c:v>
                </c:pt>
                <c:pt idx="1">
                  <c:v>0.16648168701442842</c:v>
                </c:pt>
                <c:pt idx="2">
                  <c:v>0.11875693673695895</c:v>
                </c:pt>
                <c:pt idx="3">
                  <c:v>0.1398446170921199</c:v>
                </c:pt>
                <c:pt idx="4">
                  <c:v>8.7680355160932297E-2</c:v>
                </c:pt>
                <c:pt idx="5">
                  <c:v>7.6581576026637066E-2</c:v>
                </c:pt>
                <c:pt idx="6">
                  <c:v>5.1054384017758053E-2</c:v>
                </c:pt>
                <c:pt idx="7">
                  <c:v>5.327413984461709E-2</c:v>
                </c:pt>
                <c:pt idx="8">
                  <c:v>4.8834628190899003E-2</c:v>
                </c:pt>
                <c:pt idx="9">
                  <c:v>3.440621531631520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Demoiselle</c:v>
                </c:pt>
                <c:pt idx="3">
                  <c:v>Nicolas</c:v>
                </c:pt>
                <c:pt idx="4">
                  <c:v>Laurent Perrier</c:v>
                </c:pt>
                <c:pt idx="5">
                  <c:v>Besserat De Bellefon</c:v>
                </c:pt>
                <c:pt idx="6">
                  <c:v>Malard</c:v>
                </c:pt>
                <c:pt idx="7">
                  <c:v>Nicolas Feuillatte</c:v>
                </c:pt>
                <c:pt idx="8">
                  <c:v>Pommery</c:v>
                </c:pt>
                <c:pt idx="9">
                  <c:v>Others</c:v>
                </c:pt>
              </c:strCache>
            </c:strRef>
          </c:cat>
          <c:val>
            <c:numRef>
              <c:f>Sheet1!$D$2:$D$11</c:f>
              <c:numCache>
                <c:formatCode>General</c:formatCode>
                <c:ptCount val="10"/>
                <c:pt idx="0">
                  <c:v>64.398489307051463</c:v>
                </c:pt>
                <c:pt idx="1">
                  <c:v>123.44247399391597</c:v>
                </c:pt>
                <c:pt idx="2">
                  <c:v>101.25469039622877</c:v>
                </c:pt>
                <c:pt idx="3">
                  <c:v>136.62671834218386</c:v>
                </c:pt>
                <c:pt idx="4">
                  <c:v>92.703998898622928</c:v>
                </c:pt>
                <c:pt idx="5">
                  <c:v>125.59511615124828</c:v>
                </c:pt>
                <c:pt idx="6">
                  <c:v>104.27733570021842</c:v>
                </c:pt>
                <c:pt idx="7">
                  <c:v>110.0020610283033</c:v>
                </c:pt>
                <c:pt idx="8">
                  <c:v>143.13275254895444</c:v>
                </c:pt>
                <c:pt idx="9">
                  <c:v>286.365965920219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Nicolas</c:v>
                </c:pt>
                <c:pt idx="3">
                  <c:v>Deutz</c:v>
                </c:pt>
                <c:pt idx="4">
                  <c:v>Laurent Perrier</c:v>
                </c:pt>
                <c:pt idx="5">
                  <c:v>Besserat De Bellefon</c:v>
                </c:pt>
                <c:pt idx="6">
                  <c:v>Nicolas Feuillatte</c:v>
                </c:pt>
                <c:pt idx="7">
                  <c:v>Malard</c:v>
                </c:pt>
                <c:pt idx="8">
                  <c:v>Pommery</c:v>
                </c:pt>
                <c:pt idx="9">
                  <c:v>Others</c:v>
                </c:pt>
              </c:strCache>
            </c:strRef>
          </c:cat>
          <c:val>
            <c:numRef>
              <c:f>Sheet1!$B$2:$B$11</c:f>
              <c:numCache>
                <c:formatCode>General</c:formatCode>
                <c:ptCount val="10"/>
                <c:pt idx="0">
                  <c:v>0.29576507375433347</c:v>
                </c:pt>
                <c:pt idx="1">
                  <c:v>0.16833208710035574</c:v>
                </c:pt>
                <c:pt idx="2">
                  <c:v>0.11580903179027031</c:v>
                </c:pt>
                <c:pt idx="3">
                  <c:v>0.10887544467858519</c:v>
                </c:pt>
                <c:pt idx="4">
                  <c:v>8.8323929939047877E-2</c:v>
                </c:pt>
                <c:pt idx="5">
                  <c:v>6.8610790111707787E-2</c:v>
                </c:pt>
                <c:pt idx="6">
                  <c:v>5.8618267509573337E-2</c:v>
                </c:pt>
                <c:pt idx="7">
                  <c:v>5.0257177169011853E-2</c:v>
                </c:pt>
                <c:pt idx="8">
                  <c:v>3.3693607957764028E-2</c:v>
                </c:pt>
                <c:pt idx="9">
                  <c:v>1.171458998935037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Nicolas</c:v>
                </c:pt>
                <c:pt idx="3">
                  <c:v>Deutz</c:v>
                </c:pt>
                <c:pt idx="4">
                  <c:v>Laurent Perrier</c:v>
                </c:pt>
                <c:pt idx="5">
                  <c:v>Besserat De Bellefon</c:v>
                </c:pt>
                <c:pt idx="6">
                  <c:v>Nicolas Feuillatte</c:v>
                </c:pt>
                <c:pt idx="7">
                  <c:v>Malard</c:v>
                </c:pt>
                <c:pt idx="8">
                  <c:v>Pommery</c:v>
                </c:pt>
                <c:pt idx="9">
                  <c:v>Others</c:v>
                </c:pt>
              </c:strCache>
            </c:strRef>
          </c:cat>
          <c:val>
            <c:numRef>
              <c:f>Sheet1!$C$2:$C$11</c:f>
              <c:numCache>
                <c:formatCode>General</c:formatCode>
                <c:ptCount val="10"/>
                <c:pt idx="0">
                  <c:v>0.23983739837398368</c:v>
                </c:pt>
                <c:pt idx="1">
                  <c:v>0.10264227642276419</c:v>
                </c:pt>
                <c:pt idx="2">
                  <c:v>0.19308943089430888</c:v>
                </c:pt>
                <c:pt idx="3">
                  <c:v>0.10365853658536582</c:v>
                </c:pt>
                <c:pt idx="4">
                  <c:v>5.4878048780487791E-2</c:v>
                </c:pt>
                <c:pt idx="5">
                  <c:v>7.5203252032520304E-2</c:v>
                </c:pt>
                <c:pt idx="6">
                  <c:v>5.386178861788616E-2</c:v>
                </c:pt>
                <c:pt idx="7">
                  <c:v>6.0975609756097539E-2</c:v>
                </c:pt>
                <c:pt idx="8">
                  <c:v>3.8617886178861777E-2</c:v>
                </c:pt>
                <c:pt idx="9">
                  <c:v>7.723577235772355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Nicolas</c:v>
                </c:pt>
                <c:pt idx="3">
                  <c:v>Deutz</c:v>
                </c:pt>
                <c:pt idx="4">
                  <c:v>Laurent Perrier</c:v>
                </c:pt>
                <c:pt idx="5">
                  <c:v>Besserat De Bellefon</c:v>
                </c:pt>
                <c:pt idx="6">
                  <c:v>Nicolas Feuillatte</c:v>
                </c:pt>
                <c:pt idx="7">
                  <c:v>Malard</c:v>
                </c:pt>
                <c:pt idx="8">
                  <c:v>Pommery</c:v>
                </c:pt>
                <c:pt idx="9">
                  <c:v>Others</c:v>
                </c:pt>
              </c:strCache>
            </c:strRef>
          </c:cat>
          <c:val>
            <c:numRef>
              <c:f>Sheet1!$D$2:$D$11</c:f>
              <c:numCache>
                <c:formatCode>General</c:formatCode>
                <c:ptCount val="10"/>
                <c:pt idx="0">
                  <c:v>81.090507181789789</c:v>
                </c:pt>
                <c:pt idx="1">
                  <c:v>60.976061184087385</c:v>
                </c:pt>
                <c:pt idx="2">
                  <c:v>166.73089128660797</c:v>
                </c:pt>
                <c:pt idx="3">
                  <c:v>95.208370345930277</c:v>
                </c:pt>
                <c:pt idx="4">
                  <c:v>62.13270720444504</c:v>
                </c:pt>
                <c:pt idx="5">
                  <c:v>109.60849147791343</c:v>
                </c:pt>
                <c:pt idx="6">
                  <c:v>91.885671320957471</c:v>
                </c:pt>
                <c:pt idx="7">
                  <c:v>121.32716796058848</c:v>
                </c:pt>
                <c:pt idx="8">
                  <c:v>114.61487362015515</c:v>
                </c:pt>
                <c:pt idx="9">
                  <c:v>659.312638580931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Besserat De Bellefon</c:v>
                </c:pt>
                <c:pt idx="3">
                  <c:v>Nicolas</c:v>
                </c:pt>
                <c:pt idx="4">
                  <c:v>Laurent Perrier</c:v>
                </c:pt>
                <c:pt idx="5">
                  <c:v>Demoiselle</c:v>
                </c:pt>
                <c:pt idx="6">
                  <c:v>Nicolas Feuillatte</c:v>
                </c:pt>
                <c:pt idx="7">
                  <c:v>Malard</c:v>
                </c:pt>
                <c:pt idx="8">
                  <c:v>Pommery</c:v>
                </c:pt>
                <c:pt idx="9">
                  <c:v>Others</c:v>
                </c:pt>
              </c:strCache>
            </c:strRef>
          </c:cat>
          <c:val>
            <c:numRef>
              <c:f>Sheet1!$B$2:$B$11</c:f>
              <c:numCache>
                <c:formatCode>General</c:formatCode>
                <c:ptCount val="10"/>
                <c:pt idx="0">
                  <c:v>0.25619372518315531</c:v>
                </c:pt>
                <c:pt idx="1">
                  <c:v>0.15354286673004866</c:v>
                </c:pt>
                <c:pt idx="2">
                  <c:v>0.14671998210390919</c:v>
                </c:pt>
                <c:pt idx="3">
                  <c:v>9.5156870421117382E-2</c:v>
                </c:pt>
                <c:pt idx="4">
                  <c:v>9.1018399418377055E-2</c:v>
                </c:pt>
                <c:pt idx="5">
                  <c:v>7.373748671774509E-2</c:v>
                </c:pt>
                <c:pt idx="6">
                  <c:v>5.802248196409597E-2</c:v>
                </c:pt>
                <c:pt idx="7">
                  <c:v>5.7463229125887812E-2</c:v>
                </c:pt>
                <c:pt idx="8">
                  <c:v>5.5561769475980093E-2</c:v>
                </c:pt>
                <c:pt idx="9">
                  <c:v>1.258318885968346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Besserat De Bellefon</c:v>
                </c:pt>
                <c:pt idx="3">
                  <c:v>Nicolas</c:v>
                </c:pt>
                <c:pt idx="4">
                  <c:v>Laurent Perrier</c:v>
                </c:pt>
                <c:pt idx="5">
                  <c:v>Demoiselle</c:v>
                </c:pt>
                <c:pt idx="6">
                  <c:v>Nicolas Feuillatte</c:v>
                </c:pt>
                <c:pt idx="7">
                  <c:v>Malard</c:v>
                </c:pt>
                <c:pt idx="8">
                  <c:v>Pommery</c:v>
                </c:pt>
                <c:pt idx="9">
                  <c:v>Others</c:v>
                </c:pt>
              </c:strCache>
            </c:strRef>
          </c:cat>
          <c:val>
            <c:numRef>
              <c:f>Sheet1!$C$2:$C$11</c:f>
              <c:numCache>
                <c:formatCode>General</c:formatCode>
                <c:ptCount val="10"/>
                <c:pt idx="0">
                  <c:v>0.17123287671232876</c:v>
                </c:pt>
                <c:pt idx="1">
                  <c:v>0.13502935420743639</c:v>
                </c:pt>
                <c:pt idx="2">
                  <c:v>0.12035225048923678</c:v>
                </c:pt>
                <c:pt idx="3">
                  <c:v>0.18297455968688844</c:v>
                </c:pt>
                <c:pt idx="4">
                  <c:v>9.0019569471624247E-2</c:v>
                </c:pt>
                <c:pt idx="5">
                  <c:v>9.0998043052837568E-2</c:v>
                </c:pt>
                <c:pt idx="6">
                  <c:v>4.4031311154598823E-2</c:v>
                </c:pt>
                <c:pt idx="7">
                  <c:v>5.0880626223091974E-2</c:v>
                </c:pt>
                <c:pt idx="8">
                  <c:v>5.8708414872798431E-2</c:v>
                </c:pt>
                <c:pt idx="9">
                  <c:v>5.57729941291585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Besserat De Bellefon</c:v>
                </c:pt>
                <c:pt idx="3">
                  <c:v>Nicolas</c:v>
                </c:pt>
                <c:pt idx="4">
                  <c:v>Laurent Perrier</c:v>
                </c:pt>
                <c:pt idx="5">
                  <c:v>Demoiselle</c:v>
                </c:pt>
                <c:pt idx="6">
                  <c:v>Nicolas Feuillatte</c:v>
                </c:pt>
                <c:pt idx="7">
                  <c:v>Malard</c:v>
                </c:pt>
                <c:pt idx="8">
                  <c:v>Pommery</c:v>
                </c:pt>
                <c:pt idx="9">
                  <c:v>Others</c:v>
                </c:pt>
              </c:strCache>
            </c:strRef>
          </c:cat>
          <c:val>
            <c:numRef>
              <c:f>Sheet1!$D$2:$D$11</c:f>
              <c:numCache>
                <c:formatCode>General</c:formatCode>
                <c:ptCount val="10"/>
                <c:pt idx="0">
                  <c:v>66.837264101574988</c:v>
                </c:pt>
                <c:pt idx="1">
                  <c:v>87.942447007217993</c:v>
                </c:pt>
                <c:pt idx="2">
                  <c:v>82.028534057482091</c:v>
                </c:pt>
                <c:pt idx="3">
                  <c:v>192.28728191367927</c:v>
                </c:pt>
                <c:pt idx="4">
                  <c:v>98.902606557426296</c:v>
                </c:pt>
                <c:pt idx="5">
                  <c:v>123.40811587620695</c:v>
                </c:pt>
                <c:pt idx="6">
                  <c:v>75.886638530639189</c:v>
                </c:pt>
                <c:pt idx="7">
                  <c:v>88.544669342589543</c:v>
                </c:pt>
                <c:pt idx="8">
                  <c:v>105.66332826779153</c:v>
                </c:pt>
                <c:pt idx="9">
                  <c:v>443.234181343770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Deutz</c:v>
                </c:pt>
                <c:pt idx="3">
                  <c:v>Laurent Perrier</c:v>
                </c:pt>
                <c:pt idx="4">
                  <c:v>Nicolas</c:v>
                </c:pt>
                <c:pt idx="5">
                  <c:v>Malard</c:v>
                </c:pt>
                <c:pt idx="6">
                  <c:v>Besserat De Bellefon</c:v>
                </c:pt>
                <c:pt idx="7">
                  <c:v>Pommery</c:v>
                </c:pt>
                <c:pt idx="8">
                  <c:v>Bollinger</c:v>
                </c:pt>
                <c:pt idx="9">
                  <c:v>Others</c:v>
                </c:pt>
              </c:strCache>
            </c:strRef>
          </c:cat>
          <c:val>
            <c:numRef>
              <c:f>Sheet1!$B$2:$B$11</c:f>
              <c:numCache>
                <c:formatCode>General</c:formatCode>
                <c:ptCount val="10"/>
                <c:pt idx="0">
                  <c:v>0.29567590101186192</c:v>
                </c:pt>
                <c:pt idx="1">
                  <c:v>0.14476825709629743</c:v>
                </c:pt>
                <c:pt idx="2">
                  <c:v>0.12744912267404404</c:v>
                </c:pt>
                <c:pt idx="3">
                  <c:v>0.11892219653617311</c:v>
                </c:pt>
                <c:pt idx="4">
                  <c:v>7.814454087239929E-2</c:v>
                </c:pt>
                <c:pt idx="5">
                  <c:v>7.1095615265092657E-2</c:v>
                </c:pt>
                <c:pt idx="6">
                  <c:v>4.972145374616288E-2</c:v>
                </c:pt>
                <c:pt idx="7">
                  <c:v>4.8243453215598593E-2</c:v>
                </c:pt>
                <c:pt idx="8">
                  <c:v>4.2066168946829879E-2</c:v>
                </c:pt>
                <c:pt idx="9">
                  <c:v>2.391329063554022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Deutz</c:v>
                </c:pt>
                <c:pt idx="3">
                  <c:v>Laurent Perrier</c:v>
                </c:pt>
                <c:pt idx="4">
                  <c:v>Nicolas</c:v>
                </c:pt>
                <c:pt idx="5">
                  <c:v>Malard</c:v>
                </c:pt>
                <c:pt idx="6">
                  <c:v>Besserat De Bellefon</c:v>
                </c:pt>
                <c:pt idx="7">
                  <c:v>Pommery</c:v>
                </c:pt>
                <c:pt idx="8">
                  <c:v>Bollinger</c:v>
                </c:pt>
                <c:pt idx="9">
                  <c:v>Others</c:v>
                </c:pt>
              </c:strCache>
            </c:strRef>
          </c:cat>
          <c:val>
            <c:numRef>
              <c:f>Sheet1!$C$2:$C$11</c:f>
              <c:numCache>
                <c:formatCode>General</c:formatCode>
                <c:ptCount val="10"/>
                <c:pt idx="0">
                  <c:v>0.2053494391716997</c:v>
                </c:pt>
                <c:pt idx="1">
                  <c:v>9.5772217428817946E-2</c:v>
                </c:pt>
                <c:pt idx="2">
                  <c:v>0.1156169111302847</c:v>
                </c:pt>
                <c:pt idx="3">
                  <c:v>5.4357204486626398E-2</c:v>
                </c:pt>
                <c:pt idx="4">
                  <c:v>0.21742881794650559</c:v>
                </c:pt>
                <c:pt idx="5">
                  <c:v>6.2985332182916298E-2</c:v>
                </c:pt>
                <c:pt idx="6">
                  <c:v>9.1458153580672982E-2</c:v>
                </c:pt>
                <c:pt idx="7">
                  <c:v>4.7454702329594478E-2</c:v>
                </c:pt>
                <c:pt idx="8">
                  <c:v>2.4158757549611734E-2</c:v>
                </c:pt>
                <c:pt idx="9">
                  <c:v>8.541846419327005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moiselle</c:v>
                </c:pt>
                <c:pt idx="2">
                  <c:v>Deutz</c:v>
                </c:pt>
                <c:pt idx="3">
                  <c:v>Laurent Perrier</c:v>
                </c:pt>
                <c:pt idx="4">
                  <c:v>Nicolas</c:v>
                </c:pt>
                <c:pt idx="5">
                  <c:v>Malard</c:v>
                </c:pt>
                <c:pt idx="6">
                  <c:v>Besserat De Bellefon</c:v>
                </c:pt>
                <c:pt idx="7">
                  <c:v>Pommery</c:v>
                </c:pt>
                <c:pt idx="8">
                  <c:v>Bollinger</c:v>
                </c:pt>
                <c:pt idx="9">
                  <c:v>Others</c:v>
                </c:pt>
              </c:strCache>
            </c:strRef>
          </c:cat>
          <c:val>
            <c:numRef>
              <c:f>Sheet1!$D$2:$D$11</c:f>
              <c:numCache>
                <c:formatCode>General</c:formatCode>
                <c:ptCount val="10"/>
                <c:pt idx="0">
                  <c:v>69.450854286383489</c:v>
                </c:pt>
                <c:pt idx="1">
                  <c:v>66.155536683094738</c:v>
                </c:pt>
                <c:pt idx="2">
                  <c:v>90.716129467583187</c:v>
                </c:pt>
                <c:pt idx="3">
                  <c:v>45.708207609579695</c:v>
                </c:pt>
                <c:pt idx="4">
                  <c:v>278.23929287848898</c:v>
                </c:pt>
                <c:pt idx="5">
                  <c:v>88.592428587985736</c:v>
                </c:pt>
                <c:pt idx="6">
                  <c:v>183.94102885161723</c:v>
                </c:pt>
                <c:pt idx="7">
                  <c:v>98.365061301728943</c:v>
                </c:pt>
                <c:pt idx="8">
                  <c:v>57.430372564108545</c:v>
                </c:pt>
                <c:pt idx="9">
                  <c:v>357.200794717562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Taittinger</c:v>
                </c:pt>
                <c:pt idx="6">
                  <c:v>Laurent Perrier</c:v>
                </c:pt>
                <c:pt idx="7">
                  <c:v>Ayala</c:v>
                </c:pt>
                <c:pt idx="8">
                  <c:v>De Bligny</c:v>
                </c:pt>
                <c:pt idx="9">
                  <c:v>Others</c:v>
                </c:pt>
              </c:strCache>
            </c:strRef>
          </c:cat>
          <c:val>
            <c:numRef>
              <c:f>Sheet1!$B$2:$B$11</c:f>
              <c:numCache>
                <c:formatCode>General</c:formatCode>
                <c:ptCount val="10"/>
                <c:pt idx="0">
                  <c:v>0.27697458240831979</c:v>
                </c:pt>
                <c:pt idx="1">
                  <c:v>7.1074282050977641E-2</c:v>
                </c:pt>
                <c:pt idx="2">
                  <c:v>5.4857359942065462E-2</c:v>
                </c:pt>
                <c:pt idx="3">
                  <c:v>4.7518193582087781E-2</c:v>
                </c:pt>
                <c:pt idx="4">
                  <c:v>3.6745693493049042E-2</c:v>
                </c:pt>
                <c:pt idx="5">
                  <c:v>2.8903161468783019E-2</c:v>
                </c:pt>
                <c:pt idx="6">
                  <c:v>2.825733382403571E-2</c:v>
                </c:pt>
                <c:pt idx="7">
                  <c:v>2.3845761162489761E-2</c:v>
                </c:pt>
                <c:pt idx="8">
                  <c:v>2.3461113815250553E-2</c:v>
                </c:pt>
                <c:pt idx="9">
                  <c:v>0.4083625182529411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Taittinger</c:v>
                </c:pt>
                <c:pt idx="6">
                  <c:v>Laurent Perrier</c:v>
                </c:pt>
                <c:pt idx="7">
                  <c:v>Ayala</c:v>
                </c:pt>
                <c:pt idx="8">
                  <c:v>De Bligny</c:v>
                </c:pt>
                <c:pt idx="9">
                  <c:v>Others</c:v>
                </c:pt>
              </c:strCache>
            </c:strRef>
          </c:cat>
          <c:val>
            <c:numRef>
              <c:f>Sheet1!$C$2:$C$11</c:f>
              <c:numCache>
                <c:formatCode>General</c:formatCode>
                <c:ptCount val="10"/>
                <c:pt idx="0">
                  <c:v>8.7930092845439678E-2</c:v>
                </c:pt>
                <c:pt idx="1">
                  <c:v>7.6643000182049892E-2</c:v>
                </c:pt>
                <c:pt idx="2">
                  <c:v>3.813945020935737E-2</c:v>
                </c:pt>
                <c:pt idx="3">
                  <c:v>4.1871472783542696E-2</c:v>
                </c:pt>
                <c:pt idx="4">
                  <c:v>4.5148370653559082E-2</c:v>
                </c:pt>
                <c:pt idx="5">
                  <c:v>1.5474239941744041E-2</c:v>
                </c:pt>
                <c:pt idx="6">
                  <c:v>3.5681776806845082E-2</c:v>
                </c:pt>
                <c:pt idx="7">
                  <c:v>1.9934462042599674E-2</c:v>
                </c:pt>
                <c:pt idx="8">
                  <c:v>1.3289641361733117E-2</c:v>
                </c:pt>
                <c:pt idx="9">
                  <c:v>0.625887493173129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Taittinger</c:v>
                </c:pt>
                <c:pt idx="6">
                  <c:v>Laurent Perrier</c:v>
                </c:pt>
                <c:pt idx="7">
                  <c:v>Ayala</c:v>
                </c:pt>
                <c:pt idx="8">
                  <c:v>De Bligny</c:v>
                </c:pt>
                <c:pt idx="9">
                  <c:v>Others</c:v>
                </c:pt>
              </c:strCache>
            </c:strRef>
          </c:cat>
          <c:val>
            <c:numRef>
              <c:f>Sheet1!$D$2:$D$11</c:f>
              <c:numCache>
                <c:formatCode>General</c:formatCode>
                <c:ptCount val="10"/>
                <c:pt idx="0">
                  <c:v>31.746628907562325</c:v>
                </c:pt>
                <c:pt idx="1">
                  <c:v>107.83506772123019</c:v>
                </c:pt>
                <c:pt idx="2">
                  <c:v>69.524764315373943</c:v>
                </c:pt>
                <c:pt idx="3">
                  <c:v>88.116718307503916</c:v>
                </c:pt>
                <c:pt idx="4">
                  <c:v>122.86710730360694</c:v>
                </c:pt>
                <c:pt idx="5">
                  <c:v>53.53822611570385</c:v>
                </c:pt>
                <c:pt idx="6">
                  <c:v>126.27439315061683</c:v>
                </c:pt>
                <c:pt idx="7">
                  <c:v>83.597507778268366</c:v>
                </c:pt>
                <c:pt idx="8">
                  <c:v>56.645398280683423</c:v>
                </c:pt>
                <c:pt idx="9">
                  <c:v>153.267615218655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Malard</c:v>
                </c:pt>
                <c:pt idx="6">
                  <c:v>Besserat De Bellefon</c:v>
                </c:pt>
                <c:pt idx="7">
                  <c:v>Nicolas Feuillatte</c:v>
                </c:pt>
                <c:pt idx="8">
                  <c:v>Pommery</c:v>
                </c:pt>
                <c:pt idx="9">
                  <c:v>Others</c:v>
                </c:pt>
              </c:strCache>
            </c:strRef>
          </c:cat>
          <c:val>
            <c:numRef>
              <c:f>Sheet1!$B$2:$B$11</c:f>
              <c:numCache>
                <c:formatCode>General</c:formatCode>
                <c:ptCount val="10"/>
                <c:pt idx="0">
                  <c:v>0.23195761542228752</c:v>
                </c:pt>
                <c:pt idx="1">
                  <c:v>0.16615466809135834</c:v>
                </c:pt>
                <c:pt idx="2">
                  <c:v>0.14447264146743244</c:v>
                </c:pt>
                <c:pt idx="3">
                  <c:v>0.14362673077779262</c:v>
                </c:pt>
                <c:pt idx="4">
                  <c:v>9.6122167312230083E-2</c:v>
                </c:pt>
                <c:pt idx="5">
                  <c:v>7.1902408619384711E-2</c:v>
                </c:pt>
                <c:pt idx="6">
                  <c:v>4.9775165843016785E-2</c:v>
                </c:pt>
                <c:pt idx="7">
                  <c:v>4.0737277948443971E-2</c:v>
                </c:pt>
                <c:pt idx="8">
                  <c:v>3.1699390053871151E-2</c:v>
                </c:pt>
                <c:pt idx="9">
                  <c:v>2.355193446418236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Malard</c:v>
                </c:pt>
                <c:pt idx="6">
                  <c:v>Besserat De Bellefon</c:v>
                </c:pt>
                <c:pt idx="7">
                  <c:v>Nicolas Feuillatte</c:v>
                </c:pt>
                <c:pt idx="8">
                  <c:v>Pommery</c:v>
                </c:pt>
                <c:pt idx="9">
                  <c:v>Others</c:v>
                </c:pt>
              </c:strCache>
            </c:strRef>
          </c:cat>
          <c:val>
            <c:numRef>
              <c:f>Sheet1!$C$2:$C$11</c:f>
              <c:numCache>
                <c:formatCode>General</c:formatCode>
                <c:ptCount val="10"/>
                <c:pt idx="0">
                  <c:v>0.18690702087286529</c:v>
                </c:pt>
                <c:pt idx="1">
                  <c:v>0.1223908918406072</c:v>
                </c:pt>
                <c:pt idx="2">
                  <c:v>0.10341555977229601</c:v>
                </c:pt>
                <c:pt idx="3">
                  <c:v>0.18026565464895633</c:v>
                </c:pt>
                <c:pt idx="4">
                  <c:v>9.9620493358633766E-2</c:v>
                </c:pt>
                <c:pt idx="5">
                  <c:v>4.1745730550284625E-2</c:v>
                </c:pt>
                <c:pt idx="6">
                  <c:v>0.11954459203036052</c:v>
                </c:pt>
                <c:pt idx="7">
                  <c:v>2.9411764705882349E-2</c:v>
                </c:pt>
                <c:pt idx="8">
                  <c:v>2.4667931688804552E-2</c:v>
                </c:pt>
                <c:pt idx="9">
                  <c:v>9.203036053130929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Laurent Perrier</c:v>
                </c:pt>
                <c:pt idx="3">
                  <c:v>Nicolas</c:v>
                </c:pt>
                <c:pt idx="4">
                  <c:v>Demoiselle</c:v>
                </c:pt>
                <c:pt idx="5">
                  <c:v>Malard</c:v>
                </c:pt>
                <c:pt idx="6">
                  <c:v>Besserat De Bellefon</c:v>
                </c:pt>
                <c:pt idx="7">
                  <c:v>Nicolas Feuillatte</c:v>
                </c:pt>
                <c:pt idx="8">
                  <c:v>Pommery</c:v>
                </c:pt>
                <c:pt idx="9">
                  <c:v>Others</c:v>
                </c:pt>
              </c:strCache>
            </c:strRef>
          </c:cat>
          <c:val>
            <c:numRef>
              <c:f>Sheet1!$D$2:$D$11</c:f>
              <c:numCache>
                <c:formatCode>General</c:formatCode>
                <c:ptCount val="10"/>
                <c:pt idx="0">
                  <c:v>80.578092050392087</c:v>
                </c:pt>
                <c:pt idx="1">
                  <c:v>73.66082051532365</c:v>
                </c:pt>
                <c:pt idx="2">
                  <c:v>71.581414115424977</c:v>
                </c:pt>
                <c:pt idx="3">
                  <c:v>125.50982235183534</c:v>
                </c:pt>
                <c:pt idx="4">
                  <c:v>103.63945814396817</c:v>
                </c:pt>
                <c:pt idx="5">
                  <c:v>58.05887640185405</c:v>
                </c:pt>
                <c:pt idx="6">
                  <c:v>240.1691486219971</c:v>
                </c:pt>
                <c:pt idx="7">
                  <c:v>72.198649951783977</c:v>
                </c:pt>
                <c:pt idx="8">
                  <c:v>77.818316525595378</c:v>
                </c:pt>
                <c:pt idx="9">
                  <c:v>390.754995821122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63297278082470043</c:v>
                </c:pt>
                <c:pt idx="1">
                  <c:v>0.3670272191752996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87499999999999989</c:v>
                </c:pt>
                <c:pt idx="1">
                  <c:v>0.1249999999999999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138.23659192105578</c:v>
                </c:pt>
                <c:pt idx="1">
                  <c:v>34.0574195780006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Roederer</c:v>
                </c:pt>
                <c:pt idx="7">
                  <c:v>Ayala</c:v>
                </c:pt>
                <c:pt idx="8">
                  <c:v>De Bligny</c:v>
                </c:pt>
                <c:pt idx="9">
                  <c:v>Others</c:v>
                </c:pt>
              </c:strCache>
            </c:strRef>
          </c:cat>
          <c:val>
            <c:numRef>
              <c:f>Sheet1!$B$2:$B$11</c:f>
              <c:numCache>
                <c:formatCode>General</c:formatCode>
                <c:ptCount val="10"/>
                <c:pt idx="0">
                  <c:v>0.24458233837585136</c:v>
                </c:pt>
                <c:pt idx="1">
                  <c:v>0.10631934512371076</c:v>
                </c:pt>
                <c:pt idx="2">
                  <c:v>8.784542613582666E-2</c:v>
                </c:pt>
                <c:pt idx="3">
                  <c:v>4.4575801583951309E-2</c:v>
                </c:pt>
                <c:pt idx="4">
                  <c:v>4.3022722833722916E-2</c:v>
                </c:pt>
                <c:pt idx="5">
                  <c:v>3.871828474580543E-2</c:v>
                </c:pt>
                <c:pt idx="6">
                  <c:v>3.7815341141780652E-2</c:v>
                </c:pt>
                <c:pt idx="7">
                  <c:v>3.3043089272100659E-2</c:v>
                </c:pt>
                <c:pt idx="8">
                  <c:v>3.2796187553948225E-2</c:v>
                </c:pt>
                <c:pt idx="9">
                  <c:v>0.3312814632333020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Roederer</c:v>
                </c:pt>
                <c:pt idx="7">
                  <c:v>Ayala</c:v>
                </c:pt>
                <c:pt idx="8">
                  <c:v>De Bligny</c:v>
                </c:pt>
                <c:pt idx="9">
                  <c:v>Others</c:v>
                </c:pt>
              </c:strCache>
            </c:strRef>
          </c:cat>
          <c:val>
            <c:numRef>
              <c:f>Sheet1!$C$2:$C$11</c:f>
              <c:numCache>
                <c:formatCode>General</c:formatCode>
                <c:ptCount val="10"/>
                <c:pt idx="0">
                  <c:v>0.10476724621424559</c:v>
                </c:pt>
                <c:pt idx="1">
                  <c:v>8.6146943353897887E-2</c:v>
                </c:pt>
                <c:pt idx="2">
                  <c:v>5.2495793606281538E-2</c:v>
                </c:pt>
                <c:pt idx="3">
                  <c:v>4.8794167134043727E-2</c:v>
                </c:pt>
                <c:pt idx="4">
                  <c:v>3.9708356702187302E-2</c:v>
                </c:pt>
                <c:pt idx="5">
                  <c:v>1.0656197420078515E-2</c:v>
                </c:pt>
                <c:pt idx="6">
                  <c:v>7.4256870443073442E-2</c:v>
                </c:pt>
                <c:pt idx="7">
                  <c:v>1.8732473359506441E-2</c:v>
                </c:pt>
                <c:pt idx="8">
                  <c:v>1.8059450364554114E-2</c:v>
                </c:pt>
                <c:pt idx="9">
                  <c:v>0.546382501402131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Roederer</c:v>
                </c:pt>
                <c:pt idx="7">
                  <c:v>Ayala</c:v>
                </c:pt>
                <c:pt idx="8">
                  <c:v>De Bligny</c:v>
                </c:pt>
                <c:pt idx="9">
                  <c:v>Others</c:v>
                </c:pt>
              </c:strCache>
            </c:strRef>
          </c:cat>
          <c:val>
            <c:numRef>
              <c:f>Sheet1!$D$2:$D$11</c:f>
              <c:numCache>
                <c:formatCode>General</c:formatCode>
                <c:ptCount val="10"/>
                <c:pt idx="0">
                  <c:v>42.835164186405414</c:v>
                </c:pt>
                <c:pt idx="1">
                  <c:v>81.026593282397741</c:v>
                </c:pt>
                <c:pt idx="2">
                  <c:v>59.75927935634634</c:v>
                </c:pt>
                <c:pt idx="3">
                  <c:v>109.46335321003215</c:v>
                </c:pt>
                <c:pt idx="4">
                  <c:v>92.296242745153066</c:v>
                </c:pt>
                <c:pt idx="5">
                  <c:v>27.522390235101934</c:v>
                </c:pt>
                <c:pt idx="6">
                  <c:v>196.36705157481708</c:v>
                </c:pt>
                <c:pt idx="7">
                  <c:v>56.691047272395537</c:v>
                </c:pt>
                <c:pt idx="8">
                  <c:v>55.065700349612726</c:v>
                </c:pt>
                <c:pt idx="9">
                  <c:v>164.929995197873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atriarch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B$2:$B$3</c:f>
              <c:numCache>
                <c:formatCode>General</c:formatCode>
                <c:ptCount val="2"/>
                <c:pt idx="0">
                  <c:v>0.22925453094722445</c:v>
                </c:pt>
                <c:pt idx="1">
                  <c:v>0.7707454690527755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C$2:$C$3</c:f>
              <c:numCache>
                <c:formatCode>General</c:formatCode>
                <c:ptCount val="2"/>
                <c:pt idx="0">
                  <c:v>0.25310559006211175</c:v>
                </c:pt>
                <c:pt idx="1">
                  <c:v>0.746894409937888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triarche</c:v>
                </c:pt>
                <c:pt idx="1">
                  <c:v>Others</c:v>
                </c:pt>
              </c:strCache>
            </c:strRef>
          </c:cat>
          <c:val>
            <c:numRef>
              <c:f>Sheet1!$D$2:$D$3</c:f>
              <c:numCache>
                <c:formatCode>General</c:formatCode>
                <c:ptCount val="2"/>
                <c:pt idx="0">
                  <c:v>110.4037460094422</c:v>
                </c:pt>
                <c:pt idx="1">
                  <c:v>96.90545581225413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7818526309028727</c:v>
                </c:pt>
                <c:pt idx="1">
                  <c:v>0.14174922526052119</c:v>
                </c:pt>
                <c:pt idx="2">
                  <c:v>6.1320830456494162E-2</c:v>
                </c:pt>
                <c:pt idx="3">
                  <c:v>0.4187446811926973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40493827160493834</c:v>
                </c:pt>
                <c:pt idx="1">
                  <c:v>0.14567901234567901</c:v>
                </c:pt>
                <c:pt idx="2">
                  <c:v>0.21728395061728395</c:v>
                </c:pt>
                <c:pt idx="3">
                  <c:v>0.232098765432098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07.07404838994587</c:v>
                </c:pt>
                <c:pt idx="1">
                  <c:v>102.77235172039583</c:v>
                </c:pt>
                <c:pt idx="2">
                  <c:v>354.33954334888267</c:v>
                </c:pt>
                <c:pt idx="3">
                  <c:v>55.4272748661592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5741303864125196</c:v>
                </c:pt>
                <c:pt idx="1">
                  <c:v>0.11816732181265296</c:v>
                </c:pt>
                <c:pt idx="2">
                  <c:v>7.0218052362233926E-2</c:v>
                </c:pt>
                <c:pt idx="3">
                  <c:v>0.4542015871838611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6902050113895218</c:v>
                </c:pt>
                <c:pt idx="1">
                  <c:v>0.15945330296127563</c:v>
                </c:pt>
                <c:pt idx="2">
                  <c:v>0.26423690205011396</c:v>
                </c:pt>
                <c:pt idx="3">
                  <c:v>0.207289293849658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03.24763263864894</c:v>
                </c:pt>
                <c:pt idx="1">
                  <c:v>134.93857736242771</c:v>
                </c:pt>
                <c:pt idx="2">
                  <c:v>376.30907318106011</c:v>
                </c:pt>
                <c:pt idx="3">
                  <c:v>45.6381702967822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45824807561141967</c:v>
                </c:pt>
                <c:pt idx="1">
                  <c:v>0.12851992594757869</c:v>
                </c:pt>
                <c:pt idx="2">
                  <c:v>4.0274123875410052E-2</c:v>
                </c:pt>
                <c:pt idx="3">
                  <c:v>0.372957874565591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2075471698113206</c:v>
                </c:pt>
                <c:pt idx="1">
                  <c:v>0.21462264150943397</c:v>
                </c:pt>
                <c:pt idx="2">
                  <c:v>0.22877358490566035</c:v>
                </c:pt>
                <c:pt idx="3">
                  <c:v>0.2358490566037735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69.995867752016977</c:v>
                </c:pt>
                <c:pt idx="1">
                  <c:v>166.99561560358762</c:v>
                </c:pt>
                <c:pt idx="2">
                  <c:v>568.04112142422389</c:v>
                </c:pt>
                <c:pt idx="3">
                  <c:v>63.23745191825815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Vilaveroni</c:v>
                </c:pt>
                <c:pt idx="2">
                  <c:v>Savian</c:v>
                </c:pt>
                <c:pt idx="3">
                  <c:v>Contarini</c:v>
                </c:pt>
                <c:pt idx="4">
                  <c:v>Others</c:v>
                </c:pt>
              </c:strCache>
            </c:strRef>
          </c:cat>
          <c:val>
            <c:numRef>
              <c:f>Sheet1!$B$2:$B$6</c:f>
              <c:numCache>
                <c:formatCode>General</c:formatCode>
                <c:ptCount val="5"/>
                <c:pt idx="0">
                  <c:v>0.28828939301042306</c:v>
                </c:pt>
                <c:pt idx="1">
                  <c:v>0.12733292458614348</c:v>
                </c:pt>
                <c:pt idx="2">
                  <c:v>0.12522378908645004</c:v>
                </c:pt>
                <c:pt idx="3">
                  <c:v>4.7749846719803798E-2</c:v>
                </c:pt>
                <c:pt idx="4">
                  <c:v>0.411404046597179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Vilaveroni</c:v>
                </c:pt>
                <c:pt idx="2">
                  <c:v>Savian</c:v>
                </c:pt>
                <c:pt idx="3">
                  <c:v>Contarini</c:v>
                </c:pt>
                <c:pt idx="4">
                  <c:v>Others</c:v>
                </c:pt>
              </c:strCache>
            </c:strRef>
          </c:cat>
          <c:val>
            <c:numRef>
              <c:f>Sheet1!$C$2:$C$6</c:f>
              <c:numCache>
                <c:formatCode>General</c:formatCode>
                <c:ptCount val="5"/>
                <c:pt idx="0">
                  <c:v>0.27212020033388973</c:v>
                </c:pt>
                <c:pt idx="1">
                  <c:v>0.23539232053422363</c:v>
                </c:pt>
                <c:pt idx="2">
                  <c:v>0.13355592654424039</c:v>
                </c:pt>
                <c:pt idx="3">
                  <c:v>0.19198664440734553</c:v>
                </c:pt>
                <c:pt idx="4">
                  <c:v>0.1669449081803004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ttega</c:v>
                </c:pt>
                <c:pt idx="1">
                  <c:v>Vilaveroni</c:v>
                </c:pt>
                <c:pt idx="2">
                  <c:v>Savian</c:v>
                </c:pt>
                <c:pt idx="3">
                  <c:v>Contarini</c:v>
                </c:pt>
                <c:pt idx="4">
                  <c:v>Others</c:v>
                </c:pt>
              </c:strCache>
            </c:strRef>
          </c:cat>
          <c:val>
            <c:numRef>
              <c:f>Sheet1!$D$2:$D$6</c:f>
              <c:numCache>
                <c:formatCode>General</c:formatCode>
                <c:ptCount val="5"/>
                <c:pt idx="0">
                  <c:v>94.39133278276779</c:v>
                </c:pt>
                <c:pt idx="1">
                  <c:v>184.86367237640536</c:v>
                </c:pt>
                <c:pt idx="2">
                  <c:v>106.65379758796321</c:v>
                </c:pt>
                <c:pt idx="3">
                  <c:v>402.06756166972337</c:v>
                </c:pt>
                <c:pt idx="4">
                  <c:v>40.5793062953904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20821293620804623</c:v>
                </c:pt>
                <c:pt idx="1">
                  <c:v>0.15495110024449879</c:v>
                </c:pt>
                <c:pt idx="2">
                  <c:v>7.1821515892420543E-2</c:v>
                </c:pt>
                <c:pt idx="3">
                  <c:v>0.56501444765503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0238095238095242</c:v>
                </c:pt>
                <c:pt idx="1">
                  <c:v>0.18333333333333338</c:v>
                </c:pt>
                <c:pt idx="2">
                  <c:v>0.27619047619047626</c:v>
                </c:pt>
                <c:pt idx="3">
                  <c:v>0.238095238095238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45.22678460228502</c:v>
                </c:pt>
                <c:pt idx="1">
                  <c:v>118.31689677843526</c:v>
                </c:pt>
                <c:pt idx="2">
                  <c:v>384.55116514690991</c:v>
                </c:pt>
                <c:pt idx="3">
                  <c:v>42.13967254879922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6233658344628566</c:v>
                </c:pt>
                <c:pt idx="1">
                  <c:v>0.22250885400725809</c:v>
                </c:pt>
                <c:pt idx="2">
                  <c:v>5.3692448952822353E-2</c:v>
                </c:pt>
                <c:pt idx="3">
                  <c:v>0.3614621135936338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7905236907730677</c:v>
                </c:pt>
                <c:pt idx="1">
                  <c:v>0.18453865336658354</c:v>
                </c:pt>
                <c:pt idx="2">
                  <c:v>0.229426433915212</c:v>
                </c:pt>
                <c:pt idx="3">
                  <c:v>0.2069825436408977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04.61333091790858</c:v>
                </c:pt>
                <c:pt idx="1">
                  <c:v>82.935420340875069</c:v>
                </c:pt>
                <c:pt idx="2">
                  <c:v>427.29739169990336</c:v>
                </c:pt>
                <c:pt idx="3">
                  <c:v>57.2625832298412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9593616024786538</c:v>
                </c:pt>
                <c:pt idx="1">
                  <c:v>8.9346831429909568E-2</c:v>
                </c:pt>
                <c:pt idx="2">
                  <c:v>4.5790251107828653E-2</c:v>
                </c:pt>
                <c:pt idx="3">
                  <c:v>0.468926757214396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41432225063938621</c:v>
                </c:pt>
                <c:pt idx="1">
                  <c:v>0.14578005115089515</c:v>
                </c:pt>
                <c:pt idx="2">
                  <c:v>0.19437340153452687</c:v>
                </c:pt>
                <c:pt idx="3">
                  <c:v>0.2455242966751918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04.64370073701042</c:v>
                </c:pt>
                <c:pt idx="1">
                  <c:v>163.16197095949181</c:v>
                </c:pt>
                <c:pt idx="2">
                  <c:v>424.486428512499</c:v>
                </c:pt>
                <c:pt idx="3">
                  <c:v>52.35877307016978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4269541546039839</c:v>
                </c:pt>
                <c:pt idx="1">
                  <c:v>0.12682020481355052</c:v>
                </c:pt>
                <c:pt idx="2">
                  <c:v>6.60674934105345E-2</c:v>
                </c:pt>
                <c:pt idx="3">
                  <c:v>0.4644168863155165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9189189189189183</c:v>
                </c:pt>
                <c:pt idx="1">
                  <c:v>0.15444015444015441</c:v>
                </c:pt>
                <c:pt idx="2">
                  <c:v>0.26061776061776054</c:v>
                </c:pt>
                <c:pt idx="3">
                  <c:v>0.19305019305019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14.35574396739443</c:v>
                </c:pt>
                <c:pt idx="1">
                  <c:v>121.77882433419059</c:v>
                </c:pt>
                <c:pt idx="2">
                  <c:v>394.47199698998247</c:v>
                </c:pt>
                <c:pt idx="3">
                  <c:v>41.5682975228937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Canard Duchêne</c:v>
                </c:pt>
                <c:pt idx="7">
                  <c:v>Besserat De Bellefon</c:v>
                </c:pt>
                <c:pt idx="8">
                  <c:v>Roederer</c:v>
                </c:pt>
                <c:pt idx="9">
                  <c:v>Others</c:v>
                </c:pt>
              </c:strCache>
            </c:strRef>
          </c:cat>
          <c:val>
            <c:numRef>
              <c:f>Sheet1!$B$2:$B$11</c:f>
              <c:numCache>
                <c:formatCode>General</c:formatCode>
                <c:ptCount val="10"/>
                <c:pt idx="0">
                  <c:v>0.29580889188858339</c:v>
                </c:pt>
                <c:pt idx="1">
                  <c:v>0.10645303768697086</c:v>
                </c:pt>
                <c:pt idx="2">
                  <c:v>8.6523541536395007E-2</c:v>
                </c:pt>
                <c:pt idx="3">
                  <c:v>4.2351936953479372E-2</c:v>
                </c:pt>
                <c:pt idx="4">
                  <c:v>4.1845738503836188E-2</c:v>
                </c:pt>
                <c:pt idx="5">
                  <c:v>3.9110033647308709E-2</c:v>
                </c:pt>
                <c:pt idx="6">
                  <c:v>2.9949247815571723E-2</c:v>
                </c:pt>
                <c:pt idx="7">
                  <c:v>2.9512114023682146E-2</c:v>
                </c:pt>
                <c:pt idx="8">
                  <c:v>2.9415754351486998E-2</c:v>
                </c:pt>
                <c:pt idx="9">
                  <c:v>0.2990297035926855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Canard Duchêne</c:v>
                </c:pt>
                <c:pt idx="7">
                  <c:v>Besserat De Bellefon</c:v>
                </c:pt>
                <c:pt idx="8">
                  <c:v>Roederer</c:v>
                </c:pt>
                <c:pt idx="9">
                  <c:v>Others</c:v>
                </c:pt>
              </c:strCache>
            </c:strRef>
          </c:cat>
          <c:val>
            <c:numRef>
              <c:f>Sheet1!$C$2:$C$11</c:f>
              <c:numCache>
                <c:formatCode>General</c:formatCode>
                <c:ptCount val="10"/>
                <c:pt idx="0">
                  <c:v>0.13250034326513802</c:v>
                </c:pt>
                <c:pt idx="1">
                  <c:v>9.6114238637923968E-2</c:v>
                </c:pt>
                <c:pt idx="2">
                  <c:v>5.9178909789921769E-2</c:v>
                </c:pt>
                <c:pt idx="3">
                  <c:v>4.9842098036523438E-2</c:v>
                </c:pt>
                <c:pt idx="4">
                  <c:v>4.3251407387065788E-2</c:v>
                </c:pt>
                <c:pt idx="5">
                  <c:v>1.2220238912536048E-2</c:v>
                </c:pt>
                <c:pt idx="6">
                  <c:v>4.4075243718247996E-2</c:v>
                </c:pt>
                <c:pt idx="7">
                  <c:v>4.036798022792807E-2</c:v>
                </c:pt>
                <c:pt idx="8">
                  <c:v>6.3984621721817958E-2</c:v>
                </c:pt>
                <c:pt idx="9">
                  <c:v>0.4584649183028973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Canard Duchêne</c:v>
                </c:pt>
                <c:pt idx="7">
                  <c:v>Besserat De Bellefon</c:v>
                </c:pt>
                <c:pt idx="8">
                  <c:v>Roederer</c:v>
                </c:pt>
                <c:pt idx="9">
                  <c:v>Others</c:v>
                </c:pt>
              </c:strCache>
            </c:strRef>
          </c:cat>
          <c:val>
            <c:numRef>
              <c:f>Sheet1!$D$2:$D$11</c:f>
              <c:numCache>
                <c:formatCode>General</c:formatCode>
                <c:ptCount val="10"/>
                <c:pt idx="0">
                  <c:v>44.792549141844034</c:v>
                </c:pt>
                <c:pt idx="1">
                  <c:v>90.287924822353588</c:v>
                </c:pt>
                <c:pt idx="2">
                  <c:v>68.396310112929129</c:v>
                </c:pt>
                <c:pt idx="3">
                  <c:v>117.68552189542471</c:v>
                </c:pt>
                <c:pt idx="4">
                  <c:v>103.35916854018656</c:v>
                </c:pt>
                <c:pt idx="5">
                  <c:v>31.245789821448959</c:v>
                </c:pt>
                <c:pt idx="6">
                  <c:v>147.16644634838423</c:v>
                </c:pt>
                <c:pt idx="7">
                  <c:v>136.78444111301067</c:v>
                </c:pt>
                <c:pt idx="8">
                  <c:v>217.51820795506291</c:v>
                </c:pt>
                <c:pt idx="9">
                  <c:v>153.317517555841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B$2:$B$5</c:f>
              <c:numCache>
                <c:formatCode>General</c:formatCode>
                <c:ptCount val="4"/>
                <c:pt idx="0">
                  <c:v>0.30629109113939323</c:v>
                </c:pt>
                <c:pt idx="1">
                  <c:v>0.14379636890041619</c:v>
                </c:pt>
                <c:pt idx="2">
                  <c:v>5.784426081187044E-2</c:v>
                </c:pt>
                <c:pt idx="3">
                  <c:v>0.492068279148320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C$2:$C$5</c:f>
              <c:numCache>
                <c:formatCode>General</c:formatCode>
                <c:ptCount val="4"/>
                <c:pt idx="0">
                  <c:v>0.36363636363636365</c:v>
                </c:pt>
                <c:pt idx="1">
                  <c:v>0.14742014742014742</c:v>
                </c:pt>
                <c:pt idx="2">
                  <c:v>0.2579852579852579</c:v>
                </c:pt>
                <c:pt idx="3">
                  <c:v>0.2309582309582309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Savian</c:v>
                </c:pt>
                <c:pt idx="2">
                  <c:v>Contarini</c:v>
                </c:pt>
                <c:pt idx="3">
                  <c:v>Others</c:v>
                </c:pt>
              </c:strCache>
            </c:strRef>
          </c:cat>
          <c:val>
            <c:numRef>
              <c:f>Sheet1!$D$2:$D$5</c:f>
              <c:numCache>
                <c:formatCode>General</c:formatCode>
                <c:ptCount val="4"/>
                <c:pt idx="0">
                  <c:v>118.72247484693328</c:v>
                </c:pt>
                <c:pt idx="1">
                  <c:v>102.5200765133651</c:v>
                </c:pt>
                <c:pt idx="2">
                  <c:v>445.99974891945681</c:v>
                </c:pt>
                <c:pt idx="3">
                  <c:v>46.936216119839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Contarini</c:v>
                </c:pt>
                <c:pt idx="2">
                  <c:v>Bottega</c:v>
                </c:pt>
                <c:pt idx="3">
                  <c:v>Others</c:v>
                </c:pt>
              </c:strCache>
            </c:strRef>
          </c:cat>
          <c:val>
            <c:numRef>
              <c:f>Sheet1!$B$2:$B$5</c:f>
              <c:numCache>
                <c:formatCode>General</c:formatCode>
                <c:ptCount val="4"/>
                <c:pt idx="0">
                  <c:v>0.36982214572576017</c:v>
                </c:pt>
                <c:pt idx="1">
                  <c:v>8.3534136546184745E-2</c:v>
                </c:pt>
                <c:pt idx="2">
                  <c:v>6.6551921973608721E-2</c:v>
                </c:pt>
                <c:pt idx="3">
                  <c:v>0.4800917957544463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Contarini</c:v>
                </c:pt>
                <c:pt idx="2">
                  <c:v>Bottega</c:v>
                </c:pt>
                <c:pt idx="3">
                  <c:v>Others</c:v>
                </c:pt>
              </c:strCache>
            </c:strRef>
          </c:cat>
          <c:val>
            <c:numRef>
              <c:f>Sheet1!$C$2:$C$5</c:f>
              <c:numCache>
                <c:formatCode>General</c:formatCode>
                <c:ptCount val="4"/>
                <c:pt idx="0">
                  <c:v>0.24804177545691905</c:v>
                </c:pt>
                <c:pt idx="1">
                  <c:v>0.25065274151436029</c:v>
                </c:pt>
                <c:pt idx="2">
                  <c:v>0.25065274151436029</c:v>
                </c:pt>
                <c:pt idx="3">
                  <c:v>0.250652741514360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avian</c:v>
                </c:pt>
                <c:pt idx="1">
                  <c:v>Contarini</c:v>
                </c:pt>
                <c:pt idx="2">
                  <c:v>Bottega</c:v>
                </c:pt>
                <c:pt idx="3">
                  <c:v>Others</c:v>
                </c:pt>
              </c:strCache>
            </c:strRef>
          </c:cat>
          <c:val>
            <c:numRef>
              <c:f>Sheet1!$D$2:$D$5</c:f>
              <c:numCache>
                <c:formatCode>General</c:formatCode>
                <c:ptCount val="4"/>
                <c:pt idx="0">
                  <c:v>67.070557651475326</c:v>
                </c:pt>
                <c:pt idx="1">
                  <c:v>300.06025306286398</c:v>
                </c:pt>
                <c:pt idx="2">
                  <c:v>376.62735212028446</c:v>
                </c:pt>
                <c:pt idx="3">
                  <c:v>52.2093365749916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Contarini</c:v>
                </c:pt>
                <c:pt idx="2">
                  <c:v>Savian</c:v>
                </c:pt>
                <c:pt idx="3">
                  <c:v>Others</c:v>
                </c:pt>
              </c:strCache>
            </c:strRef>
          </c:cat>
          <c:val>
            <c:numRef>
              <c:f>Sheet1!$B$2:$B$5</c:f>
              <c:numCache>
                <c:formatCode>General</c:formatCode>
                <c:ptCount val="4"/>
                <c:pt idx="0">
                  <c:v>0.35103852861899476</c:v>
                </c:pt>
                <c:pt idx="1">
                  <c:v>0.12113524655145078</c:v>
                </c:pt>
                <c:pt idx="2">
                  <c:v>8.6253369272237201E-2</c:v>
                </c:pt>
                <c:pt idx="3">
                  <c:v>0.4415728555573172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Contarini</c:v>
                </c:pt>
                <c:pt idx="2">
                  <c:v>Savian</c:v>
                </c:pt>
                <c:pt idx="3">
                  <c:v>Others</c:v>
                </c:pt>
              </c:strCache>
            </c:strRef>
          </c:cat>
          <c:val>
            <c:numRef>
              <c:f>Sheet1!$C$2:$C$5</c:f>
              <c:numCache>
                <c:formatCode>General</c:formatCode>
                <c:ptCount val="4"/>
                <c:pt idx="0">
                  <c:v>0.38337182448036955</c:v>
                </c:pt>
                <c:pt idx="1">
                  <c:v>0.21016166281755194</c:v>
                </c:pt>
                <c:pt idx="2">
                  <c:v>0.17551963048498845</c:v>
                </c:pt>
                <c:pt idx="3">
                  <c:v>0.2309468822170900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ttega</c:v>
                </c:pt>
                <c:pt idx="1">
                  <c:v>Contarini</c:v>
                </c:pt>
                <c:pt idx="2">
                  <c:v>Savian</c:v>
                </c:pt>
                <c:pt idx="3">
                  <c:v>Others</c:v>
                </c:pt>
              </c:strCache>
            </c:strRef>
          </c:cat>
          <c:val>
            <c:numRef>
              <c:f>Sheet1!$D$2:$D$5</c:f>
              <c:numCache>
                <c:formatCode>General</c:formatCode>
                <c:ptCount val="4"/>
                <c:pt idx="0">
                  <c:v>109.21075415527059</c:v>
                </c:pt>
                <c:pt idx="1">
                  <c:v>173.49340410867802</c:v>
                </c:pt>
                <c:pt idx="2">
                  <c:v>203.49307159353347</c:v>
                </c:pt>
                <c:pt idx="3">
                  <c:v>52.30096898180204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27150629379052821</c:v>
                </c:pt>
                <c:pt idx="1">
                  <c:v>0.14016984200277047</c:v>
                </c:pt>
                <c:pt idx="2">
                  <c:v>6.5266708156832831E-2</c:v>
                </c:pt>
                <c:pt idx="3">
                  <c:v>0.5230571560498684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29124236252545826</c:v>
                </c:pt>
                <c:pt idx="1">
                  <c:v>0.16904276985743383</c:v>
                </c:pt>
                <c:pt idx="2">
                  <c:v>0.1059063136456212</c:v>
                </c:pt>
                <c:pt idx="3">
                  <c:v>0.433808553971486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107.26910174323869</c:v>
                </c:pt>
                <c:pt idx="1">
                  <c:v>120.59853064120077</c:v>
                </c:pt>
                <c:pt idx="2">
                  <c:v>162.26697597668525</c:v>
                </c:pt>
                <c:pt idx="3">
                  <c:v>82.93712244520509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32495488190829913</c:v>
                </c:pt>
                <c:pt idx="1">
                  <c:v>0.14076844610676639</c:v>
                </c:pt>
                <c:pt idx="2">
                  <c:v>6.826563439960244E-2</c:v>
                </c:pt>
                <c:pt idx="3">
                  <c:v>0.466011037585332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34366197183098607</c:v>
                </c:pt>
                <c:pt idx="1">
                  <c:v>0.16619718309859158</c:v>
                </c:pt>
                <c:pt idx="2">
                  <c:v>0.10422535211267608</c:v>
                </c:pt>
                <c:pt idx="3">
                  <c:v>0.3859154929577466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105.75682685941798</c:v>
                </c:pt>
                <c:pt idx="1">
                  <c:v>118.06423079540045</c:v>
                </c:pt>
                <c:pt idx="2">
                  <c:v>152.67616426528522</c:v>
                </c:pt>
                <c:pt idx="3">
                  <c:v>82.81252198604440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3996374184191443</c:v>
                </c:pt>
                <c:pt idx="1">
                  <c:v>0.1307831762146483</c:v>
                </c:pt>
                <c:pt idx="2">
                  <c:v>9.6954314720812187E-2</c:v>
                </c:pt>
                <c:pt idx="3">
                  <c:v>0.372625090645395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25089605734767029</c:v>
                </c:pt>
                <c:pt idx="1">
                  <c:v>0.15591397849462368</c:v>
                </c:pt>
                <c:pt idx="2">
                  <c:v>9.3189964157706112E-2</c:v>
                </c:pt>
                <c:pt idx="3">
                  <c:v>0.500000000000000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62.780922352102586</c:v>
                </c:pt>
                <c:pt idx="1">
                  <c:v>119.21562314615251</c:v>
                </c:pt>
                <c:pt idx="2">
                  <c:v>96.117397586743991</c:v>
                </c:pt>
                <c:pt idx="3">
                  <c:v>134.183127371801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teau Moncontour</c:v>
                </c:pt>
                <c:pt idx="1">
                  <c:v>Bouvet-Ladubay</c:v>
                </c:pt>
                <c:pt idx="2">
                  <c:v>De Chanceny</c:v>
                </c:pt>
                <c:pt idx="3">
                  <c:v>Others</c:v>
                </c:pt>
              </c:strCache>
            </c:strRef>
          </c:cat>
          <c:val>
            <c:numRef>
              <c:f>Sheet1!$B$2:$B$5</c:f>
              <c:numCache>
                <c:formatCode>General</c:formatCode>
                <c:ptCount val="4"/>
                <c:pt idx="0">
                  <c:v>0.33306561721950045</c:v>
                </c:pt>
                <c:pt idx="1">
                  <c:v>0.27877278933419003</c:v>
                </c:pt>
                <c:pt idx="2">
                  <c:v>0.2329130190346157</c:v>
                </c:pt>
                <c:pt idx="3">
                  <c:v>0.1552485744116938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teau Moncontour</c:v>
                </c:pt>
                <c:pt idx="1">
                  <c:v>Bouvet-Ladubay</c:v>
                </c:pt>
                <c:pt idx="2">
                  <c:v>De Chanceny</c:v>
                </c:pt>
                <c:pt idx="3">
                  <c:v>Others</c:v>
                </c:pt>
              </c:strCache>
            </c:strRef>
          </c:cat>
          <c:val>
            <c:numRef>
              <c:f>Sheet1!$C$2:$C$5</c:f>
              <c:numCache>
                <c:formatCode>General</c:formatCode>
                <c:ptCount val="4"/>
                <c:pt idx="0">
                  <c:v>0.17218543046357618</c:v>
                </c:pt>
                <c:pt idx="1">
                  <c:v>0.33995584988962479</c:v>
                </c:pt>
                <c:pt idx="2">
                  <c:v>0.16556291390728478</c:v>
                </c:pt>
                <c:pt idx="3">
                  <c:v>0.3222958057395144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teau Moncontour</c:v>
                </c:pt>
                <c:pt idx="1">
                  <c:v>Bouvet-Ladubay</c:v>
                </c:pt>
                <c:pt idx="2">
                  <c:v>De Chanceny</c:v>
                </c:pt>
                <c:pt idx="3">
                  <c:v>Others</c:v>
                </c:pt>
              </c:strCache>
            </c:strRef>
          </c:cat>
          <c:val>
            <c:numRef>
              <c:f>Sheet1!$D$2:$D$5</c:f>
              <c:numCache>
                <c:formatCode>General</c:formatCode>
                <c:ptCount val="4"/>
                <c:pt idx="0">
                  <c:v>51.697149619049597</c:v>
                </c:pt>
                <c:pt idx="1">
                  <c:v>121.94728570947042</c:v>
                </c:pt>
                <c:pt idx="2">
                  <c:v>71.08358072619319</c:v>
                </c:pt>
                <c:pt idx="3">
                  <c:v>207.599848797863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36474694589877837</c:v>
                </c:pt>
                <c:pt idx="1">
                  <c:v>0.32026791189094855</c:v>
                </c:pt>
                <c:pt idx="2">
                  <c:v>0.16423753596528465</c:v>
                </c:pt>
                <c:pt idx="3">
                  <c:v>0.150747606244988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36338797814207657</c:v>
                </c:pt>
                <c:pt idx="1">
                  <c:v>0.22131147540983609</c:v>
                </c:pt>
                <c:pt idx="2">
                  <c:v>0.11202185792349727</c:v>
                </c:pt>
                <c:pt idx="3">
                  <c:v>0.303278688524590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99.627421758569312</c:v>
                </c:pt>
                <c:pt idx="1">
                  <c:v>69.101982182090353</c:v>
                </c:pt>
                <c:pt idx="2">
                  <c:v>68.207220270995577</c:v>
                </c:pt>
                <c:pt idx="3">
                  <c:v>201.1830874658897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4972043665132555</c:v>
                </c:pt>
                <c:pt idx="1">
                  <c:v>0.25434559354912328</c:v>
                </c:pt>
                <c:pt idx="2">
                  <c:v>0.13765166787113461</c:v>
                </c:pt>
                <c:pt idx="3">
                  <c:v>0.1107983720664866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36616161616161613</c:v>
                </c:pt>
                <c:pt idx="1">
                  <c:v>0.17676767676767677</c:v>
                </c:pt>
                <c:pt idx="2">
                  <c:v>0.14898989898989898</c:v>
                </c:pt>
                <c:pt idx="3">
                  <c:v>0.308080808080808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73.644086983667762</c:v>
                </c:pt>
                <c:pt idx="1">
                  <c:v>69.499012859264084</c:v>
                </c:pt>
                <c:pt idx="2">
                  <c:v>108.23690064502442</c:v>
                </c:pt>
                <c:pt idx="3">
                  <c:v>278.05535617070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18033943982803427</c:v>
                </c:pt>
                <c:pt idx="1">
                  <c:v>0.12531682120055182</c:v>
                </c:pt>
                <c:pt idx="2">
                  <c:v>6.9171291988835065E-2</c:v>
                </c:pt>
                <c:pt idx="3">
                  <c:v>0.6251724469825787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2098930481283422</c:v>
                </c:pt>
                <c:pt idx="1">
                  <c:v>9.8930481283422425E-2</c:v>
                </c:pt>
                <c:pt idx="2">
                  <c:v>9.8930481283422425E-2</c:v>
                </c:pt>
                <c:pt idx="3">
                  <c:v>0.592245989304812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116.38776760562708</c:v>
                </c:pt>
                <c:pt idx="1">
                  <c:v>78.944295215642441</c:v>
                </c:pt>
                <c:pt idx="2">
                  <c:v>143.0224569166509</c:v>
                </c:pt>
                <c:pt idx="3">
                  <c:v>94.7332199560797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De Bligny</c:v>
                </c:pt>
                <c:pt idx="7">
                  <c:v>Nicolas Feuillatte</c:v>
                </c:pt>
                <c:pt idx="8">
                  <c:v>Canard Duchêne</c:v>
                </c:pt>
                <c:pt idx="9">
                  <c:v>Others</c:v>
                </c:pt>
              </c:strCache>
            </c:strRef>
          </c:cat>
          <c:val>
            <c:numRef>
              <c:f>Sheet1!$B$2:$B$11</c:f>
              <c:numCache>
                <c:formatCode>General</c:formatCode>
                <c:ptCount val="10"/>
                <c:pt idx="0">
                  <c:v>0.25620807361686709</c:v>
                </c:pt>
                <c:pt idx="1">
                  <c:v>9.7222772020962051E-2</c:v>
                </c:pt>
                <c:pt idx="2">
                  <c:v>8.3278015121664536E-2</c:v>
                </c:pt>
                <c:pt idx="3">
                  <c:v>5.8034640365648302E-2</c:v>
                </c:pt>
                <c:pt idx="4">
                  <c:v>5.0540798957378584E-2</c:v>
                </c:pt>
                <c:pt idx="5">
                  <c:v>4.1690392596900758E-2</c:v>
                </c:pt>
                <c:pt idx="6">
                  <c:v>3.7482909717633517E-2</c:v>
                </c:pt>
                <c:pt idx="7">
                  <c:v>3.4747703279202687E-2</c:v>
                </c:pt>
                <c:pt idx="8">
                  <c:v>3.438991117620728E-2</c:v>
                </c:pt>
                <c:pt idx="9">
                  <c:v>0.3064047831475351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De Bligny</c:v>
                </c:pt>
                <c:pt idx="7">
                  <c:v>Nicolas Feuillatte</c:v>
                </c:pt>
                <c:pt idx="8">
                  <c:v>Canard Duchêne</c:v>
                </c:pt>
                <c:pt idx="9">
                  <c:v>Others</c:v>
                </c:pt>
              </c:strCache>
            </c:strRef>
          </c:cat>
          <c:val>
            <c:numRef>
              <c:f>Sheet1!$C$2:$C$11</c:f>
              <c:numCache>
                <c:formatCode>General</c:formatCode>
                <c:ptCount val="10"/>
                <c:pt idx="0">
                  <c:v>0.11489201406328478</c:v>
                </c:pt>
                <c:pt idx="1">
                  <c:v>0.10522350577599202</c:v>
                </c:pt>
                <c:pt idx="2">
                  <c:v>5.6127574083375209E-2</c:v>
                </c:pt>
                <c:pt idx="3">
                  <c:v>4.9598191863385238E-2</c:v>
                </c:pt>
                <c:pt idx="4">
                  <c:v>5.0477147162230042E-2</c:v>
                </c:pt>
                <c:pt idx="5">
                  <c:v>1.2556504269211453E-2</c:v>
                </c:pt>
                <c:pt idx="6">
                  <c:v>2.0969362129583127E-2</c:v>
                </c:pt>
                <c:pt idx="7">
                  <c:v>3.754394776494225E-2</c:v>
                </c:pt>
                <c:pt idx="8">
                  <c:v>4.3571069814163747E-2</c:v>
                </c:pt>
                <c:pt idx="9">
                  <c:v>0.5090406830738323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De Bligny</c:v>
                </c:pt>
                <c:pt idx="7">
                  <c:v>Nicolas Feuillatte</c:v>
                </c:pt>
                <c:pt idx="8">
                  <c:v>Canard Duchêne</c:v>
                </c:pt>
                <c:pt idx="9">
                  <c:v>Others</c:v>
                </c:pt>
              </c:strCache>
            </c:strRef>
          </c:cat>
          <c:val>
            <c:numRef>
              <c:f>Sheet1!$D$2:$D$11</c:f>
              <c:numCache>
                <c:formatCode>General</c:formatCode>
                <c:ptCount val="10"/>
                <c:pt idx="0">
                  <c:v>44.843244961551839</c:v>
                </c:pt>
                <c:pt idx="1">
                  <c:v>108.22927961085591</c:v>
                </c:pt>
                <c:pt idx="2">
                  <c:v>67.397828828383993</c:v>
                </c:pt>
                <c:pt idx="3">
                  <c:v>85.463081275064226</c:v>
                </c:pt>
                <c:pt idx="4">
                  <c:v>99.874058589374059</c:v>
                </c:pt>
                <c:pt idx="5">
                  <c:v>30.118460122500494</c:v>
                </c:pt>
                <c:pt idx="6">
                  <c:v>55.943794885588275</c:v>
                </c:pt>
                <c:pt idx="7">
                  <c:v>108.04727858780001</c:v>
                </c:pt>
                <c:pt idx="8">
                  <c:v>126.69724440669235</c:v>
                </c:pt>
                <c:pt idx="9">
                  <c:v>166.133399695894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0.12629764969686902</c:v>
                </c:pt>
                <c:pt idx="1">
                  <c:v>7.8689477618138035E-2</c:v>
                </c:pt>
                <c:pt idx="2">
                  <c:v>3.3676604933145088E-2</c:v>
                </c:pt>
                <c:pt idx="3">
                  <c:v>0.7613362677518478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14345991561181434</c:v>
                </c:pt>
                <c:pt idx="1">
                  <c:v>8.6497890295358634E-2</c:v>
                </c:pt>
                <c:pt idx="2">
                  <c:v>7.9113924050632903E-2</c:v>
                </c:pt>
                <c:pt idx="3">
                  <c:v>0.690928270042194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113.58874528238414</c:v>
                </c:pt>
                <c:pt idx="1">
                  <c:v>109.92307092838134</c:v>
                </c:pt>
                <c:pt idx="2">
                  <c:v>234.92250542383988</c:v>
                </c:pt>
                <c:pt idx="3">
                  <c:v>90.752049955854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De Chanceny</c:v>
                </c:pt>
                <c:pt idx="2">
                  <c:v>Chateau Moncontour</c:v>
                </c:pt>
                <c:pt idx="3">
                  <c:v>Others</c:v>
                </c:pt>
              </c:strCache>
            </c:strRef>
          </c:cat>
          <c:val>
            <c:numRef>
              <c:f>Sheet1!$B$2:$B$5</c:f>
              <c:numCache>
                <c:formatCode>General</c:formatCode>
                <c:ptCount val="4"/>
                <c:pt idx="0">
                  <c:v>0.32091290863494043</c:v>
                </c:pt>
                <c:pt idx="1">
                  <c:v>5.4905103206754811E-2</c:v>
                </c:pt>
                <c:pt idx="2">
                  <c:v>3.9264568401371144E-2</c:v>
                </c:pt>
                <c:pt idx="3">
                  <c:v>0.5849174197569336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De Chanceny</c:v>
                </c:pt>
                <c:pt idx="2">
                  <c:v>Chateau Moncontour</c:v>
                </c:pt>
                <c:pt idx="3">
                  <c:v>Others</c:v>
                </c:pt>
              </c:strCache>
            </c:strRef>
          </c:cat>
          <c:val>
            <c:numRef>
              <c:f>Sheet1!$C$2:$C$5</c:f>
              <c:numCache>
                <c:formatCode>General</c:formatCode>
                <c:ptCount val="4"/>
                <c:pt idx="0">
                  <c:v>0.19980879541108984</c:v>
                </c:pt>
                <c:pt idx="1">
                  <c:v>7.265774378585084E-2</c:v>
                </c:pt>
                <c:pt idx="2">
                  <c:v>6.0229445506692146E-2</c:v>
                </c:pt>
                <c:pt idx="3">
                  <c:v>0.667304015296366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De Chanceny</c:v>
                </c:pt>
                <c:pt idx="2">
                  <c:v>Chateau Moncontour</c:v>
                </c:pt>
                <c:pt idx="3">
                  <c:v>Others</c:v>
                </c:pt>
              </c:strCache>
            </c:strRef>
          </c:cat>
          <c:val>
            <c:numRef>
              <c:f>Sheet1!$D$2:$D$5</c:f>
              <c:numCache>
                <c:formatCode>General</c:formatCode>
                <c:ptCount val="4"/>
                <c:pt idx="0">
                  <c:v>62.262623295838026</c:v>
                </c:pt>
                <c:pt idx="1">
                  <c:v>132.33331610769466</c:v>
                </c:pt>
                <c:pt idx="2">
                  <c:v>153.39388145315485</c:v>
                </c:pt>
                <c:pt idx="3">
                  <c:v>114.085167026427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B$2:$B$5</c:f>
              <c:numCache>
                <c:formatCode>General</c:formatCode>
                <c:ptCount val="4"/>
                <c:pt idx="0">
                  <c:v>5.4489587805925291E-2</c:v>
                </c:pt>
                <c:pt idx="1">
                  <c:v>2.8338342636324603E-2</c:v>
                </c:pt>
                <c:pt idx="2">
                  <c:v>2.152211249463289E-2</c:v>
                </c:pt>
                <c:pt idx="3">
                  <c:v>0.895649957063117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C$2:$C$5</c:f>
              <c:numCache>
                <c:formatCode>General</c:formatCode>
                <c:ptCount val="4"/>
                <c:pt idx="0">
                  <c:v>0.18792452830188675</c:v>
                </c:pt>
                <c:pt idx="1">
                  <c:v>5.8867924528301883E-2</c:v>
                </c:pt>
                <c:pt idx="2">
                  <c:v>6.9433962264150939E-2</c:v>
                </c:pt>
                <c:pt idx="3">
                  <c:v>0.683773584905660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vet-Ladubay</c:v>
                </c:pt>
                <c:pt idx="1">
                  <c:v>Chateau Moncontour</c:v>
                </c:pt>
                <c:pt idx="2">
                  <c:v>De Chanceny</c:v>
                </c:pt>
                <c:pt idx="3">
                  <c:v>Others</c:v>
                </c:pt>
              </c:strCache>
            </c:strRef>
          </c:cat>
          <c:val>
            <c:numRef>
              <c:f>Sheet1!$D$2:$D$5</c:f>
              <c:numCache>
                <c:formatCode>General</c:formatCode>
                <c:ptCount val="4"/>
                <c:pt idx="0">
                  <c:v>344.88153768241847</c:v>
                </c:pt>
                <c:pt idx="1">
                  <c:v>207.73241852487132</c:v>
                </c:pt>
                <c:pt idx="2">
                  <c:v>322.61685409118712</c:v>
                </c:pt>
                <c:pt idx="3">
                  <c:v>76.3438416440937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teau Moncontour</c:v>
                </c:pt>
                <c:pt idx="1">
                  <c:v>De Chanceny</c:v>
                </c:pt>
                <c:pt idx="2">
                  <c:v>Bouvet-Ladubay</c:v>
                </c:pt>
                <c:pt idx="3">
                  <c:v>Others</c:v>
                </c:pt>
              </c:strCache>
            </c:strRef>
          </c:cat>
          <c:val>
            <c:numRef>
              <c:f>Sheet1!$B$2:$B$5</c:f>
              <c:numCache>
                <c:formatCode>General</c:formatCode>
                <c:ptCount val="4"/>
                <c:pt idx="0">
                  <c:v>0.37491115849324802</c:v>
                </c:pt>
                <c:pt idx="1">
                  <c:v>0.28713574982231699</c:v>
                </c:pt>
                <c:pt idx="2">
                  <c:v>0.23169864960909736</c:v>
                </c:pt>
                <c:pt idx="3">
                  <c:v>0.106254442075337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teau Moncontour</c:v>
                </c:pt>
                <c:pt idx="1">
                  <c:v>De Chanceny</c:v>
                </c:pt>
                <c:pt idx="2">
                  <c:v>Bouvet-Ladubay</c:v>
                </c:pt>
                <c:pt idx="3">
                  <c:v>Others</c:v>
                </c:pt>
              </c:strCache>
            </c:strRef>
          </c:cat>
          <c:val>
            <c:numRef>
              <c:f>Sheet1!$C$2:$C$5</c:f>
              <c:numCache>
                <c:formatCode>General</c:formatCode>
                <c:ptCount val="4"/>
                <c:pt idx="0">
                  <c:v>0.21798365122615809</c:v>
                </c:pt>
                <c:pt idx="1">
                  <c:v>0.19891008174386923</c:v>
                </c:pt>
                <c:pt idx="2">
                  <c:v>0.21253405994550412</c:v>
                </c:pt>
                <c:pt idx="3">
                  <c:v>0.37057220708446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teau Moncontour</c:v>
                </c:pt>
                <c:pt idx="1">
                  <c:v>De Chanceny</c:v>
                </c:pt>
                <c:pt idx="2">
                  <c:v>Bouvet-Ladubay</c:v>
                </c:pt>
                <c:pt idx="3">
                  <c:v>Others</c:v>
                </c:pt>
              </c:strCache>
            </c:strRef>
          </c:cat>
          <c:val>
            <c:numRef>
              <c:f>Sheet1!$D$2:$D$5</c:f>
              <c:numCache>
                <c:formatCode>General</c:formatCode>
                <c:ptCount val="4"/>
                <c:pt idx="0">
                  <c:v>58.142748298616965</c:v>
                </c:pt>
                <c:pt idx="1">
                  <c:v>69.273882429114849</c:v>
                </c:pt>
                <c:pt idx="2">
                  <c:v>91.728657160528925</c:v>
                </c:pt>
                <c:pt idx="3">
                  <c:v>348.759261115617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74881216344630974</c:v>
                </c:pt>
                <c:pt idx="1">
                  <c:v>0.251187836553690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84210526315789469</c:v>
                </c:pt>
                <c:pt idx="1">
                  <c:v>0.157894736842105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12.45881200463086</c:v>
                </c:pt>
                <c:pt idx="1">
                  <c:v>62.8592287781243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52387004931618286</c:v>
                </c:pt>
                <c:pt idx="1">
                  <c:v>0.476129950683817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72641509433962259</c:v>
                </c:pt>
                <c:pt idx="1">
                  <c:v>0.2735849056603773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38.66322292863001</c:v>
                </c:pt>
                <c:pt idx="1">
                  <c:v>57.4601335764438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44198970527946069</c:v>
                </c:pt>
                <c:pt idx="1">
                  <c:v>0.5580102947205393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64634146341463394</c:v>
                </c:pt>
                <c:pt idx="1">
                  <c:v>0.353658536585365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146.23450630054066</c:v>
                </c:pt>
                <c:pt idx="1">
                  <c:v>63.37849676455946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Malard</c:v>
                </c:pt>
                <c:pt idx="5">
                  <c:v>Dom Perignon</c:v>
                </c:pt>
                <c:pt idx="6">
                  <c:v>Nicolas Feuillatte</c:v>
                </c:pt>
                <c:pt idx="7">
                  <c:v>Heidsieck &amp; Co Monopole</c:v>
                </c:pt>
                <c:pt idx="8">
                  <c:v>Roederer</c:v>
                </c:pt>
                <c:pt idx="9">
                  <c:v>Others</c:v>
                </c:pt>
              </c:strCache>
            </c:strRef>
          </c:cat>
          <c:val>
            <c:numRef>
              <c:f>Sheet1!$B$2:$B$11</c:f>
              <c:numCache>
                <c:formatCode>General</c:formatCode>
                <c:ptCount val="10"/>
                <c:pt idx="0">
                  <c:v>0.30990197407056058</c:v>
                </c:pt>
                <c:pt idx="1">
                  <c:v>7.9180557437773857E-2</c:v>
                </c:pt>
                <c:pt idx="2">
                  <c:v>7.6406017075484486E-2</c:v>
                </c:pt>
                <c:pt idx="3">
                  <c:v>4.4609477345620457E-2</c:v>
                </c:pt>
                <c:pt idx="4">
                  <c:v>3.5569408682296605E-2</c:v>
                </c:pt>
                <c:pt idx="5">
                  <c:v>3.1431539955730226E-2</c:v>
                </c:pt>
                <c:pt idx="6">
                  <c:v>3.0973483308488051E-2</c:v>
                </c:pt>
                <c:pt idx="7">
                  <c:v>3.057866919636807E-2</c:v>
                </c:pt>
                <c:pt idx="8">
                  <c:v>3.0079956633690202E-2</c:v>
                </c:pt>
                <c:pt idx="9">
                  <c:v>0.3312689162939874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Malard</c:v>
                </c:pt>
                <c:pt idx="5">
                  <c:v>Dom Perignon</c:v>
                </c:pt>
                <c:pt idx="6">
                  <c:v>Nicolas Feuillatte</c:v>
                </c:pt>
                <c:pt idx="7">
                  <c:v>Heidsieck &amp; Co Monopole</c:v>
                </c:pt>
                <c:pt idx="8">
                  <c:v>Roederer</c:v>
                </c:pt>
                <c:pt idx="9">
                  <c:v>Others</c:v>
                </c:pt>
              </c:strCache>
            </c:strRef>
          </c:cat>
          <c:val>
            <c:numRef>
              <c:f>Sheet1!$C$2:$C$11</c:f>
              <c:numCache>
                <c:formatCode>General</c:formatCode>
                <c:ptCount val="10"/>
                <c:pt idx="0">
                  <c:v>0.11388349514563109</c:v>
                </c:pt>
                <c:pt idx="1">
                  <c:v>5.2912621359223318E-2</c:v>
                </c:pt>
                <c:pt idx="2">
                  <c:v>8.7669902912621361E-2</c:v>
                </c:pt>
                <c:pt idx="3">
                  <c:v>5.0291262135922353E-2</c:v>
                </c:pt>
                <c:pt idx="4">
                  <c:v>4.4466019417475744E-2</c:v>
                </c:pt>
                <c:pt idx="5">
                  <c:v>2.6019417475728161E-2</c:v>
                </c:pt>
                <c:pt idx="6">
                  <c:v>3.0873786407767004E-2</c:v>
                </c:pt>
                <c:pt idx="7">
                  <c:v>9.7087378640776725E-3</c:v>
                </c:pt>
                <c:pt idx="8">
                  <c:v>7.0194174757281583E-2</c:v>
                </c:pt>
                <c:pt idx="9">
                  <c:v>0.5139805825242720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Malard</c:v>
                </c:pt>
                <c:pt idx="5">
                  <c:v>Dom Perignon</c:v>
                </c:pt>
                <c:pt idx="6">
                  <c:v>Nicolas Feuillatte</c:v>
                </c:pt>
                <c:pt idx="7">
                  <c:v>Heidsieck &amp; Co Monopole</c:v>
                </c:pt>
                <c:pt idx="8">
                  <c:v>Roederer</c:v>
                </c:pt>
                <c:pt idx="9">
                  <c:v>Others</c:v>
                </c:pt>
              </c:strCache>
            </c:strRef>
          </c:cat>
          <c:val>
            <c:numRef>
              <c:f>Sheet1!$D$2:$D$11</c:f>
              <c:numCache>
                <c:formatCode>General</c:formatCode>
                <c:ptCount val="10"/>
                <c:pt idx="0">
                  <c:v>36.748231593936644</c:v>
                </c:pt>
                <c:pt idx="1">
                  <c:v>66.825270080734285</c:v>
                </c:pt>
                <c:pt idx="2">
                  <c:v>114.74214501458549</c:v>
                </c:pt>
                <c:pt idx="3">
                  <c:v>112.7367212717629</c:v>
                </c:pt>
                <c:pt idx="4">
                  <c:v>125.01197254821699</c:v>
                </c:pt>
                <c:pt idx="5">
                  <c:v>82.781236657113297</c:v>
                </c:pt>
                <c:pt idx="6">
                  <c:v>99.678121767164214</c:v>
                </c:pt>
                <c:pt idx="7">
                  <c:v>31.750033991769698</c:v>
                </c:pt>
                <c:pt idx="8">
                  <c:v>233.35863017389659</c:v>
                </c:pt>
                <c:pt idx="9">
                  <c:v>155.155089186857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Mure</c:v>
                </c:pt>
              </c:strCache>
            </c:strRef>
          </c:cat>
          <c:val>
            <c:numRef>
              <c:f>Sheet1!$D$2:$D$2</c:f>
              <c:numCache>
                <c:formatCode>General</c:formatCode>
                <c:ptCount val="1"/>
                <c:pt idx="0">
                  <c:v>10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B$2:$B$3</c:f>
              <c:numCache>
                <c:formatCode>General</c:formatCode>
                <c:ptCount val="2"/>
                <c:pt idx="0">
                  <c:v>0.86383329894780281</c:v>
                </c:pt>
                <c:pt idx="1">
                  <c:v>0.1361667010521972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C$2:$C$3</c:f>
              <c:numCache>
                <c:formatCode>General</c:formatCode>
                <c:ptCount val="2"/>
                <c:pt idx="0">
                  <c:v>0.48351648351648358</c:v>
                </c:pt>
                <c:pt idx="1">
                  <c:v>0.516483516483516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ure</c:v>
                </c:pt>
                <c:pt idx="1">
                  <c:v>Others</c:v>
                </c:pt>
              </c:strCache>
            </c:strRef>
          </c:cat>
          <c:val>
            <c:numRef>
              <c:f>Sheet1!$D$2:$D$3</c:f>
              <c:numCache>
                <c:formatCode>General</c:formatCode>
                <c:ptCount val="2"/>
                <c:pt idx="0">
                  <c:v>55.973355519569999</c:v>
                </c:pt>
                <c:pt idx="1">
                  <c:v>379.3023643023643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4549531186302485</c:v>
                </c:pt>
                <c:pt idx="1">
                  <c:v>0.1545046881369751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5454545454545443</c:v>
                </c:pt>
                <c:pt idx="1">
                  <c:v>0.34545454545454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77.415621986499502</c:v>
                </c:pt>
                <c:pt idx="1">
                  <c:v>223.588390501319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75400696864111494</c:v>
                </c:pt>
                <c:pt idx="1">
                  <c:v>0.2459930313588850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48314606741573024</c:v>
                </c:pt>
                <c:pt idx="1">
                  <c:v>0.5168539325842695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64.077135558370884</c:v>
                </c:pt>
                <c:pt idx="1">
                  <c:v>210.10917656046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21120381406436234</c:v>
                </c:pt>
                <c:pt idx="1">
                  <c:v>2.4314660309892728E-2</c:v>
                </c:pt>
                <c:pt idx="2">
                  <c:v>0.76448152562574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29411764705882354</c:v>
                </c:pt>
                <c:pt idx="1">
                  <c:v>0.3235294117647059</c:v>
                </c:pt>
                <c:pt idx="2">
                  <c:v>0.382352941176470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139.25773469658745</c:v>
                </c:pt>
                <c:pt idx="1">
                  <c:v>1330.5940023068051</c:v>
                </c:pt>
                <c:pt idx="2">
                  <c:v>50.0146737834516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78526645768025083</c:v>
                </c:pt>
                <c:pt idx="1">
                  <c:v>0.214733542319749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45833333333333331</c:v>
                </c:pt>
                <c:pt idx="1">
                  <c:v>0.541666666666666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58.366600133067195</c:v>
                </c:pt>
                <c:pt idx="1">
                  <c:v>252.250608272506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B$2:$B$4</c:f>
              <c:numCache>
                <c:formatCode>General</c:formatCode>
                <c:ptCount val="3"/>
                <c:pt idx="0">
                  <c:v>0.60664244940321743</c:v>
                </c:pt>
                <c:pt idx="1">
                  <c:v>0.1894135962636222</c:v>
                </c:pt>
                <c:pt idx="2">
                  <c:v>0.2039439543331603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C$2:$C$4</c:f>
              <c:numCache>
                <c:formatCode>General</c:formatCode>
                <c:ptCount val="3"/>
                <c:pt idx="0">
                  <c:v>0.43750000000000006</c:v>
                </c:pt>
                <c:pt idx="1">
                  <c:v>0.40625</c:v>
                </c:pt>
                <c:pt idx="2">
                  <c:v>0.156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ru La Maqueline</c:v>
                </c:pt>
                <c:pt idx="1">
                  <c:v>Celene</c:v>
                </c:pt>
                <c:pt idx="2">
                  <c:v>Others</c:v>
                </c:pt>
              </c:strCache>
            </c:strRef>
          </c:cat>
          <c:val>
            <c:numRef>
              <c:f>Sheet1!$D$2:$D$4</c:f>
              <c:numCache>
                <c:formatCode>General</c:formatCode>
                <c:ptCount val="3"/>
                <c:pt idx="0">
                  <c:v>72.118263473053901</c:v>
                </c:pt>
                <c:pt idx="1">
                  <c:v>214.47773972602738</c:v>
                </c:pt>
                <c:pt idx="2">
                  <c:v>76.6141857506361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Laurent Perrier</c:v>
                </c:pt>
                <c:pt idx="6">
                  <c:v>De Bligny</c:v>
                </c:pt>
                <c:pt idx="7">
                  <c:v>Heidsieck &amp; Co Monopole</c:v>
                </c:pt>
                <c:pt idx="8">
                  <c:v>Ayala</c:v>
                </c:pt>
                <c:pt idx="9">
                  <c:v>Others</c:v>
                </c:pt>
              </c:strCache>
            </c:strRef>
          </c:cat>
          <c:val>
            <c:numRef>
              <c:f>Sheet1!$B$2:$B$11</c:f>
              <c:numCache>
                <c:formatCode>General</c:formatCode>
                <c:ptCount val="10"/>
                <c:pt idx="0">
                  <c:v>0.25157130340019118</c:v>
                </c:pt>
                <c:pt idx="1">
                  <c:v>0.10120094541964254</c:v>
                </c:pt>
                <c:pt idx="2">
                  <c:v>6.521954502001362E-2</c:v>
                </c:pt>
                <c:pt idx="3">
                  <c:v>4.7597144184215304E-2</c:v>
                </c:pt>
                <c:pt idx="4">
                  <c:v>4.3362183986279321E-2</c:v>
                </c:pt>
                <c:pt idx="5">
                  <c:v>4.0027225203642207E-2</c:v>
                </c:pt>
                <c:pt idx="6">
                  <c:v>3.9425079867888284E-2</c:v>
                </c:pt>
                <c:pt idx="7">
                  <c:v>3.6825433177950673E-2</c:v>
                </c:pt>
                <c:pt idx="8">
                  <c:v>3.6000056611954642E-2</c:v>
                </c:pt>
                <c:pt idx="9">
                  <c:v>0.3387710831282222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Laurent Perrier</c:v>
                </c:pt>
                <c:pt idx="6">
                  <c:v>De Bligny</c:v>
                </c:pt>
                <c:pt idx="7">
                  <c:v>Heidsieck &amp; Co Monopole</c:v>
                </c:pt>
                <c:pt idx="8">
                  <c:v>Ayala</c:v>
                </c:pt>
                <c:pt idx="9">
                  <c:v>Others</c:v>
                </c:pt>
              </c:strCache>
            </c:strRef>
          </c:cat>
          <c:val>
            <c:numRef>
              <c:f>Sheet1!$C$2:$C$11</c:f>
              <c:numCache>
                <c:formatCode>General</c:formatCode>
                <c:ptCount val="10"/>
                <c:pt idx="0">
                  <c:v>0.12054900945228539</c:v>
                </c:pt>
                <c:pt idx="1">
                  <c:v>9.9702188268807473E-2</c:v>
                </c:pt>
                <c:pt idx="2">
                  <c:v>5.9303379515732203E-2</c:v>
                </c:pt>
                <c:pt idx="3">
                  <c:v>5.2052311278000772E-2</c:v>
                </c:pt>
                <c:pt idx="4">
                  <c:v>4.0010358668911047E-2</c:v>
                </c:pt>
                <c:pt idx="5">
                  <c:v>4.3376926065000654E-2</c:v>
                </c:pt>
                <c:pt idx="6">
                  <c:v>2.071733782208986E-2</c:v>
                </c:pt>
                <c:pt idx="7">
                  <c:v>1.2818852777418101E-2</c:v>
                </c:pt>
                <c:pt idx="8">
                  <c:v>2.291855496568691E-2</c:v>
                </c:pt>
                <c:pt idx="9">
                  <c:v>0.528551081186067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Laurent Perrier</c:v>
                </c:pt>
                <c:pt idx="6">
                  <c:v>De Bligny</c:v>
                </c:pt>
                <c:pt idx="7">
                  <c:v>Heidsieck &amp; Co Monopole</c:v>
                </c:pt>
                <c:pt idx="8">
                  <c:v>Ayala</c:v>
                </c:pt>
                <c:pt idx="9">
                  <c:v>Others</c:v>
                </c:pt>
              </c:strCache>
            </c:strRef>
          </c:cat>
          <c:val>
            <c:numRef>
              <c:f>Sheet1!$D$2:$D$11</c:f>
              <c:numCache>
                <c:formatCode>General</c:formatCode>
                <c:ptCount val="10"/>
                <c:pt idx="0">
                  <c:v>47.918426236604603</c:v>
                </c:pt>
                <c:pt idx="1">
                  <c:v>98.519028508458803</c:v>
                </c:pt>
                <c:pt idx="2">
                  <c:v>90.92884578930142</c:v>
                </c:pt>
                <c:pt idx="3">
                  <c:v>109.36015630799744</c:v>
                </c:pt>
                <c:pt idx="4">
                  <c:v>92.270164901221634</c:v>
                </c:pt>
                <c:pt idx="5">
                  <c:v>108.36855626218538</c:v>
                </c:pt>
                <c:pt idx="6">
                  <c:v>52.548626132179699</c:v>
                </c:pt>
                <c:pt idx="7">
                  <c:v>34.809781368962753</c:v>
                </c:pt>
                <c:pt idx="8">
                  <c:v>63.662552569643125</c:v>
                </c:pt>
                <c:pt idx="9">
                  <c:v>156.0201290810925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3850437549721557</c:v>
                </c:pt>
                <c:pt idx="1">
                  <c:v>0.161495624502784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4098360655737705</c:v>
                </c:pt>
                <c:pt idx="1">
                  <c:v>0.59016393442622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48.877033626776992</c:v>
                </c:pt>
                <c:pt idx="1">
                  <c:v>365.436485504320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9517980107115536</c:v>
                </c:pt>
                <c:pt idx="1">
                  <c:v>0.1048201989288446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61538461538461531</c:v>
                </c:pt>
                <c:pt idx="1">
                  <c:v>0.384615384615384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68.744247205785655</c:v>
                </c:pt>
                <c:pt idx="1">
                  <c:v>366.928691746209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85782272456870912</c:v>
                </c:pt>
                <c:pt idx="1">
                  <c:v>0.1421772754312909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4592592592592592</c:v>
                </c:pt>
                <c:pt idx="1">
                  <c:v>0.5407407407407407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53.53778188729644</c:v>
                </c:pt>
                <c:pt idx="1">
                  <c:v>380.328529366186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74729241877256314</c:v>
                </c:pt>
                <c:pt idx="1">
                  <c:v>0.2527075812274368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51020408163265307</c:v>
                </c:pt>
                <c:pt idx="1">
                  <c:v>0.4897959183673469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68.273686286108642</c:v>
                </c:pt>
                <c:pt idx="1">
                  <c:v>193.819241982507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58076923076923082</c:v>
                </c:pt>
                <c:pt idx="1">
                  <c:v>0.4192307692307692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52040816326530615</c:v>
                </c:pt>
                <c:pt idx="1">
                  <c:v>0.4795918367346939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89.606703608595751</c:v>
                </c:pt>
                <c:pt idx="1">
                  <c:v>114.398052799101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B$2:$B$3</c:f>
              <c:numCache>
                <c:formatCode>General</c:formatCode>
                <c:ptCount val="2"/>
                <c:pt idx="0">
                  <c:v>0.91309385863267667</c:v>
                </c:pt>
                <c:pt idx="1">
                  <c:v>8.690614136732328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C$2:$C$3</c:f>
              <c:numCache>
                <c:formatCode>General</c:formatCode>
                <c:ptCount val="2"/>
                <c:pt idx="0">
                  <c:v>0.55384615384615377</c:v>
                </c:pt>
                <c:pt idx="1">
                  <c:v>0.4461538461538461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u La Maqueline</c:v>
                </c:pt>
                <c:pt idx="1">
                  <c:v>Celene</c:v>
                </c:pt>
              </c:strCache>
            </c:strRef>
          </c:cat>
          <c:val>
            <c:numRef>
              <c:f>Sheet1!$D$2:$D$3</c:f>
              <c:numCache>
                <c:formatCode>General</c:formatCode>
                <c:ptCount val="2"/>
                <c:pt idx="0">
                  <c:v>60.655993752440452</c:v>
                </c:pt>
                <c:pt idx="1">
                  <c:v>513.374358974358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7</c:f>
              <c:strCache>
                <c:ptCount val="336"/>
                <c:pt idx="0">
                  <c:v>Ruinart</c:v>
                </c:pt>
                <c:pt idx="1">
                  <c:v>Nicolas</c:v>
                </c:pt>
                <c:pt idx="2">
                  <c:v>Deutz</c:v>
                </c:pt>
                <c:pt idx="3">
                  <c:v>Heidsieck &amp;</c:v>
                </c:pt>
                <c:pt idx="4">
                  <c:v>Ruinart</c:v>
                </c:pt>
                <c:pt idx="5">
                  <c:v>Ayala</c:v>
                </c:pt>
                <c:pt idx="6">
                  <c:v>De Bligny</c:v>
                </c:pt>
                <c:pt idx="7">
                  <c:v>Malard</c:v>
                </c:pt>
                <c:pt idx="8">
                  <c:v>Ruinart</c:v>
                </c:pt>
                <c:pt idx="9">
                  <c:v>Ruinart</c:v>
                </c:pt>
                <c:pt idx="10">
                  <c:v>Laurent Per</c:v>
                </c:pt>
                <c:pt idx="11">
                  <c:v>Bollinger</c:v>
                </c:pt>
                <c:pt idx="12">
                  <c:v>Deutz</c:v>
                </c:pt>
                <c:pt idx="13">
                  <c:v>Besserat De</c:v>
                </c:pt>
                <c:pt idx="14">
                  <c:v>Canard Duch</c:v>
                </c:pt>
                <c:pt idx="15">
                  <c:v>Ruinart</c:v>
                </c:pt>
                <c:pt idx="16">
                  <c:v>Taittinger</c:v>
                </c:pt>
                <c:pt idx="17">
                  <c:v>Dom Perigno</c:v>
                </c:pt>
                <c:pt idx="18">
                  <c:v>Nicolas Feu</c:v>
                </c:pt>
                <c:pt idx="19">
                  <c:v>Ruinart</c:v>
                </c:pt>
                <c:pt idx="20">
                  <c:v>Campari: Al</c:v>
                </c:pt>
                <c:pt idx="21">
                  <c:v>Ruinart</c:v>
                </c:pt>
                <c:pt idx="22">
                  <c:v>Demoiselle</c:v>
                </c:pt>
                <c:pt idx="23">
                  <c:v>Dom Perigno</c:v>
                </c:pt>
                <c:pt idx="24">
                  <c:v>All Others</c:v>
                </c:pt>
                <c:pt idx="25">
                  <c:v>Pommery</c:v>
                </c:pt>
                <c:pt idx="26">
                  <c:v>Perrier Jou</c:v>
                </c:pt>
                <c:pt idx="27">
                  <c:v>Laurent Per</c:v>
                </c:pt>
                <c:pt idx="28">
                  <c:v>Savian</c:v>
                </c:pt>
                <c:pt idx="29">
                  <c:v>Roederer</c:v>
                </c:pt>
                <c:pt idx="30">
                  <c:v>All Others</c:v>
                </c:pt>
                <c:pt idx="31">
                  <c:v>Deutz</c:v>
                </c:pt>
                <c:pt idx="32">
                  <c:v>Laurent Per</c:v>
                </c:pt>
                <c:pt idx="33">
                  <c:v>Moët &amp; Chan</c:v>
                </c:pt>
                <c:pt idx="34">
                  <c:v>Roederer</c:v>
                </c:pt>
                <c:pt idx="35">
                  <c:v>Bottega</c:v>
                </c:pt>
                <c:pt idx="36">
                  <c:v>Malard</c:v>
                </c:pt>
                <c:pt idx="37">
                  <c:v>Ruinart</c:v>
                </c:pt>
                <c:pt idx="38">
                  <c:v>Patriarche</c:v>
                </c:pt>
                <c:pt idx="39">
                  <c:v>Vesselle</c:v>
                </c:pt>
                <c:pt idx="40">
                  <c:v>Louis Marti</c:v>
                </c:pt>
                <c:pt idx="41">
                  <c:v>Veuve Clicq</c:v>
                </c:pt>
                <c:pt idx="42">
                  <c:v>Mure</c:v>
                </c:pt>
                <c:pt idx="43">
                  <c:v>Taittinger</c:v>
                </c:pt>
                <c:pt idx="44">
                  <c:v>Nicolas</c:v>
                </c:pt>
                <c:pt idx="45">
                  <c:v>Veuve Clicq</c:v>
                </c:pt>
                <c:pt idx="46">
                  <c:v>Roederer</c:v>
                </c:pt>
                <c:pt idx="47">
                  <c:v>Henriot</c:v>
                </c:pt>
                <c:pt idx="48">
                  <c:v>Besserat De</c:v>
                </c:pt>
                <c:pt idx="49">
                  <c:v>Campari: Al</c:v>
                </c:pt>
                <c:pt idx="50">
                  <c:v>Krug</c:v>
                </c:pt>
                <c:pt idx="51">
                  <c:v>Bouvet-Ladu</c:v>
                </c:pt>
                <c:pt idx="52">
                  <c:v>Demoiselle</c:v>
                </c:pt>
                <c:pt idx="53">
                  <c:v>De Chanceny</c:v>
                </c:pt>
                <c:pt idx="54">
                  <c:v>Nicolas</c:v>
                </c:pt>
                <c:pt idx="55">
                  <c:v>Nicolas</c:v>
                </c:pt>
                <c:pt idx="56">
                  <c:v>Ruinart</c:v>
                </c:pt>
                <c:pt idx="57">
                  <c:v>Deutz</c:v>
                </c:pt>
                <c:pt idx="58">
                  <c:v>All Others</c:v>
                </c:pt>
                <c:pt idx="59">
                  <c:v>Delamotte</c:v>
                </c:pt>
                <c:pt idx="60">
                  <c:v>All Others</c:v>
                </c:pt>
                <c:pt idx="61">
                  <c:v>Canard Duch</c:v>
                </c:pt>
                <c:pt idx="62">
                  <c:v>Savian</c:v>
                </c:pt>
                <c:pt idx="63">
                  <c:v>Lanson</c:v>
                </c:pt>
                <c:pt idx="64">
                  <c:v>All Others</c:v>
                </c:pt>
                <c:pt idx="65">
                  <c:v>Pommery</c:v>
                </c:pt>
                <c:pt idx="66">
                  <c:v>Bollinger</c:v>
                </c:pt>
                <c:pt idx="67">
                  <c:v>Besserat De</c:v>
                </c:pt>
                <c:pt idx="68">
                  <c:v>Veuve Clicq</c:v>
                </c:pt>
                <c:pt idx="69">
                  <c:v>All Others</c:v>
                </c:pt>
                <c:pt idx="70">
                  <c:v>Henriot</c:v>
                </c:pt>
                <c:pt idx="71">
                  <c:v>De Bligny</c:v>
                </c:pt>
                <c:pt idx="72">
                  <c:v>Malard</c:v>
                </c:pt>
                <c:pt idx="73">
                  <c:v>Ruinart</c:v>
                </c:pt>
                <c:pt idx="74">
                  <c:v>Lyre's</c:v>
                </c:pt>
                <c:pt idx="75">
                  <c:v>Patriarche</c:v>
                </c:pt>
                <c:pt idx="76">
                  <c:v>Nicolas Feu</c:v>
                </c:pt>
                <c:pt idx="77">
                  <c:v>Roederer</c:v>
                </c:pt>
                <c:pt idx="78">
                  <c:v>Chateau Mon</c:v>
                </c:pt>
                <c:pt idx="79">
                  <c:v>Laurent Per</c:v>
                </c:pt>
                <c:pt idx="80">
                  <c:v>Ruinart</c:v>
                </c:pt>
                <c:pt idx="81">
                  <c:v>Canard Duch</c:v>
                </c:pt>
                <c:pt idx="82">
                  <c:v>Nicolas Feu</c:v>
                </c:pt>
                <c:pt idx="83">
                  <c:v>Malard</c:v>
                </c:pt>
                <c:pt idx="84">
                  <c:v>Kriter</c:v>
                </c:pt>
                <c:pt idx="85">
                  <c:v>Piper Heids</c:v>
                </c:pt>
                <c:pt idx="86">
                  <c:v>Nicolas Feu</c:v>
                </c:pt>
                <c:pt idx="87">
                  <c:v>Ayala</c:v>
                </c:pt>
                <c:pt idx="88">
                  <c:v>Malard</c:v>
                </c:pt>
                <c:pt idx="89">
                  <c:v>De Venoge</c:v>
                </c:pt>
                <c:pt idx="90">
                  <c:v>Henriot</c:v>
                </c:pt>
                <c:pt idx="91">
                  <c:v>Moët &amp; Chan</c:v>
                </c:pt>
                <c:pt idx="92">
                  <c:v>Dom Perigno</c:v>
                </c:pt>
                <c:pt idx="93">
                  <c:v>Moët &amp; Chan</c:v>
                </c:pt>
                <c:pt idx="94">
                  <c:v>Nicolas</c:v>
                </c:pt>
                <c:pt idx="95">
                  <c:v>All Others</c:v>
                </c:pt>
                <c:pt idx="96">
                  <c:v>Perrier Jou</c:v>
                </c:pt>
                <c:pt idx="97">
                  <c:v>Taittinger</c:v>
                </c:pt>
                <c:pt idx="98">
                  <c:v>Nicolas</c:v>
                </c:pt>
                <c:pt idx="99">
                  <c:v>Deutz</c:v>
                </c:pt>
                <c:pt idx="100">
                  <c:v>Roederer</c:v>
                </c:pt>
                <c:pt idx="101">
                  <c:v>Roederer</c:v>
                </c:pt>
                <c:pt idx="102">
                  <c:v>Ruinart</c:v>
                </c:pt>
                <c:pt idx="103">
                  <c:v>Moët &amp; Chan</c:v>
                </c:pt>
                <c:pt idx="104">
                  <c:v>Ruinart</c:v>
                </c:pt>
                <c:pt idx="105">
                  <c:v>All Others</c:v>
                </c:pt>
                <c:pt idx="106">
                  <c:v>Henriot</c:v>
                </c:pt>
                <c:pt idx="107">
                  <c:v>Roederer</c:v>
                </c:pt>
                <c:pt idx="108">
                  <c:v>Bottega</c:v>
                </c:pt>
                <c:pt idx="109">
                  <c:v>Bollinger</c:v>
                </c:pt>
                <c:pt idx="110">
                  <c:v>Laurent Per</c:v>
                </c:pt>
                <c:pt idx="111">
                  <c:v>Canard Duch</c:v>
                </c:pt>
                <c:pt idx="112">
                  <c:v>Dom Perigno</c:v>
                </c:pt>
                <c:pt idx="113">
                  <c:v>All Others</c:v>
                </c:pt>
                <c:pt idx="114">
                  <c:v>Malard</c:v>
                </c:pt>
                <c:pt idx="115">
                  <c:v>De Chanceny</c:v>
                </c:pt>
                <c:pt idx="116">
                  <c:v>Perrier Jou</c:v>
                </c:pt>
                <c:pt idx="117">
                  <c:v>De Venoge</c:v>
                </c:pt>
                <c:pt idx="118">
                  <c:v>Roederer</c:v>
                </c:pt>
                <c:pt idx="119">
                  <c:v>Roederer</c:v>
                </c:pt>
                <c:pt idx="120">
                  <c:v>Roederer</c:v>
                </c:pt>
                <c:pt idx="121">
                  <c:v>Canard Duch</c:v>
                </c:pt>
                <c:pt idx="122">
                  <c:v>Contarini</c:v>
                </c:pt>
                <c:pt idx="123">
                  <c:v>Roederer</c:v>
                </c:pt>
                <c:pt idx="124">
                  <c:v>Nicolas</c:v>
                </c:pt>
                <c:pt idx="125">
                  <c:v>De Venoge</c:v>
                </c:pt>
                <c:pt idx="126">
                  <c:v>Krug</c:v>
                </c:pt>
                <c:pt idx="127">
                  <c:v>Pommery</c:v>
                </c:pt>
                <c:pt idx="128">
                  <c:v>Laurent Per</c:v>
                </c:pt>
                <c:pt idx="129">
                  <c:v>Deutz</c:v>
                </c:pt>
                <c:pt idx="130">
                  <c:v>Nicolas</c:v>
                </c:pt>
                <c:pt idx="131">
                  <c:v>Dom Perigno</c:v>
                </c:pt>
                <c:pt idx="132">
                  <c:v>All Others</c:v>
                </c:pt>
                <c:pt idx="133">
                  <c:v>All Others</c:v>
                </c:pt>
                <c:pt idx="134">
                  <c:v>Ruinart</c:v>
                </c:pt>
                <c:pt idx="135">
                  <c:v>Veuve Clicq</c:v>
                </c:pt>
                <c:pt idx="136">
                  <c:v>Ruinart</c:v>
                </c:pt>
                <c:pt idx="137">
                  <c:v>All Others</c:v>
                </c:pt>
                <c:pt idx="138">
                  <c:v>Vranken</c:v>
                </c:pt>
                <c:pt idx="139">
                  <c:v>Nicolas</c:v>
                </c:pt>
                <c:pt idx="140">
                  <c:v>All Others</c:v>
                </c:pt>
                <c:pt idx="141">
                  <c:v>Nicolas</c:v>
                </c:pt>
                <c:pt idx="142">
                  <c:v>Cru La Maqu</c:v>
                </c:pt>
                <c:pt idx="143">
                  <c:v>Laurent Per</c:v>
                </c:pt>
                <c:pt idx="144">
                  <c:v>De Venoge</c:v>
                </c:pt>
                <c:pt idx="145">
                  <c:v>Vranken</c:v>
                </c:pt>
                <c:pt idx="146">
                  <c:v>All Others</c:v>
                </c:pt>
                <c:pt idx="147">
                  <c:v>Delamotte</c:v>
                </c:pt>
                <c:pt idx="148">
                  <c:v>All Others</c:v>
                </c:pt>
                <c:pt idx="149">
                  <c:v>All Others</c:v>
                </c:pt>
                <c:pt idx="150">
                  <c:v>All Others</c:v>
                </c:pt>
                <c:pt idx="151">
                  <c:v>Nicolas</c:v>
                </c:pt>
                <c:pt idx="152">
                  <c:v>Laurent Per</c:v>
                </c:pt>
                <c:pt idx="153">
                  <c:v>Moët &amp; Chan</c:v>
                </c:pt>
                <c:pt idx="154">
                  <c:v>Nicolas</c:v>
                </c:pt>
                <c:pt idx="155">
                  <c:v>All Others</c:v>
                </c:pt>
                <c:pt idx="156">
                  <c:v>All Others</c:v>
                </c:pt>
                <c:pt idx="157">
                  <c:v>All Others</c:v>
                </c:pt>
                <c:pt idx="158">
                  <c:v>Moët &amp; Chan</c:v>
                </c:pt>
                <c:pt idx="159">
                  <c:v>All Others</c:v>
                </c:pt>
                <c:pt idx="160">
                  <c:v>Nicolas Feu</c:v>
                </c:pt>
                <c:pt idx="161">
                  <c:v>Krug</c:v>
                </c:pt>
                <c:pt idx="162">
                  <c:v>Nicolas</c:v>
                </c:pt>
                <c:pt idx="163">
                  <c:v>Lanson</c:v>
                </c:pt>
                <c:pt idx="164">
                  <c:v>All Others</c:v>
                </c:pt>
                <c:pt idx="165">
                  <c:v>Bollinger</c:v>
                </c:pt>
                <c:pt idx="166">
                  <c:v>All Others</c:v>
                </c:pt>
                <c:pt idx="167">
                  <c:v>Louis Marti</c:v>
                </c:pt>
                <c:pt idx="168">
                  <c:v>Nicolas</c:v>
                </c:pt>
                <c:pt idx="169">
                  <c:v>Roederer</c:v>
                </c:pt>
                <c:pt idx="170">
                  <c:v>All Others</c:v>
                </c:pt>
                <c:pt idx="171">
                  <c:v>Taittinger</c:v>
                </c:pt>
                <c:pt idx="172">
                  <c:v>Besserat De</c:v>
                </c:pt>
                <c:pt idx="173">
                  <c:v>All Others</c:v>
                </c:pt>
                <c:pt idx="174">
                  <c:v>All Others</c:v>
                </c:pt>
                <c:pt idx="175">
                  <c:v>Perrier Jou</c:v>
                </c:pt>
                <c:pt idx="176">
                  <c:v>All Others</c:v>
                </c:pt>
                <c:pt idx="177">
                  <c:v>Pommery</c:v>
                </c:pt>
                <c:pt idx="178">
                  <c:v>Roederer</c:v>
                </c:pt>
                <c:pt idx="179">
                  <c:v>Ayala</c:v>
                </c:pt>
                <c:pt idx="180">
                  <c:v>Canard Duch</c:v>
                </c:pt>
                <c:pt idx="181">
                  <c:v>Roederer</c:v>
                </c:pt>
                <c:pt idx="182">
                  <c:v>Laurent Per</c:v>
                </c:pt>
                <c:pt idx="183">
                  <c:v>Deutz</c:v>
                </c:pt>
                <c:pt idx="184">
                  <c:v>Nicolas</c:v>
                </c:pt>
                <c:pt idx="185">
                  <c:v>Contarini</c:v>
                </c:pt>
                <c:pt idx="186">
                  <c:v>All Others</c:v>
                </c:pt>
                <c:pt idx="187">
                  <c:v>Ruinart</c:v>
                </c:pt>
                <c:pt idx="188">
                  <c:v>All Others</c:v>
                </c:pt>
                <c:pt idx="189">
                  <c:v>Ruinart</c:v>
                </c:pt>
                <c:pt idx="190">
                  <c:v>Ruinart</c:v>
                </c:pt>
                <c:pt idx="191">
                  <c:v>All Others</c:v>
                </c:pt>
                <c:pt idx="192">
                  <c:v>Roederer</c:v>
                </c:pt>
                <c:pt idx="193">
                  <c:v>All Others</c:v>
                </c:pt>
                <c:pt idx="194">
                  <c:v>Mure</c:v>
                </c:pt>
                <c:pt idx="195">
                  <c:v>All Others</c:v>
                </c:pt>
                <c:pt idx="196">
                  <c:v>All Others</c:v>
                </c:pt>
                <c:pt idx="197">
                  <c:v>All Others</c:v>
                </c:pt>
                <c:pt idx="198">
                  <c:v>All Others</c:v>
                </c:pt>
                <c:pt idx="199">
                  <c:v>All Others</c:v>
                </c:pt>
                <c:pt idx="200">
                  <c:v>All Others</c:v>
                </c:pt>
                <c:pt idx="201">
                  <c:v>Nicolas</c:v>
                </c:pt>
                <c:pt idx="202">
                  <c:v>Vesselle</c:v>
                </c:pt>
                <c:pt idx="203">
                  <c:v>Dom Perigno</c:v>
                </c:pt>
                <c:pt idx="204">
                  <c:v>Dom Perigno</c:v>
                </c:pt>
                <c:pt idx="205">
                  <c:v>All Others</c:v>
                </c:pt>
                <c:pt idx="206">
                  <c:v>All Others</c:v>
                </c:pt>
                <c:pt idx="207">
                  <c:v>Demoiselle</c:v>
                </c:pt>
                <c:pt idx="208">
                  <c:v>Roederer</c:v>
                </c:pt>
                <c:pt idx="209">
                  <c:v>Ruinart</c:v>
                </c:pt>
                <c:pt idx="210">
                  <c:v>Deutz</c:v>
                </c:pt>
                <c:pt idx="211">
                  <c:v>Nicolas</c:v>
                </c:pt>
                <c:pt idx="212">
                  <c:v>Deutz</c:v>
                </c:pt>
                <c:pt idx="213">
                  <c:v>Taittinger</c:v>
                </c:pt>
                <c:pt idx="214">
                  <c:v>Vranken</c:v>
                </c:pt>
                <c:pt idx="215">
                  <c:v>Moët &amp; Chan</c:v>
                </c:pt>
                <c:pt idx="216">
                  <c:v>Roederer</c:v>
                </c:pt>
                <c:pt idx="217">
                  <c:v>Piper Heids</c:v>
                </c:pt>
                <c:pt idx="218">
                  <c:v>Pommery</c:v>
                </c:pt>
                <c:pt idx="219">
                  <c:v>All Others</c:v>
                </c:pt>
                <c:pt idx="220">
                  <c:v>Piper Heids</c:v>
                </c:pt>
                <c:pt idx="221">
                  <c:v>Nicolas</c:v>
                </c:pt>
                <c:pt idx="222">
                  <c:v>Besserat De</c:v>
                </c:pt>
                <c:pt idx="223">
                  <c:v>Nicolas</c:v>
                </c:pt>
                <c:pt idx="224">
                  <c:v>Ruinart</c:v>
                </c:pt>
                <c:pt idx="225">
                  <c:v>Mure</c:v>
                </c:pt>
                <c:pt idx="226">
                  <c:v>Roederer</c:v>
                </c:pt>
                <c:pt idx="227">
                  <c:v>Krug</c:v>
                </c:pt>
                <c:pt idx="228">
                  <c:v>Moët &amp; Chan</c:v>
                </c:pt>
                <c:pt idx="229">
                  <c:v>All Others</c:v>
                </c:pt>
                <c:pt idx="230">
                  <c:v>Demoiselle</c:v>
                </c:pt>
                <c:pt idx="231">
                  <c:v>Pommery</c:v>
                </c:pt>
                <c:pt idx="232">
                  <c:v>Henriot</c:v>
                </c:pt>
                <c:pt idx="233">
                  <c:v>All Others</c:v>
                </c:pt>
                <c:pt idx="234">
                  <c:v>Bollinger</c:v>
                </c:pt>
                <c:pt idx="235">
                  <c:v>Bollinger</c:v>
                </c:pt>
                <c:pt idx="236">
                  <c:v>Nicolas</c:v>
                </c:pt>
                <c:pt idx="237">
                  <c:v>Bollinger</c:v>
                </c:pt>
                <c:pt idx="238">
                  <c:v>Bouvet-Ladu</c:v>
                </c:pt>
                <c:pt idx="239">
                  <c:v>All Others</c:v>
                </c:pt>
                <c:pt idx="240">
                  <c:v>Roederer</c:v>
                </c:pt>
                <c:pt idx="241">
                  <c:v>Bouvet-Ladu</c:v>
                </c:pt>
                <c:pt idx="242">
                  <c:v>All Others</c:v>
                </c:pt>
                <c:pt idx="243">
                  <c:v>All Others</c:v>
                </c:pt>
                <c:pt idx="244">
                  <c:v>All Others</c:v>
                </c:pt>
                <c:pt idx="245">
                  <c:v>All Others</c:v>
                </c:pt>
                <c:pt idx="246">
                  <c:v>Ruinart</c:v>
                </c:pt>
                <c:pt idx="247">
                  <c:v>Taittinger</c:v>
                </c:pt>
                <c:pt idx="248">
                  <c:v>Roederer</c:v>
                </c:pt>
                <c:pt idx="249">
                  <c:v>Veuve Clicq</c:v>
                </c:pt>
                <c:pt idx="250">
                  <c:v>Bottega</c:v>
                </c:pt>
                <c:pt idx="251">
                  <c:v>Demoiselle</c:v>
                </c:pt>
                <c:pt idx="252">
                  <c:v>Vesselle</c:v>
                </c:pt>
                <c:pt idx="253">
                  <c:v>All Others</c:v>
                </c:pt>
                <c:pt idx="254">
                  <c:v>All Others</c:v>
                </c:pt>
                <c:pt idx="255">
                  <c:v>All Others</c:v>
                </c:pt>
                <c:pt idx="256">
                  <c:v>All Others</c:v>
                </c:pt>
                <c:pt idx="257">
                  <c:v>Bouvet-Ladu</c:v>
                </c:pt>
                <c:pt idx="258">
                  <c:v>Pommery</c:v>
                </c:pt>
                <c:pt idx="259">
                  <c:v>All Others</c:v>
                </c:pt>
                <c:pt idx="260">
                  <c:v>Bollinger</c:v>
                </c:pt>
                <c:pt idx="261">
                  <c:v>Roederer</c:v>
                </c:pt>
                <c:pt idx="262">
                  <c:v>Roederer</c:v>
                </c:pt>
                <c:pt idx="263">
                  <c:v>Bollinger</c:v>
                </c:pt>
                <c:pt idx="264">
                  <c:v>All Others</c:v>
                </c:pt>
                <c:pt idx="265">
                  <c:v>Pommery</c:v>
                </c:pt>
                <c:pt idx="266">
                  <c:v>De Venoge</c:v>
                </c:pt>
                <c:pt idx="267">
                  <c:v>All Others</c:v>
                </c:pt>
                <c:pt idx="268">
                  <c:v>All Others</c:v>
                </c:pt>
                <c:pt idx="269">
                  <c:v>De Venoge</c:v>
                </c:pt>
                <c:pt idx="270">
                  <c:v>Ruinart</c:v>
                </c:pt>
                <c:pt idx="271">
                  <c:v>Piper Heids</c:v>
                </c:pt>
                <c:pt idx="272">
                  <c:v>All Others</c:v>
                </c:pt>
                <c:pt idx="273">
                  <c:v>All Others</c:v>
                </c:pt>
                <c:pt idx="274">
                  <c:v>Veuve Clicq</c:v>
                </c:pt>
                <c:pt idx="275">
                  <c:v>Bollinger</c:v>
                </c:pt>
                <c:pt idx="276">
                  <c:v>Ruinart</c:v>
                </c:pt>
                <c:pt idx="277">
                  <c:v>Perrier Jou</c:v>
                </c:pt>
                <c:pt idx="278">
                  <c:v>Laurent Per</c:v>
                </c:pt>
                <c:pt idx="279">
                  <c:v>Nicolas</c:v>
                </c:pt>
                <c:pt idx="280">
                  <c:v>Celene</c:v>
                </c:pt>
                <c:pt idx="281">
                  <c:v>All Others</c:v>
                </c:pt>
                <c:pt idx="282">
                  <c:v>Lanson</c:v>
                </c:pt>
                <c:pt idx="283">
                  <c:v>Canard Duch</c:v>
                </c:pt>
                <c:pt idx="284">
                  <c:v>Celene</c:v>
                </c:pt>
                <c:pt idx="285">
                  <c:v>Bouvet-Ladu</c:v>
                </c:pt>
                <c:pt idx="286">
                  <c:v>Deutz</c:v>
                </c:pt>
                <c:pt idx="287">
                  <c:v>Nicolas Feu</c:v>
                </c:pt>
                <c:pt idx="288">
                  <c:v>Veuve Clicq</c:v>
                </c:pt>
                <c:pt idx="289">
                  <c:v>Ayala</c:v>
                </c:pt>
                <c:pt idx="290">
                  <c:v>Pommery</c:v>
                </c:pt>
                <c:pt idx="291">
                  <c:v>All Others</c:v>
                </c:pt>
                <c:pt idx="292">
                  <c:v>Moët &amp; Chan</c:v>
                </c:pt>
                <c:pt idx="293">
                  <c:v>Demoiselle</c:v>
                </c:pt>
                <c:pt idx="294">
                  <c:v>Piper Heids</c:v>
                </c:pt>
                <c:pt idx="295">
                  <c:v>De Venoge</c:v>
                </c:pt>
                <c:pt idx="296">
                  <c:v>All Others</c:v>
                </c:pt>
                <c:pt idx="297">
                  <c:v>Roederer</c:v>
                </c:pt>
                <c:pt idx="298">
                  <c:v>Bollinger</c:v>
                </c:pt>
                <c:pt idx="299">
                  <c:v>Henriot</c:v>
                </c:pt>
                <c:pt idx="300">
                  <c:v>Malard</c:v>
                </c:pt>
                <c:pt idx="301">
                  <c:v>Jaillance</c:v>
                </c:pt>
                <c:pt idx="302">
                  <c:v>Vesselle</c:v>
                </c:pt>
                <c:pt idx="303">
                  <c:v>All Others</c:v>
                </c:pt>
                <c:pt idx="304">
                  <c:v>Roederer</c:v>
                </c:pt>
                <c:pt idx="305">
                  <c:v>All Others</c:v>
                </c:pt>
                <c:pt idx="306">
                  <c:v>Bollinger</c:v>
                </c:pt>
                <c:pt idx="307">
                  <c:v>De Venoge</c:v>
                </c:pt>
                <c:pt idx="308">
                  <c:v>Ruinart</c:v>
                </c:pt>
                <c:pt idx="309">
                  <c:v>Ruinart</c:v>
                </c:pt>
                <c:pt idx="310">
                  <c:v>Bouvet-Ladu</c:v>
                </c:pt>
                <c:pt idx="311">
                  <c:v>Lanson</c:v>
                </c:pt>
                <c:pt idx="312">
                  <c:v>De Bligny</c:v>
                </c:pt>
                <c:pt idx="313">
                  <c:v>All Others</c:v>
                </c:pt>
                <c:pt idx="314">
                  <c:v>All Others</c:v>
                </c:pt>
                <c:pt idx="315">
                  <c:v>All Others</c:v>
                </c:pt>
                <c:pt idx="316">
                  <c:v>Laurent Per</c:v>
                </c:pt>
                <c:pt idx="317">
                  <c:v>All Others</c:v>
                </c:pt>
                <c:pt idx="318">
                  <c:v>All Others</c:v>
                </c:pt>
                <c:pt idx="319">
                  <c:v>Demoiselle</c:v>
                </c:pt>
                <c:pt idx="320">
                  <c:v>Piper Heids</c:v>
                </c:pt>
                <c:pt idx="321">
                  <c:v>Ayala</c:v>
                </c:pt>
                <c:pt idx="322">
                  <c:v>All Others</c:v>
                </c:pt>
                <c:pt idx="323">
                  <c:v>Pommery</c:v>
                </c:pt>
                <c:pt idx="324">
                  <c:v>All Others</c:v>
                </c:pt>
                <c:pt idx="325">
                  <c:v>Malard</c:v>
                </c:pt>
                <c:pt idx="326">
                  <c:v>Veuve Clicq</c:v>
                </c:pt>
                <c:pt idx="327">
                  <c:v>All Others</c:v>
                </c:pt>
                <c:pt idx="328">
                  <c:v>Vesselle</c:v>
                </c:pt>
                <c:pt idx="329">
                  <c:v>Besserat De</c:v>
                </c:pt>
                <c:pt idx="330">
                  <c:v>Martel</c:v>
                </c:pt>
                <c:pt idx="331">
                  <c:v>All Others</c:v>
                </c:pt>
                <c:pt idx="332">
                  <c:v>All Others</c:v>
                </c:pt>
                <c:pt idx="333">
                  <c:v>Mure</c:v>
                </c:pt>
                <c:pt idx="334">
                  <c:v>Bottega</c:v>
                </c:pt>
                <c:pt idx="335">
                  <c:v>All Others</c:v>
                </c:pt>
              </c:strCache>
            </c:strRef>
          </c:cat>
          <c:val>
            <c:numRef>
              <c:f>Sheet1!$B$2:$B$337</c:f>
              <c:numCache>
                <c:formatCode>General</c:formatCode>
                <c:ptCount val="336"/>
                <c:pt idx="0">
                  <c:v>1</c:v>
                </c:pt>
                <c:pt idx="1">
                  <c:v>0.99</c:v>
                </c:pt>
                <c:pt idx="2">
                  <c:v>1</c:v>
                </c:pt>
                <c:pt idx="3">
                  <c:v>0.95</c:v>
                </c:pt>
                <c:pt idx="4">
                  <c:v>0.79</c:v>
                </c:pt>
                <c:pt idx="5">
                  <c:v>0.97</c:v>
                </c:pt>
                <c:pt idx="6">
                  <c:v>0.94</c:v>
                </c:pt>
                <c:pt idx="7">
                  <c:v>0.96</c:v>
                </c:pt>
                <c:pt idx="8">
                  <c:v>0.74</c:v>
                </c:pt>
                <c:pt idx="9">
                  <c:v>0.85</c:v>
                </c:pt>
                <c:pt idx="10">
                  <c:v>0.92</c:v>
                </c:pt>
                <c:pt idx="11">
                  <c:v>0.98</c:v>
                </c:pt>
                <c:pt idx="12">
                  <c:v>0.82</c:v>
                </c:pt>
                <c:pt idx="13">
                  <c:v>0.83</c:v>
                </c:pt>
                <c:pt idx="14">
                  <c:v>1</c:v>
                </c:pt>
                <c:pt idx="15">
                  <c:v>0.79</c:v>
                </c:pt>
                <c:pt idx="16">
                  <c:v>0.9</c:v>
                </c:pt>
                <c:pt idx="17">
                  <c:v>0.49</c:v>
                </c:pt>
                <c:pt idx="18">
                  <c:v>0.96</c:v>
                </c:pt>
                <c:pt idx="19">
                  <c:v>0.6</c:v>
                </c:pt>
                <c:pt idx="20">
                  <c:v>0.64</c:v>
                </c:pt>
                <c:pt idx="21">
                  <c:v>0.66</c:v>
                </c:pt>
                <c:pt idx="22">
                  <c:v>0.85</c:v>
                </c:pt>
                <c:pt idx="23">
                  <c:v>0.56999999999999995</c:v>
                </c:pt>
                <c:pt idx="24">
                  <c:v>0.94</c:v>
                </c:pt>
                <c:pt idx="25">
                  <c:v>0.86</c:v>
                </c:pt>
                <c:pt idx="26">
                  <c:v>0.77</c:v>
                </c:pt>
                <c:pt idx="27">
                  <c:v>0.72</c:v>
                </c:pt>
                <c:pt idx="28">
                  <c:v>0.75</c:v>
                </c:pt>
                <c:pt idx="29">
                  <c:v>0.76</c:v>
                </c:pt>
                <c:pt idx="30">
                  <c:v>0.81</c:v>
                </c:pt>
                <c:pt idx="31">
                  <c:v>0.83</c:v>
                </c:pt>
                <c:pt idx="32">
                  <c:v>0.56999999999999995</c:v>
                </c:pt>
                <c:pt idx="33">
                  <c:v>0.85</c:v>
                </c:pt>
                <c:pt idx="34">
                  <c:v>0.75</c:v>
                </c:pt>
                <c:pt idx="35">
                  <c:v>0.83</c:v>
                </c:pt>
                <c:pt idx="36">
                  <c:v>0.82</c:v>
                </c:pt>
                <c:pt idx="37">
                  <c:v>0.56000000000000005</c:v>
                </c:pt>
                <c:pt idx="38">
                  <c:v>0.94</c:v>
                </c:pt>
                <c:pt idx="39">
                  <c:v>0.86</c:v>
                </c:pt>
                <c:pt idx="40">
                  <c:v>0.4</c:v>
                </c:pt>
                <c:pt idx="41">
                  <c:v>0.77</c:v>
                </c:pt>
                <c:pt idx="42">
                  <c:v>0.86</c:v>
                </c:pt>
                <c:pt idx="43">
                  <c:v>0.42</c:v>
                </c:pt>
                <c:pt idx="44">
                  <c:v>0.83</c:v>
                </c:pt>
                <c:pt idx="45">
                  <c:v>0.8</c:v>
                </c:pt>
                <c:pt idx="46">
                  <c:v>0.36</c:v>
                </c:pt>
                <c:pt idx="47">
                  <c:v>0.52</c:v>
                </c:pt>
                <c:pt idx="48">
                  <c:v>0.42</c:v>
                </c:pt>
                <c:pt idx="49">
                  <c:v>0.56000000000000005</c:v>
                </c:pt>
                <c:pt idx="50">
                  <c:v>0.47</c:v>
                </c:pt>
                <c:pt idx="51">
                  <c:v>0.75</c:v>
                </c:pt>
                <c:pt idx="52">
                  <c:v>0.78</c:v>
                </c:pt>
                <c:pt idx="53">
                  <c:v>0.75</c:v>
                </c:pt>
                <c:pt idx="54">
                  <c:v>0.75</c:v>
                </c:pt>
                <c:pt idx="55">
                  <c:v>0.73</c:v>
                </c:pt>
                <c:pt idx="56">
                  <c:v>0.59</c:v>
                </c:pt>
                <c:pt idx="57">
                  <c:v>0.77</c:v>
                </c:pt>
                <c:pt idx="58">
                  <c:v>0.64</c:v>
                </c:pt>
                <c:pt idx="59">
                  <c:v>0.53</c:v>
                </c:pt>
                <c:pt idx="60">
                  <c:v>0.6</c:v>
                </c:pt>
                <c:pt idx="61">
                  <c:v>0.9</c:v>
                </c:pt>
                <c:pt idx="62">
                  <c:v>0.59</c:v>
                </c:pt>
                <c:pt idx="63">
                  <c:v>0.7</c:v>
                </c:pt>
                <c:pt idx="64">
                  <c:v>0.17</c:v>
                </c:pt>
                <c:pt idx="65">
                  <c:v>0.68</c:v>
                </c:pt>
                <c:pt idx="66">
                  <c:v>0.44</c:v>
                </c:pt>
                <c:pt idx="67">
                  <c:v>0.5</c:v>
                </c:pt>
                <c:pt idx="68">
                  <c:v>0.6</c:v>
                </c:pt>
                <c:pt idx="69">
                  <c:v>0.05</c:v>
                </c:pt>
                <c:pt idx="70">
                  <c:v>0.73</c:v>
                </c:pt>
                <c:pt idx="71">
                  <c:v>0.63</c:v>
                </c:pt>
                <c:pt idx="72">
                  <c:v>0.5</c:v>
                </c:pt>
                <c:pt idx="73">
                  <c:v>0.39</c:v>
                </c:pt>
                <c:pt idx="74">
                  <c:v>0.81</c:v>
                </c:pt>
                <c:pt idx="75">
                  <c:v>0.67</c:v>
                </c:pt>
                <c:pt idx="76">
                  <c:v>0.44</c:v>
                </c:pt>
                <c:pt idx="77">
                  <c:v>0.35</c:v>
                </c:pt>
                <c:pt idx="78">
                  <c:v>0.83</c:v>
                </c:pt>
                <c:pt idx="79">
                  <c:v>0.36</c:v>
                </c:pt>
                <c:pt idx="80">
                  <c:v>0.39</c:v>
                </c:pt>
                <c:pt idx="81">
                  <c:v>0.47</c:v>
                </c:pt>
                <c:pt idx="82">
                  <c:v>0.48</c:v>
                </c:pt>
                <c:pt idx="83">
                  <c:v>0.39</c:v>
                </c:pt>
                <c:pt idx="84">
                  <c:v>0.56000000000000005</c:v>
                </c:pt>
                <c:pt idx="85">
                  <c:v>0.43</c:v>
                </c:pt>
                <c:pt idx="86">
                  <c:v>0.62</c:v>
                </c:pt>
                <c:pt idx="87">
                  <c:v>0.33</c:v>
                </c:pt>
                <c:pt idx="88">
                  <c:v>0.43</c:v>
                </c:pt>
                <c:pt idx="89">
                  <c:v>0.48</c:v>
                </c:pt>
                <c:pt idx="90">
                  <c:v>0.44</c:v>
                </c:pt>
                <c:pt idx="91">
                  <c:v>0.55000000000000004</c:v>
                </c:pt>
                <c:pt idx="92">
                  <c:v>0.39</c:v>
                </c:pt>
                <c:pt idx="93">
                  <c:v>0.3</c:v>
                </c:pt>
                <c:pt idx="94">
                  <c:v>0.49</c:v>
                </c:pt>
                <c:pt idx="95">
                  <c:v>0.42</c:v>
                </c:pt>
                <c:pt idx="96">
                  <c:v>0.4</c:v>
                </c:pt>
                <c:pt idx="97">
                  <c:v>0.35</c:v>
                </c:pt>
                <c:pt idx="98">
                  <c:v>0.48</c:v>
                </c:pt>
                <c:pt idx="99">
                  <c:v>0.34</c:v>
                </c:pt>
                <c:pt idx="100">
                  <c:v>0.28000000000000003</c:v>
                </c:pt>
                <c:pt idx="101">
                  <c:v>0.38</c:v>
                </c:pt>
                <c:pt idx="102">
                  <c:v>0.19</c:v>
                </c:pt>
                <c:pt idx="103">
                  <c:v>0.53</c:v>
                </c:pt>
                <c:pt idx="104">
                  <c:v>0.47</c:v>
                </c:pt>
                <c:pt idx="105">
                  <c:v>0.14000000000000001</c:v>
                </c:pt>
                <c:pt idx="106">
                  <c:v>0.41</c:v>
                </c:pt>
                <c:pt idx="107">
                  <c:v>0.49</c:v>
                </c:pt>
                <c:pt idx="108">
                  <c:v>0.56000000000000005</c:v>
                </c:pt>
                <c:pt idx="109">
                  <c:v>0.52</c:v>
                </c:pt>
                <c:pt idx="110">
                  <c:v>0.39</c:v>
                </c:pt>
                <c:pt idx="111">
                  <c:v>0.17</c:v>
                </c:pt>
                <c:pt idx="112">
                  <c:v>0.19</c:v>
                </c:pt>
                <c:pt idx="113">
                  <c:v>0.05</c:v>
                </c:pt>
                <c:pt idx="114">
                  <c:v>0.4</c:v>
                </c:pt>
                <c:pt idx="115">
                  <c:v>0.52</c:v>
                </c:pt>
                <c:pt idx="116">
                  <c:v>0.24</c:v>
                </c:pt>
                <c:pt idx="117">
                  <c:v>0.48</c:v>
                </c:pt>
                <c:pt idx="118">
                  <c:v>0.3</c:v>
                </c:pt>
                <c:pt idx="119">
                  <c:v>0.36</c:v>
                </c:pt>
                <c:pt idx="120">
                  <c:v>0.34</c:v>
                </c:pt>
                <c:pt idx="121">
                  <c:v>0.34</c:v>
                </c:pt>
                <c:pt idx="122">
                  <c:v>0.66</c:v>
                </c:pt>
                <c:pt idx="123">
                  <c:v>0.39</c:v>
                </c:pt>
                <c:pt idx="124">
                  <c:v>0.38</c:v>
                </c:pt>
                <c:pt idx="125">
                  <c:v>0.34</c:v>
                </c:pt>
                <c:pt idx="126">
                  <c:v>0.28000000000000003</c:v>
                </c:pt>
                <c:pt idx="127">
                  <c:v>0.36</c:v>
                </c:pt>
                <c:pt idx="128">
                  <c:v>0.39</c:v>
                </c:pt>
                <c:pt idx="129">
                  <c:v>0.39</c:v>
                </c:pt>
                <c:pt idx="130">
                  <c:v>0.23</c:v>
                </c:pt>
                <c:pt idx="131">
                  <c:v>0.2</c:v>
                </c:pt>
                <c:pt idx="132">
                  <c:v>0.04</c:v>
                </c:pt>
                <c:pt idx="133">
                  <c:v>0.56999999999999995</c:v>
                </c:pt>
                <c:pt idx="134">
                  <c:v>0.16</c:v>
                </c:pt>
                <c:pt idx="135">
                  <c:v>0.15</c:v>
                </c:pt>
                <c:pt idx="136">
                  <c:v>0.34</c:v>
                </c:pt>
                <c:pt idx="137">
                  <c:v>0.46</c:v>
                </c:pt>
                <c:pt idx="138">
                  <c:v>0.23</c:v>
                </c:pt>
                <c:pt idx="139">
                  <c:v>0.16</c:v>
                </c:pt>
                <c:pt idx="140">
                  <c:v>7.0000000000000007E-2</c:v>
                </c:pt>
                <c:pt idx="141">
                  <c:v>0.43</c:v>
                </c:pt>
                <c:pt idx="142">
                  <c:v>0.36</c:v>
                </c:pt>
                <c:pt idx="143">
                  <c:v>0.3</c:v>
                </c:pt>
                <c:pt idx="144">
                  <c:v>0.27</c:v>
                </c:pt>
                <c:pt idx="145">
                  <c:v>0.22</c:v>
                </c:pt>
                <c:pt idx="146">
                  <c:v>0.34</c:v>
                </c:pt>
                <c:pt idx="147">
                  <c:v>0.27</c:v>
                </c:pt>
                <c:pt idx="148">
                  <c:v>0.09</c:v>
                </c:pt>
                <c:pt idx="149">
                  <c:v>0.04</c:v>
                </c:pt>
                <c:pt idx="150">
                  <c:v>0.05</c:v>
                </c:pt>
                <c:pt idx="151">
                  <c:v>0.32</c:v>
                </c:pt>
                <c:pt idx="152">
                  <c:v>0.32</c:v>
                </c:pt>
                <c:pt idx="153">
                  <c:v>0.36</c:v>
                </c:pt>
                <c:pt idx="154">
                  <c:v>0.41</c:v>
                </c:pt>
                <c:pt idx="155">
                  <c:v>0.4</c:v>
                </c:pt>
                <c:pt idx="156">
                  <c:v>0.56000000000000005</c:v>
                </c:pt>
                <c:pt idx="157">
                  <c:v>0.36</c:v>
                </c:pt>
                <c:pt idx="158">
                  <c:v>0.34</c:v>
                </c:pt>
                <c:pt idx="159">
                  <c:v>0.23</c:v>
                </c:pt>
                <c:pt idx="160">
                  <c:v>0.25</c:v>
                </c:pt>
                <c:pt idx="161">
                  <c:v>0.16</c:v>
                </c:pt>
                <c:pt idx="162">
                  <c:v>0.21</c:v>
                </c:pt>
                <c:pt idx="163">
                  <c:v>0.39</c:v>
                </c:pt>
                <c:pt idx="164">
                  <c:v>0.21</c:v>
                </c:pt>
                <c:pt idx="165">
                  <c:v>0.53</c:v>
                </c:pt>
                <c:pt idx="166">
                  <c:v>0.1</c:v>
                </c:pt>
                <c:pt idx="167">
                  <c:v>0.13</c:v>
                </c:pt>
                <c:pt idx="168">
                  <c:v>0.21</c:v>
                </c:pt>
                <c:pt idx="169">
                  <c:v>0.44</c:v>
                </c:pt>
                <c:pt idx="170">
                  <c:v>0.34</c:v>
                </c:pt>
                <c:pt idx="171">
                  <c:v>0.2</c:v>
                </c:pt>
                <c:pt idx="172">
                  <c:v>0.39</c:v>
                </c:pt>
                <c:pt idx="173">
                  <c:v>0.21</c:v>
                </c:pt>
                <c:pt idx="174">
                  <c:v>0.27</c:v>
                </c:pt>
                <c:pt idx="175">
                  <c:v>0.2</c:v>
                </c:pt>
                <c:pt idx="176">
                  <c:v>0.28000000000000003</c:v>
                </c:pt>
                <c:pt idx="177">
                  <c:v>0.36</c:v>
                </c:pt>
                <c:pt idx="178">
                  <c:v>0.5</c:v>
                </c:pt>
                <c:pt idx="179">
                  <c:v>0.18</c:v>
                </c:pt>
                <c:pt idx="180">
                  <c:v>0.14000000000000001</c:v>
                </c:pt>
                <c:pt idx="181">
                  <c:v>0.36</c:v>
                </c:pt>
                <c:pt idx="182">
                  <c:v>0.34</c:v>
                </c:pt>
                <c:pt idx="183">
                  <c:v>0.2</c:v>
                </c:pt>
                <c:pt idx="184">
                  <c:v>0.16</c:v>
                </c:pt>
                <c:pt idx="185">
                  <c:v>0.22</c:v>
                </c:pt>
                <c:pt idx="186">
                  <c:v>0.34</c:v>
                </c:pt>
                <c:pt idx="187">
                  <c:v>0.13</c:v>
                </c:pt>
                <c:pt idx="188">
                  <c:v>0.03</c:v>
                </c:pt>
                <c:pt idx="189">
                  <c:v>0.14000000000000001</c:v>
                </c:pt>
                <c:pt idx="190">
                  <c:v>0.13</c:v>
                </c:pt>
                <c:pt idx="191">
                  <c:v>0.23</c:v>
                </c:pt>
                <c:pt idx="192">
                  <c:v>0.05</c:v>
                </c:pt>
                <c:pt idx="193">
                  <c:v>0.15</c:v>
                </c:pt>
                <c:pt idx="194">
                  <c:v>0.04</c:v>
                </c:pt>
                <c:pt idx="195">
                  <c:v>0.15</c:v>
                </c:pt>
                <c:pt idx="196">
                  <c:v>0.04</c:v>
                </c:pt>
                <c:pt idx="197">
                  <c:v>0.09</c:v>
                </c:pt>
                <c:pt idx="198">
                  <c:v>0.12</c:v>
                </c:pt>
                <c:pt idx="199">
                  <c:v>0.08</c:v>
                </c:pt>
                <c:pt idx="200">
                  <c:v>0.15</c:v>
                </c:pt>
                <c:pt idx="201">
                  <c:v>0.3</c:v>
                </c:pt>
                <c:pt idx="202">
                  <c:v>0.2</c:v>
                </c:pt>
                <c:pt idx="203">
                  <c:v>0.39</c:v>
                </c:pt>
                <c:pt idx="204">
                  <c:v>0.15</c:v>
                </c:pt>
                <c:pt idx="205">
                  <c:v>0.11</c:v>
                </c:pt>
                <c:pt idx="206">
                  <c:v>0.08</c:v>
                </c:pt>
                <c:pt idx="207">
                  <c:v>0.3</c:v>
                </c:pt>
                <c:pt idx="208">
                  <c:v>0.04</c:v>
                </c:pt>
                <c:pt idx="209">
                  <c:v>0.03</c:v>
                </c:pt>
                <c:pt idx="210">
                  <c:v>0.02</c:v>
                </c:pt>
                <c:pt idx="211">
                  <c:v>0.19</c:v>
                </c:pt>
                <c:pt idx="212">
                  <c:v>0.28000000000000003</c:v>
                </c:pt>
                <c:pt idx="213">
                  <c:v>0.04</c:v>
                </c:pt>
                <c:pt idx="214">
                  <c:v>0.13</c:v>
                </c:pt>
                <c:pt idx="215">
                  <c:v>0.39</c:v>
                </c:pt>
                <c:pt idx="216">
                  <c:v>0.08</c:v>
                </c:pt>
                <c:pt idx="217">
                  <c:v>0.18</c:v>
                </c:pt>
                <c:pt idx="218">
                  <c:v>0.37</c:v>
                </c:pt>
                <c:pt idx="219">
                  <c:v>0.2</c:v>
                </c:pt>
                <c:pt idx="220">
                  <c:v>0.08</c:v>
                </c:pt>
                <c:pt idx="221">
                  <c:v>0.15</c:v>
                </c:pt>
                <c:pt idx="222">
                  <c:v>0.15</c:v>
                </c:pt>
                <c:pt idx="223">
                  <c:v>0.08</c:v>
                </c:pt>
                <c:pt idx="224">
                  <c:v>0.15</c:v>
                </c:pt>
                <c:pt idx="225">
                  <c:v>0.03</c:v>
                </c:pt>
                <c:pt idx="226">
                  <c:v>0.06</c:v>
                </c:pt>
                <c:pt idx="227">
                  <c:v>0.3</c:v>
                </c:pt>
                <c:pt idx="228">
                  <c:v>0.04</c:v>
                </c:pt>
                <c:pt idx="229">
                  <c:v>0.36</c:v>
                </c:pt>
                <c:pt idx="230">
                  <c:v>7.0000000000000007E-2</c:v>
                </c:pt>
                <c:pt idx="231">
                  <c:v>0.26</c:v>
                </c:pt>
                <c:pt idx="232">
                  <c:v>0.08</c:v>
                </c:pt>
                <c:pt idx="233">
                  <c:v>0.39</c:v>
                </c:pt>
                <c:pt idx="234">
                  <c:v>0.39</c:v>
                </c:pt>
                <c:pt idx="235">
                  <c:v>0.05</c:v>
                </c:pt>
                <c:pt idx="236">
                  <c:v>0.06</c:v>
                </c:pt>
                <c:pt idx="237">
                  <c:v>0.08</c:v>
                </c:pt>
                <c:pt idx="238">
                  <c:v>0.21</c:v>
                </c:pt>
                <c:pt idx="239">
                  <c:v>0.09</c:v>
                </c:pt>
                <c:pt idx="240">
                  <c:v>0.06</c:v>
                </c:pt>
                <c:pt idx="241">
                  <c:v>0.15</c:v>
                </c:pt>
                <c:pt idx="242">
                  <c:v>0.11</c:v>
                </c:pt>
                <c:pt idx="243">
                  <c:v>0.16</c:v>
                </c:pt>
                <c:pt idx="244">
                  <c:v>0.39</c:v>
                </c:pt>
                <c:pt idx="245">
                  <c:v>0.05</c:v>
                </c:pt>
                <c:pt idx="246">
                  <c:v>0.05</c:v>
                </c:pt>
                <c:pt idx="247">
                  <c:v>0.28000000000000003</c:v>
                </c:pt>
                <c:pt idx="248">
                  <c:v>0.06</c:v>
                </c:pt>
                <c:pt idx="249">
                  <c:v>0.14000000000000001</c:v>
                </c:pt>
                <c:pt idx="250">
                  <c:v>0.24</c:v>
                </c:pt>
                <c:pt idx="251">
                  <c:v>0.34</c:v>
                </c:pt>
                <c:pt idx="252">
                  <c:v>0.06</c:v>
                </c:pt>
                <c:pt idx="253">
                  <c:v>7.0000000000000007E-2</c:v>
                </c:pt>
                <c:pt idx="254">
                  <c:v>0.11</c:v>
                </c:pt>
                <c:pt idx="255">
                  <c:v>0.04</c:v>
                </c:pt>
                <c:pt idx="256">
                  <c:v>0.06</c:v>
                </c:pt>
                <c:pt idx="257">
                  <c:v>0.24</c:v>
                </c:pt>
                <c:pt idx="258">
                  <c:v>0.16</c:v>
                </c:pt>
                <c:pt idx="259">
                  <c:v>0.05</c:v>
                </c:pt>
                <c:pt idx="260">
                  <c:v>0.16</c:v>
                </c:pt>
                <c:pt idx="261">
                  <c:v>0.02</c:v>
                </c:pt>
                <c:pt idx="262">
                  <c:v>0.09</c:v>
                </c:pt>
                <c:pt idx="263">
                  <c:v>0.08</c:v>
                </c:pt>
                <c:pt idx="264">
                  <c:v>0.17</c:v>
                </c:pt>
                <c:pt idx="265">
                  <c:v>0.21</c:v>
                </c:pt>
                <c:pt idx="266">
                  <c:v>0.15</c:v>
                </c:pt>
                <c:pt idx="267">
                  <c:v>0.04</c:v>
                </c:pt>
                <c:pt idx="268">
                  <c:v>0.02</c:v>
                </c:pt>
                <c:pt idx="269">
                  <c:v>7.0000000000000007E-2</c:v>
                </c:pt>
                <c:pt idx="270">
                  <c:v>0.03</c:v>
                </c:pt>
                <c:pt idx="271">
                  <c:v>0.02</c:v>
                </c:pt>
                <c:pt idx="272">
                  <c:v>0.04</c:v>
                </c:pt>
                <c:pt idx="273">
                  <c:v>0.04</c:v>
                </c:pt>
                <c:pt idx="274">
                  <c:v>0.39</c:v>
                </c:pt>
                <c:pt idx="275">
                  <c:v>0.1</c:v>
                </c:pt>
                <c:pt idx="276">
                  <c:v>0.03</c:v>
                </c:pt>
                <c:pt idx="277">
                  <c:v>0.26</c:v>
                </c:pt>
                <c:pt idx="278">
                  <c:v>0.02</c:v>
                </c:pt>
                <c:pt idx="279">
                  <c:v>0.12</c:v>
                </c:pt>
                <c:pt idx="280">
                  <c:v>7.0000000000000007E-2</c:v>
                </c:pt>
                <c:pt idx="281">
                  <c:v>0.21</c:v>
                </c:pt>
                <c:pt idx="282">
                  <c:v>7.0000000000000007E-2</c:v>
                </c:pt>
                <c:pt idx="283">
                  <c:v>7.0000000000000007E-2</c:v>
                </c:pt>
                <c:pt idx="284">
                  <c:v>0.12</c:v>
                </c:pt>
                <c:pt idx="285">
                  <c:v>0.05</c:v>
                </c:pt>
                <c:pt idx="286">
                  <c:v>0.03</c:v>
                </c:pt>
                <c:pt idx="287">
                  <c:v>0.09</c:v>
                </c:pt>
                <c:pt idx="288">
                  <c:v>0.05</c:v>
                </c:pt>
                <c:pt idx="289">
                  <c:v>0.12</c:v>
                </c:pt>
                <c:pt idx="290">
                  <c:v>0.02</c:v>
                </c:pt>
                <c:pt idx="291">
                  <c:v>0.39</c:v>
                </c:pt>
                <c:pt idx="292">
                  <c:v>0.21</c:v>
                </c:pt>
                <c:pt idx="293">
                  <c:v>0.09</c:v>
                </c:pt>
                <c:pt idx="294">
                  <c:v>0.08</c:v>
                </c:pt>
                <c:pt idx="295">
                  <c:v>0.03</c:v>
                </c:pt>
                <c:pt idx="296">
                  <c:v>0.02</c:v>
                </c:pt>
                <c:pt idx="297">
                  <c:v>0.02</c:v>
                </c:pt>
                <c:pt idx="298">
                  <c:v>0.04</c:v>
                </c:pt>
                <c:pt idx="299">
                  <c:v>0.03</c:v>
                </c:pt>
                <c:pt idx="300">
                  <c:v>0.01</c:v>
                </c:pt>
                <c:pt idx="301">
                  <c:v>0.09</c:v>
                </c:pt>
                <c:pt idx="302">
                  <c:v>0.39</c:v>
                </c:pt>
                <c:pt idx="303">
                  <c:v>0.04</c:v>
                </c:pt>
                <c:pt idx="304">
                  <c:v>0.08</c:v>
                </c:pt>
                <c:pt idx="305">
                  <c:v>0.53</c:v>
                </c:pt>
                <c:pt idx="306">
                  <c:v>0.03</c:v>
                </c:pt>
                <c:pt idx="307">
                  <c:v>0.01</c:v>
                </c:pt>
                <c:pt idx="308">
                  <c:v>0.06</c:v>
                </c:pt>
                <c:pt idx="309">
                  <c:v>7.0000000000000007E-2</c:v>
                </c:pt>
                <c:pt idx="310">
                  <c:v>0.03</c:v>
                </c:pt>
                <c:pt idx="311">
                  <c:v>0.03</c:v>
                </c:pt>
                <c:pt idx="312">
                  <c:v>0.04</c:v>
                </c:pt>
                <c:pt idx="313">
                  <c:v>0.12</c:v>
                </c:pt>
                <c:pt idx="314">
                  <c:v>0.02</c:v>
                </c:pt>
                <c:pt idx="315">
                  <c:v>0.05</c:v>
                </c:pt>
                <c:pt idx="316">
                  <c:v>0.02</c:v>
                </c:pt>
                <c:pt idx="317">
                  <c:v>0.15</c:v>
                </c:pt>
                <c:pt idx="318">
                  <c:v>0.03</c:v>
                </c:pt>
                <c:pt idx="319">
                  <c:v>0.16</c:v>
                </c:pt>
                <c:pt idx="320">
                  <c:v>0.05</c:v>
                </c:pt>
                <c:pt idx="321">
                  <c:v>7.0000000000000007E-2</c:v>
                </c:pt>
                <c:pt idx="322">
                  <c:v>0.06</c:v>
                </c:pt>
                <c:pt idx="323">
                  <c:v>0.03</c:v>
                </c:pt>
                <c:pt idx="324">
                  <c:v>0.16</c:v>
                </c:pt>
                <c:pt idx="325">
                  <c:v>0.03</c:v>
                </c:pt>
                <c:pt idx="326">
                  <c:v>0.04</c:v>
                </c:pt>
                <c:pt idx="327">
                  <c:v>0.05</c:v>
                </c:pt>
                <c:pt idx="328">
                  <c:v>0.02</c:v>
                </c:pt>
                <c:pt idx="329">
                  <c:v>0.04</c:v>
                </c:pt>
                <c:pt idx="330">
                  <c:v>0.02</c:v>
                </c:pt>
                <c:pt idx="331">
                  <c:v>0.02</c:v>
                </c:pt>
                <c:pt idx="332">
                  <c:v>0.01</c:v>
                </c:pt>
                <c:pt idx="333">
                  <c:v>0.03</c:v>
                </c:pt>
                <c:pt idx="334">
                  <c:v>0.01</c:v>
                </c:pt>
                <c:pt idx="33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1FE5-4A07-9249-9BDBBED3011B}"/>
              </c:ext>
            </c:extLst>
          </c:dPt>
          <c:dPt>
            <c:idx val="211"/>
            <c:invertIfNegative val="1"/>
            <c:bubble3D val="0"/>
            <c:spPr>
              <a:solidFill>
                <a:srgbClr val="AEABAB"/>
              </a:solidFill>
            </c:spPr>
            <c:extLst>
              <c:ext xmlns:c16="http://schemas.microsoft.com/office/drawing/2014/chart" uri="{C3380CC4-5D6E-409C-BE32-E72D297353CC}">
                <c16:uniqueId val="{000001A9-1FE5-4A07-9249-9BDBBED3011B}"/>
              </c:ext>
            </c:extLst>
          </c:dPt>
          <c:dPt>
            <c:idx val="212"/>
            <c:invertIfNegative val="1"/>
            <c:bubble3D val="0"/>
            <c:spPr>
              <a:solidFill>
                <a:srgbClr val="AEABAB"/>
              </a:solidFill>
            </c:spPr>
            <c:extLst>
              <c:ext xmlns:c16="http://schemas.microsoft.com/office/drawing/2014/chart" uri="{C3380CC4-5D6E-409C-BE32-E72D297353CC}">
                <c16:uniqueId val="{000001AB-1FE5-4A07-9249-9BDBBED3011B}"/>
              </c:ext>
            </c:extLst>
          </c:dPt>
          <c:dPt>
            <c:idx val="213"/>
            <c:invertIfNegative val="1"/>
            <c:bubble3D val="0"/>
            <c:spPr>
              <a:solidFill>
                <a:srgbClr val="AEABAB"/>
              </a:solidFill>
            </c:spPr>
            <c:extLst>
              <c:ext xmlns:c16="http://schemas.microsoft.com/office/drawing/2014/chart" uri="{C3380CC4-5D6E-409C-BE32-E72D297353CC}">
                <c16:uniqueId val="{000001AD-1FE5-4A07-9249-9BDBBED3011B}"/>
              </c:ext>
            </c:extLst>
          </c:dPt>
          <c:dPt>
            <c:idx val="214"/>
            <c:invertIfNegative val="1"/>
            <c:bubble3D val="0"/>
            <c:spPr>
              <a:solidFill>
                <a:srgbClr val="AEABAB"/>
              </a:solidFill>
            </c:spPr>
            <c:extLst>
              <c:ext xmlns:c16="http://schemas.microsoft.com/office/drawing/2014/chart" uri="{C3380CC4-5D6E-409C-BE32-E72D297353CC}">
                <c16:uniqueId val="{000001AF-1FE5-4A07-9249-9BDBBED3011B}"/>
              </c:ext>
            </c:extLst>
          </c:dPt>
          <c:dPt>
            <c:idx val="215"/>
            <c:invertIfNegative val="1"/>
            <c:bubble3D val="0"/>
            <c:spPr>
              <a:solidFill>
                <a:srgbClr val="AEABAB"/>
              </a:solidFill>
            </c:spPr>
            <c:extLst>
              <c:ext xmlns:c16="http://schemas.microsoft.com/office/drawing/2014/chart" uri="{C3380CC4-5D6E-409C-BE32-E72D297353CC}">
                <c16:uniqueId val="{000001B1-1FE5-4A07-9249-9BDBBED3011B}"/>
              </c:ext>
            </c:extLst>
          </c:dPt>
          <c:dPt>
            <c:idx val="216"/>
            <c:invertIfNegative val="1"/>
            <c:bubble3D val="0"/>
            <c:spPr>
              <a:solidFill>
                <a:srgbClr val="AEABAB"/>
              </a:solidFill>
            </c:spPr>
            <c:extLst>
              <c:ext xmlns:c16="http://schemas.microsoft.com/office/drawing/2014/chart" uri="{C3380CC4-5D6E-409C-BE32-E72D297353CC}">
                <c16:uniqueId val="{000001B3-1FE5-4A07-9249-9BDBBED3011B}"/>
              </c:ext>
            </c:extLst>
          </c:dPt>
          <c:dPt>
            <c:idx val="217"/>
            <c:invertIfNegative val="1"/>
            <c:bubble3D val="0"/>
            <c:spPr>
              <a:solidFill>
                <a:srgbClr val="AEABAB"/>
              </a:solidFill>
            </c:spPr>
            <c:extLst>
              <c:ext xmlns:c16="http://schemas.microsoft.com/office/drawing/2014/chart" uri="{C3380CC4-5D6E-409C-BE32-E72D297353CC}">
                <c16:uniqueId val="{000001B5-1FE5-4A07-9249-9BDBBED3011B}"/>
              </c:ext>
            </c:extLst>
          </c:dPt>
          <c:dPt>
            <c:idx val="218"/>
            <c:invertIfNegative val="1"/>
            <c:bubble3D val="0"/>
            <c:spPr>
              <a:solidFill>
                <a:srgbClr val="AEABAB"/>
              </a:solidFill>
            </c:spPr>
            <c:extLst>
              <c:ext xmlns:c16="http://schemas.microsoft.com/office/drawing/2014/chart" uri="{C3380CC4-5D6E-409C-BE32-E72D297353CC}">
                <c16:uniqueId val="{000001B7-1FE5-4A07-9249-9BDBBED3011B}"/>
              </c:ext>
            </c:extLst>
          </c:dPt>
          <c:dPt>
            <c:idx val="219"/>
            <c:invertIfNegative val="1"/>
            <c:bubble3D val="0"/>
            <c:spPr>
              <a:solidFill>
                <a:srgbClr val="AEABAB"/>
              </a:solidFill>
            </c:spPr>
            <c:extLst>
              <c:ext xmlns:c16="http://schemas.microsoft.com/office/drawing/2014/chart" uri="{C3380CC4-5D6E-409C-BE32-E72D297353CC}">
                <c16:uniqueId val="{000001B9-1FE5-4A07-9249-9BDBBED3011B}"/>
              </c:ext>
            </c:extLst>
          </c:dPt>
          <c:dPt>
            <c:idx val="220"/>
            <c:invertIfNegative val="1"/>
            <c:bubble3D val="0"/>
            <c:spPr>
              <a:solidFill>
                <a:srgbClr val="AEABAB"/>
              </a:solidFill>
            </c:spPr>
            <c:extLst>
              <c:ext xmlns:c16="http://schemas.microsoft.com/office/drawing/2014/chart" uri="{C3380CC4-5D6E-409C-BE32-E72D297353CC}">
                <c16:uniqueId val="{000001BB-1FE5-4A07-9249-9BDBBED3011B}"/>
              </c:ext>
            </c:extLst>
          </c:dPt>
          <c:dPt>
            <c:idx val="221"/>
            <c:invertIfNegative val="1"/>
            <c:bubble3D val="0"/>
            <c:spPr>
              <a:solidFill>
                <a:srgbClr val="AEABAB"/>
              </a:solidFill>
            </c:spPr>
            <c:extLst>
              <c:ext xmlns:c16="http://schemas.microsoft.com/office/drawing/2014/chart" uri="{C3380CC4-5D6E-409C-BE32-E72D297353CC}">
                <c16:uniqueId val="{000001BD-1FE5-4A07-9249-9BDBBED3011B}"/>
              </c:ext>
            </c:extLst>
          </c:dPt>
          <c:dPt>
            <c:idx val="222"/>
            <c:invertIfNegative val="1"/>
            <c:bubble3D val="0"/>
            <c:spPr>
              <a:solidFill>
                <a:srgbClr val="AEABAB"/>
              </a:solidFill>
            </c:spPr>
            <c:extLst>
              <c:ext xmlns:c16="http://schemas.microsoft.com/office/drawing/2014/chart" uri="{C3380CC4-5D6E-409C-BE32-E72D297353CC}">
                <c16:uniqueId val="{000001BF-1FE5-4A07-9249-9BDBBED3011B}"/>
              </c:ext>
            </c:extLst>
          </c:dPt>
          <c:dPt>
            <c:idx val="223"/>
            <c:invertIfNegative val="1"/>
            <c:bubble3D val="0"/>
            <c:spPr>
              <a:solidFill>
                <a:srgbClr val="AEABAB"/>
              </a:solidFill>
            </c:spPr>
            <c:extLst>
              <c:ext xmlns:c16="http://schemas.microsoft.com/office/drawing/2014/chart" uri="{C3380CC4-5D6E-409C-BE32-E72D297353CC}">
                <c16:uniqueId val="{000001C1-1FE5-4A07-9249-9BDBBED3011B}"/>
              </c:ext>
            </c:extLst>
          </c:dPt>
          <c:dPt>
            <c:idx val="224"/>
            <c:invertIfNegative val="1"/>
            <c:bubble3D val="0"/>
            <c:spPr>
              <a:solidFill>
                <a:srgbClr val="AEABAB"/>
              </a:solidFill>
            </c:spPr>
            <c:extLst>
              <c:ext xmlns:c16="http://schemas.microsoft.com/office/drawing/2014/chart" uri="{C3380CC4-5D6E-409C-BE32-E72D297353CC}">
                <c16:uniqueId val="{000001C3-1FE5-4A07-9249-9BDBBED3011B}"/>
              </c:ext>
            </c:extLst>
          </c:dPt>
          <c:dPt>
            <c:idx val="225"/>
            <c:invertIfNegative val="1"/>
            <c:bubble3D val="0"/>
            <c:spPr>
              <a:solidFill>
                <a:srgbClr val="AEABAB"/>
              </a:solidFill>
            </c:spPr>
            <c:extLst>
              <c:ext xmlns:c16="http://schemas.microsoft.com/office/drawing/2014/chart" uri="{C3380CC4-5D6E-409C-BE32-E72D297353CC}">
                <c16:uniqueId val="{000001C5-1FE5-4A07-9249-9BDBBED3011B}"/>
              </c:ext>
            </c:extLst>
          </c:dPt>
          <c:dPt>
            <c:idx val="226"/>
            <c:invertIfNegative val="1"/>
            <c:bubble3D val="0"/>
            <c:spPr>
              <a:solidFill>
                <a:srgbClr val="AEABAB"/>
              </a:solidFill>
            </c:spPr>
            <c:extLst>
              <c:ext xmlns:c16="http://schemas.microsoft.com/office/drawing/2014/chart" uri="{C3380CC4-5D6E-409C-BE32-E72D297353CC}">
                <c16:uniqueId val="{000001C7-1FE5-4A07-9249-9BDBBED3011B}"/>
              </c:ext>
            </c:extLst>
          </c:dPt>
          <c:dPt>
            <c:idx val="227"/>
            <c:invertIfNegative val="1"/>
            <c:bubble3D val="0"/>
            <c:spPr>
              <a:solidFill>
                <a:srgbClr val="AEABAB"/>
              </a:solidFill>
            </c:spPr>
            <c:extLst>
              <c:ext xmlns:c16="http://schemas.microsoft.com/office/drawing/2014/chart" uri="{C3380CC4-5D6E-409C-BE32-E72D297353CC}">
                <c16:uniqueId val="{000001C9-1FE5-4A07-9249-9BDBBED3011B}"/>
              </c:ext>
            </c:extLst>
          </c:dPt>
          <c:dPt>
            <c:idx val="228"/>
            <c:invertIfNegative val="1"/>
            <c:bubble3D val="0"/>
            <c:spPr>
              <a:solidFill>
                <a:srgbClr val="AEABAB"/>
              </a:solidFill>
            </c:spPr>
            <c:extLst>
              <c:ext xmlns:c16="http://schemas.microsoft.com/office/drawing/2014/chart" uri="{C3380CC4-5D6E-409C-BE32-E72D297353CC}">
                <c16:uniqueId val="{000001CB-1FE5-4A07-9249-9BDBBED3011B}"/>
              </c:ext>
            </c:extLst>
          </c:dPt>
          <c:dPt>
            <c:idx val="229"/>
            <c:invertIfNegative val="1"/>
            <c:bubble3D val="0"/>
            <c:spPr>
              <a:solidFill>
                <a:srgbClr val="AEABAB"/>
              </a:solidFill>
            </c:spPr>
            <c:extLst>
              <c:ext xmlns:c16="http://schemas.microsoft.com/office/drawing/2014/chart" uri="{C3380CC4-5D6E-409C-BE32-E72D297353CC}">
                <c16:uniqueId val="{000001CD-1FE5-4A07-9249-9BDBBED3011B}"/>
              </c:ext>
            </c:extLst>
          </c:dPt>
          <c:dPt>
            <c:idx val="230"/>
            <c:invertIfNegative val="1"/>
            <c:bubble3D val="0"/>
            <c:spPr>
              <a:solidFill>
                <a:srgbClr val="AEABAB"/>
              </a:solidFill>
            </c:spPr>
            <c:extLst>
              <c:ext xmlns:c16="http://schemas.microsoft.com/office/drawing/2014/chart" uri="{C3380CC4-5D6E-409C-BE32-E72D297353CC}">
                <c16:uniqueId val="{000001CF-1FE5-4A07-9249-9BDBBED3011B}"/>
              </c:ext>
            </c:extLst>
          </c:dPt>
          <c:dPt>
            <c:idx val="231"/>
            <c:invertIfNegative val="1"/>
            <c:bubble3D val="0"/>
            <c:spPr>
              <a:solidFill>
                <a:srgbClr val="AEABAB"/>
              </a:solidFill>
            </c:spPr>
            <c:extLst>
              <c:ext xmlns:c16="http://schemas.microsoft.com/office/drawing/2014/chart" uri="{C3380CC4-5D6E-409C-BE32-E72D297353CC}">
                <c16:uniqueId val="{000001D1-1FE5-4A07-9249-9BDBBED3011B}"/>
              </c:ext>
            </c:extLst>
          </c:dPt>
          <c:dPt>
            <c:idx val="232"/>
            <c:invertIfNegative val="1"/>
            <c:bubble3D val="0"/>
            <c:spPr>
              <a:solidFill>
                <a:srgbClr val="AEABAB"/>
              </a:solidFill>
            </c:spPr>
            <c:extLst>
              <c:ext xmlns:c16="http://schemas.microsoft.com/office/drawing/2014/chart" uri="{C3380CC4-5D6E-409C-BE32-E72D297353CC}">
                <c16:uniqueId val="{000001D3-1FE5-4A07-9249-9BDBBED3011B}"/>
              </c:ext>
            </c:extLst>
          </c:dPt>
          <c:dPt>
            <c:idx val="233"/>
            <c:invertIfNegative val="1"/>
            <c:bubble3D val="0"/>
            <c:spPr>
              <a:solidFill>
                <a:srgbClr val="AEABAB"/>
              </a:solidFill>
            </c:spPr>
            <c:extLst>
              <c:ext xmlns:c16="http://schemas.microsoft.com/office/drawing/2014/chart" uri="{C3380CC4-5D6E-409C-BE32-E72D297353CC}">
                <c16:uniqueId val="{000001D5-1FE5-4A07-9249-9BDBBED3011B}"/>
              </c:ext>
            </c:extLst>
          </c:dPt>
          <c:dPt>
            <c:idx val="234"/>
            <c:invertIfNegative val="1"/>
            <c:bubble3D val="0"/>
            <c:spPr>
              <a:solidFill>
                <a:srgbClr val="AEABAB"/>
              </a:solidFill>
            </c:spPr>
            <c:extLst>
              <c:ext xmlns:c16="http://schemas.microsoft.com/office/drawing/2014/chart" uri="{C3380CC4-5D6E-409C-BE32-E72D297353CC}">
                <c16:uniqueId val="{000001D7-1FE5-4A07-9249-9BDBBED3011B}"/>
              </c:ext>
            </c:extLst>
          </c:dPt>
          <c:dPt>
            <c:idx val="235"/>
            <c:invertIfNegative val="1"/>
            <c:bubble3D val="0"/>
            <c:spPr>
              <a:solidFill>
                <a:srgbClr val="AEABAB"/>
              </a:solidFill>
            </c:spPr>
            <c:extLst>
              <c:ext xmlns:c16="http://schemas.microsoft.com/office/drawing/2014/chart" uri="{C3380CC4-5D6E-409C-BE32-E72D297353CC}">
                <c16:uniqueId val="{000001D9-1FE5-4A07-9249-9BDBBED3011B}"/>
              </c:ext>
            </c:extLst>
          </c:dPt>
          <c:dPt>
            <c:idx val="236"/>
            <c:invertIfNegative val="1"/>
            <c:bubble3D val="0"/>
            <c:spPr>
              <a:solidFill>
                <a:srgbClr val="AEABAB"/>
              </a:solidFill>
            </c:spPr>
            <c:extLst>
              <c:ext xmlns:c16="http://schemas.microsoft.com/office/drawing/2014/chart" uri="{C3380CC4-5D6E-409C-BE32-E72D297353CC}">
                <c16:uniqueId val="{000001DB-1FE5-4A07-9249-9BDBBED3011B}"/>
              </c:ext>
            </c:extLst>
          </c:dPt>
          <c:dPt>
            <c:idx val="237"/>
            <c:invertIfNegative val="1"/>
            <c:bubble3D val="0"/>
            <c:spPr>
              <a:solidFill>
                <a:srgbClr val="AEABAB"/>
              </a:solidFill>
            </c:spPr>
            <c:extLst>
              <c:ext xmlns:c16="http://schemas.microsoft.com/office/drawing/2014/chart" uri="{C3380CC4-5D6E-409C-BE32-E72D297353CC}">
                <c16:uniqueId val="{000001DD-1FE5-4A07-9249-9BDBBED3011B}"/>
              </c:ext>
            </c:extLst>
          </c:dPt>
          <c:dPt>
            <c:idx val="238"/>
            <c:invertIfNegative val="1"/>
            <c:bubble3D val="0"/>
            <c:spPr>
              <a:solidFill>
                <a:srgbClr val="AEABAB"/>
              </a:solidFill>
            </c:spPr>
            <c:extLst>
              <c:ext xmlns:c16="http://schemas.microsoft.com/office/drawing/2014/chart" uri="{C3380CC4-5D6E-409C-BE32-E72D297353CC}">
                <c16:uniqueId val="{000001DF-1FE5-4A07-9249-9BDBBED3011B}"/>
              </c:ext>
            </c:extLst>
          </c:dPt>
          <c:dPt>
            <c:idx val="239"/>
            <c:invertIfNegative val="1"/>
            <c:bubble3D val="0"/>
            <c:spPr>
              <a:solidFill>
                <a:srgbClr val="AEABAB"/>
              </a:solidFill>
            </c:spPr>
            <c:extLst>
              <c:ext xmlns:c16="http://schemas.microsoft.com/office/drawing/2014/chart" uri="{C3380CC4-5D6E-409C-BE32-E72D297353CC}">
                <c16:uniqueId val="{000001E1-1FE5-4A07-9249-9BDBBED3011B}"/>
              </c:ext>
            </c:extLst>
          </c:dPt>
          <c:dPt>
            <c:idx val="240"/>
            <c:invertIfNegative val="1"/>
            <c:bubble3D val="0"/>
            <c:spPr>
              <a:solidFill>
                <a:srgbClr val="AEABAB"/>
              </a:solidFill>
            </c:spPr>
            <c:extLst>
              <c:ext xmlns:c16="http://schemas.microsoft.com/office/drawing/2014/chart" uri="{C3380CC4-5D6E-409C-BE32-E72D297353CC}">
                <c16:uniqueId val="{000001E3-1FE5-4A07-9249-9BDBBED3011B}"/>
              </c:ext>
            </c:extLst>
          </c:dPt>
          <c:dPt>
            <c:idx val="241"/>
            <c:invertIfNegative val="1"/>
            <c:bubble3D val="0"/>
            <c:spPr>
              <a:solidFill>
                <a:srgbClr val="AEABAB"/>
              </a:solidFill>
            </c:spPr>
            <c:extLst>
              <c:ext xmlns:c16="http://schemas.microsoft.com/office/drawing/2014/chart" uri="{C3380CC4-5D6E-409C-BE32-E72D297353CC}">
                <c16:uniqueId val="{000001E5-1FE5-4A07-9249-9BDBBED3011B}"/>
              </c:ext>
            </c:extLst>
          </c:dPt>
          <c:dPt>
            <c:idx val="242"/>
            <c:invertIfNegative val="1"/>
            <c:bubble3D val="0"/>
            <c:spPr>
              <a:solidFill>
                <a:srgbClr val="AEABAB"/>
              </a:solidFill>
            </c:spPr>
            <c:extLst>
              <c:ext xmlns:c16="http://schemas.microsoft.com/office/drawing/2014/chart" uri="{C3380CC4-5D6E-409C-BE32-E72D297353CC}">
                <c16:uniqueId val="{000001E7-1FE5-4A07-9249-9BDBBED3011B}"/>
              </c:ext>
            </c:extLst>
          </c:dPt>
          <c:dPt>
            <c:idx val="243"/>
            <c:invertIfNegative val="1"/>
            <c:bubble3D val="0"/>
            <c:spPr>
              <a:solidFill>
                <a:srgbClr val="AEABAB"/>
              </a:solidFill>
            </c:spPr>
            <c:extLst>
              <c:ext xmlns:c16="http://schemas.microsoft.com/office/drawing/2014/chart" uri="{C3380CC4-5D6E-409C-BE32-E72D297353CC}">
                <c16:uniqueId val="{000001E9-1FE5-4A07-9249-9BDBBED3011B}"/>
              </c:ext>
            </c:extLst>
          </c:dPt>
          <c:dPt>
            <c:idx val="244"/>
            <c:invertIfNegative val="1"/>
            <c:bubble3D val="0"/>
            <c:spPr>
              <a:solidFill>
                <a:srgbClr val="AEABAB"/>
              </a:solidFill>
            </c:spPr>
            <c:extLst>
              <c:ext xmlns:c16="http://schemas.microsoft.com/office/drawing/2014/chart" uri="{C3380CC4-5D6E-409C-BE32-E72D297353CC}">
                <c16:uniqueId val="{000001EB-1FE5-4A07-9249-9BDBBED3011B}"/>
              </c:ext>
            </c:extLst>
          </c:dPt>
          <c:dPt>
            <c:idx val="245"/>
            <c:invertIfNegative val="1"/>
            <c:bubble3D val="0"/>
            <c:spPr>
              <a:solidFill>
                <a:srgbClr val="AEABAB"/>
              </a:solidFill>
            </c:spPr>
            <c:extLst>
              <c:ext xmlns:c16="http://schemas.microsoft.com/office/drawing/2014/chart" uri="{C3380CC4-5D6E-409C-BE32-E72D297353CC}">
                <c16:uniqueId val="{000001ED-1FE5-4A07-9249-9BDBBED3011B}"/>
              </c:ext>
            </c:extLst>
          </c:dPt>
          <c:dPt>
            <c:idx val="246"/>
            <c:invertIfNegative val="1"/>
            <c:bubble3D val="0"/>
            <c:spPr>
              <a:solidFill>
                <a:srgbClr val="AEABAB"/>
              </a:solidFill>
            </c:spPr>
            <c:extLst>
              <c:ext xmlns:c16="http://schemas.microsoft.com/office/drawing/2014/chart" uri="{C3380CC4-5D6E-409C-BE32-E72D297353CC}">
                <c16:uniqueId val="{000001EF-1FE5-4A07-9249-9BDBBED3011B}"/>
              </c:ext>
            </c:extLst>
          </c:dPt>
          <c:dPt>
            <c:idx val="247"/>
            <c:invertIfNegative val="1"/>
            <c:bubble3D val="0"/>
            <c:spPr>
              <a:solidFill>
                <a:srgbClr val="AEABAB"/>
              </a:solidFill>
            </c:spPr>
            <c:extLst>
              <c:ext xmlns:c16="http://schemas.microsoft.com/office/drawing/2014/chart" uri="{C3380CC4-5D6E-409C-BE32-E72D297353CC}">
                <c16:uniqueId val="{000001F1-1FE5-4A07-9249-9BDBBED3011B}"/>
              </c:ext>
            </c:extLst>
          </c:dPt>
          <c:dPt>
            <c:idx val="248"/>
            <c:invertIfNegative val="1"/>
            <c:bubble3D val="0"/>
            <c:spPr>
              <a:solidFill>
                <a:srgbClr val="AEABAB"/>
              </a:solidFill>
            </c:spPr>
            <c:extLst>
              <c:ext xmlns:c16="http://schemas.microsoft.com/office/drawing/2014/chart" uri="{C3380CC4-5D6E-409C-BE32-E72D297353CC}">
                <c16:uniqueId val="{000001F3-1FE5-4A07-9249-9BDBBED3011B}"/>
              </c:ext>
            </c:extLst>
          </c:dPt>
          <c:dPt>
            <c:idx val="249"/>
            <c:invertIfNegative val="1"/>
            <c:bubble3D val="0"/>
            <c:spPr>
              <a:solidFill>
                <a:srgbClr val="AEABAB"/>
              </a:solidFill>
            </c:spPr>
            <c:extLst>
              <c:ext xmlns:c16="http://schemas.microsoft.com/office/drawing/2014/chart" uri="{C3380CC4-5D6E-409C-BE32-E72D297353CC}">
                <c16:uniqueId val="{000001F5-1FE5-4A07-9249-9BDBBED3011B}"/>
              </c:ext>
            </c:extLst>
          </c:dPt>
          <c:dPt>
            <c:idx val="250"/>
            <c:invertIfNegative val="1"/>
            <c:bubble3D val="0"/>
            <c:spPr>
              <a:solidFill>
                <a:srgbClr val="AEABAB"/>
              </a:solidFill>
            </c:spPr>
            <c:extLst>
              <c:ext xmlns:c16="http://schemas.microsoft.com/office/drawing/2014/chart" uri="{C3380CC4-5D6E-409C-BE32-E72D297353CC}">
                <c16:uniqueId val="{000001F7-1FE5-4A07-9249-9BDBBED3011B}"/>
              </c:ext>
            </c:extLst>
          </c:dPt>
          <c:dPt>
            <c:idx val="251"/>
            <c:invertIfNegative val="1"/>
            <c:bubble3D val="0"/>
            <c:spPr>
              <a:solidFill>
                <a:srgbClr val="AEABAB"/>
              </a:solidFill>
            </c:spPr>
            <c:extLst>
              <c:ext xmlns:c16="http://schemas.microsoft.com/office/drawing/2014/chart" uri="{C3380CC4-5D6E-409C-BE32-E72D297353CC}">
                <c16:uniqueId val="{000001F9-1FE5-4A07-9249-9BDBBED3011B}"/>
              </c:ext>
            </c:extLst>
          </c:dPt>
          <c:dPt>
            <c:idx val="252"/>
            <c:invertIfNegative val="1"/>
            <c:bubble3D val="0"/>
            <c:spPr>
              <a:solidFill>
                <a:srgbClr val="AEABAB"/>
              </a:solidFill>
            </c:spPr>
            <c:extLst>
              <c:ext xmlns:c16="http://schemas.microsoft.com/office/drawing/2014/chart" uri="{C3380CC4-5D6E-409C-BE32-E72D297353CC}">
                <c16:uniqueId val="{000001FB-1FE5-4A07-9249-9BDBBED3011B}"/>
              </c:ext>
            </c:extLst>
          </c:dPt>
          <c:dPt>
            <c:idx val="253"/>
            <c:invertIfNegative val="1"/>
            <c:bubble3D val="0"/>
            <c:spPr>
              <a:solidFill>
                <a:srgbClr val="AEABAB"/>
              </a:solidFill>
            </c:spPr>
            <c:extLst>
              <c:ext xmlns:c16="http://schemas.microsoft.com/office/drawing/2014/chart" uri="{C3380CC4-5D6E-409C-BE32-E72D297353CC}">
                <c16:uniqueId val="{000001FD-1FE5-4A07-9249-9BDBBED3011B}"/>
              </c:ext>
            </c:extLst>
          </c:dPt>
          <c:dPt>
            <c:idx val="254"/>
            <c:invertIfNegative val="1"/>
            <c:bubble3D val="0"/>
            <c:spPr>
              <a:solidFill>
                <a:srgbClr val="AEABAB"/>
              </a:solidFill>
            </c:spPr>
            <c:extLst>
              <c:ext xmlns:c16="http://schemas.microsoft.com/office/drawing/2014/chart" uri="{C3380CC4-5D6E-409C-BE32-E72D297353CC}">
                <c16:uniqueId val="{000001FF-1FE5-4A07-9249-9BDBBED3011B}"/>
              </c:ext>
            </c:extLst>
          </c:dPt>
          <c:dPt>
            <c:idx val="255"/>
            <c:invertIfNegative val="1"/>
            <c:bubble3D val="0"/>
            <c:spPr>
              <a:solidFill>
                <a:srgbClr val="AEABAB"/>
              </a:solidFill>
            </c:spPr>
            <c:extLst>
              <c:ext xmlns:c16="http://schemas.microsoft.com/office/drawing/2014/chart" uri="{C3380CC4-5D6E-409C-BE32-E72D297353CC}">
                <c16:uniqueId val="{00000201-1FE5-4A07-9249-9BDBBED3011B}"/>
              </c:ext>
            </c:extLst>
          </c:dPt>
          <c:dPt>
            <c:idx val="256"/>
            <c:invertIfNegative val="1"/>
            <c:bubble3D val="0"/>
            <c:spPr>
              <a:solidFill>
                <a:srgbClr val="AEABAB"/>
              </a:solidFill>
            </c:spPr>
            <c:extLst>
              <c:ext xmlns:c16="http://schemas.microsoft.com/office/drawing/2014/chart" uri="{C3380CC4-5D6E-409C-BE32-E72D297353CC}">
                <c16:uniqueId val="{00000203-1FE5-4A07-9249-9BDBBED3011B}"/>
              </c:ext>
            </c:extLst>
          </c:dPt>
          <c:dPt>
            <c:idx val="257"/>
            <c:invertIfNegative val="1"/>
            <c:bubble3D val="0"/>
            <c:spPr>
              <a:solidFill>
                <a:srgbClr val="AEABAB"/>
              </a:solidFill>
            </c:spPr>
            <c:extLst>
              <c:ext xmlns:c16="http://schemas.microsoft.com/office/drawing/2014/chart" uri="{C3380CC4-5D6E-409C-BE32-E72D297353CC}">
                <c16:uniqueId val="{00000205-1FE5-4A07-9249-9BDBBED3011B}"/>
              </c:ext>
            </c:extLst>
          </c:dPt>
          <c:dPt>
            <c:idx val="258"/>
            <c:invertIfNegative val="1"/>
            <c:bubble3D val="0"/>
            <c:spPr>
              <a:solidFill>
                <a:srgbClr val="AEABAB"/>
              </a:solidFill>
            </c:spPr>
            <c:extLst>
              <c:ext xmlns:c16="http://schemas.microsoft.com/office/drawing/2014/chart" uri="{C3380CC4-5D6E-409C-BE32-E72D297353CC}">
                <c16:uniqueId val="{00000207-1FE5-4A07-9249-9BDBBED3011B}"/>
              </c:ext>
            </c:extLst>
          </c:dPt>
          <c:dPt>
            <c:idx val="259"/>
            <c:invertIfNegative val="1"/>
            <c:bubble3D val="0"/>
            <c:spPr>
              <a:solidFill>
                <a:srgbClr val="AEABAB"/>
              </a:solidFill>
            </c:spPr>
            <c:extLst>
              <c:ext xmlns:c16="http://schemas.microsoft.com/office/drawing/2014/chart" uri="{C3380CC4-5D6E-409C-BE32-E72D297353CC}">
                <c16:uniqueId val="{00000209-1FE5-4A07-9249-9BDBBED3011B}"/>
              </c:ext>
            </c:extLst>
          </c:dPt>
          <c:dPt>
            <c:idx val="260"/>
            <c:invertIfNegative val="1"/>
            <c:bubble3D val="0"/>
            <c:spPr>
              <a:solidFill>
                <a:srgbClr val="AEABAB"/>
              </a:solidFill>
            </c:spPr>
            <c:extLst>
              <c:ext xmlns:c16="http://schemas.microsoft.com/office/drawing/2014/chart" uri="{C3380CC4-5D6E-409C-BE32-E72D297353CC}">
                <c16:uniqueId val="{0000020B-1FE5-4A07-9249-9BDBBED3011B}"/>
              </c:ext>
            </c:extLst>
          </c:dPt>
          <c:dPt>
            <c:idx val="261"/>
            <c:invertIfNegative val="1"/>
            <c:bubble3D val="0"/>
            <c:spPr>
              <a:solidFill>
                <a:srgbClr val="AEABAB"/>
              </a:solidFill>
            </c:spPr>
            <c:extLst>
              <c:ext xmlns:c16="http://schemas.microsoft.com/office/drawing/2014/chart" uri="{C3380CC4-5D6E-409C-BE32-E72D297353CC}">
                <c16:uniqueId val="{0000020D-1FE5-4A07-9249-9BDBBED3011B}"/>
              </c:ext>
            </c:extLst>
          </c:dPt>
          <c:dPt>
            <c:idx val="262"/>
            <c:invertIfNegative val="1"/>
            <c:bubble3D val="0"/>
            <c:spPr>
              <a:solidFill>
                <a:srgbClr val="AEABAB"/>
              </a:solidFill>
            </c:spPr>
            <c:extLst>
              <c:ext xmlns:c16="http://schemas.microsoft.com/office/drawing/2014/chart" uri="{C3380CC4-5D6E-409C-BE32-E72D297353CC}">
                <c16:uniqueId val="{0000020F-1FE5-4A07-9249-9BDBBED3011B}"/>
              </c:ext>
            </c:extLst>
          </c:dPt>
          <c:dPt>
            <c:idx val="263"/>
            <c:invertIfNegative val="1"/>
            <c:bubble3D val="0"/>
            <c:spPr>
              <a:solidFill>
                <a:srgbClr val="AEABAB"/>
              </a:solidFill>
            </c:spPr>
            <c:extLst>
              <c:ext xmlns:c16="http://schemas.microsoft.com/office/drawing/2014/chart" uri="{C3380CC4-5D6E-409C-BE32-E72D297353CC}">
                <c16:uniqueId val="{00000211-1FE5-4A07-9249-9BDBBED3011B}"/>
              </c:ext>
            </c:extLst>
          </c:dPt>
          <c:dPt>
            <c:idx val="264"/>
            <c:invertIfNegative val="1"/>
            <c:bubble3D val="0"/>
            <c:spPr>
              <a:solidFill>
                <a:srgbClr val="AEABAB"/>
              </a:solidFill>
            </c:spPr>
            <c:extLst>
              <c:ext xmlns:c16="http://schemas.microsoft.com/office/drawing/2014/chart" uri="{C3380CC4-5D6E-409C-BE32-E72D297353CC}">
                <c16:uniqueId val="{00000213-1FE5-4A07-9249-9BDBBED3011B}"/>
              </c:ext>
            </c:extLst>
          </c:dPt>
          <c:dPt>
            <c:idx val="265"/>
            <c:invertIfNegative val="1"/>
            <c:bubble3D val="0"/>
            <c:spPr>
              <a:solidFill>
                <a:srgbClr val="AEABAB"/>
              </a:solidFill>
            </c:spPr>
            <c:extLst>
              <c:ext xmlns:c16="http://schemas.microsoft.com/office/drawing/2014/chart" uri="{C3380CC4-5D6E-409C-BE32-E72D297353CC}">
                <c16:uniqueId val="{00000215-1FE5-4A07-9249-9BDBBED3011B}"/>
              </c:ext>
            </c:extLst>
          </c:dPt>
          <c:dPt>
            <c:idx val="266"/>
            <c:invertIfNegative val="1"/>
            <c:bubble3D val="0"/>
            <c:spPr>
              <a:solidFill>
                <a:srgbClr val="AEABAB"/>
              </a:solidFill>
            </c:spPr>
            <c:extLst>
              <c:ext xmlns:c16="http://schemas.microsoft.com/office/drawing/2014/chart" uri="{C3380CC4-5D6E-409C-BE32-E72D297353CC}">
                <c16:uniqueId val="{00000217-1FE5-4A07-9249-9BDBBED3011B}"/>
              </c:ext>
            </c:extLst>
          </c:dPt>
          <c:dPt>
            <c:idx val="267"/>
            <c:invertIfNegative val="1"/>
            <c:bubble3D val="0"/>
            <c:spPr>
              <a:solidFill>
                <a:srgbClr val="AEABAB"/>
              </a:solidFill>
            </c:spPr>
            <c:extLst>
              <c:ext xmlns:c16="http://schemas.microsoft.com/office/drawing/2014/chart" uri="{C3380CC4-5D6E-409C-BE32-E72D297353CC}">
                <c16:uniqueId val="{00000219-1FE5-4A07-9249-9BDBBED3011B}"/>
              </c:ext>
            </c:extLst>
          </c:dPt>
          <c:dPt>
            <c:idx val="268"/>
            <c:invertIfNegative val="1"/>
            <c:bubble3D val="0"/>
            <c:spPr>
              <a:solidFill>
                <a:srgbClr val="AEABAB"/>
              </a:solidFill>
            </c:spPr>
            <c:extLst>
              <c:ext xmlns:c16="http://schemas.microsoft.com/office/drawing/2014/chart" uri="{C3380CC4-5D6E-409C-BE32-E72D297353CC}">
                <c16:uniqueId val="{0000021B-1FE5-4A07-9249-9BDBBED3011B}"/>
              </c:ext>
            </c:extLst>
          </c:dPt>
          <c:dPt>
            <c:idx val="269"/>
            <c:invertIfNegative val="1"/>
            <c:bubble3D val="0"/>
            <c:spPr>
              <a:solidFill>
                <a:srgbClr val="AEABAB"/>
              </a:solidFill>
            </c:spPr>
            <c:extLst>
              <c:ext xmlns:c16="http://schemas.microsoft.com/office/drawing/2014/chart" uri="{C3380CC4-5D6E-409C-BE32-E72D297353CC}">
                <c16:uniqueId val="{0000021D-1FE5-4A07-9249-9BDBBED3011B}"/>
              </c:ext>
            </c:extLst>
          </c:dPt>
          <c:dPt>
            <c:idx val="270"/>
            <c:invertIfNegative val="1"/>
            <c:bubble3D val="0"/>
            <c:spPr>
              <a:solidFill>
                <a:srgbClr val="AEABAB"/>
              </a:solidFill>
            </c:spPr>
            <c:extLst>
              <c:ext xmlns:c16="http://schemas.microsoft.com/office/drawing/2014/chart" uri="{C3380CC4-5D6E-409C-BE32-E72D297353CC}">
                <c16:uniqueId val="{0000021F-1FE5-4A07-9249-9BDBBED3011B}"/>
              </c:ext>
            </c:extLst>
          </c:dPt>
          <c:dPt>
            <c:idx val="271"/>
            <c:invertIfNegative val="1"/>
            <c:bubble3D val="0"/>
            <c:spPr>
              <a:solidFill>
                <a:srgbClr val="AEABAB"/>
              </a:solidFill>
            </c:spPr>
            <c:extLst>
              <c:ext xmlns:c16="http://schemas.microsoft.com/office/drawing/2014/chart" uri="{C3380CC4-5D6E-409C-BE32-E72D297353CC}">
                <c16:uniqueId val="{00000221-1FE5-4A07-9249-9BDBBED3011B}"/>
              </c:ext>
            </c:extLst>
          </c:dPt>
          <c:dPt>
            <c:idx val="272"/>
            <c:invertIfNegative val="1"/>
            <c:bubble3D val="0"/>
            <c:spPr>
              <a:solidFill>
                <a:srgbClr val="AEABAB"/>
              </a:solidFill>
            </c:spPr>
            <c:extLst>
              <c:ext xmlns:c16="http://schemas.microsoft.com/office/drawing/2014/chart" uri="{C3380CC4-5D6E-409C-BE32-E72D297353CC}">
                <c16:uniqueId val="{00000223-1FE5-4A07-9249-9BDBBED3011B}"/>
              </c:ext>
            </c:extLst>
          </c:dPt>
          <c:dPt>
            <c:idx val="273"/>
            <c:invertIfNegative val="1"/>
            <c:bubble3D val="0"/>
            <c:spPr>
              <a:solidFill>
                <a:srgbClr val="AEABAB"/>
              </a:solidFill>
            </c:spPr>
            <c:extLst>
              <c:ext xmlns:c16="http://schemas.microsoft.com/office/drawing/2014/chart" uri="{C3380CC4-5D6E-409C-BE32-E72D297353CC}">
                <c16:uniqueId val="{00000225-1FE5-4A07-9249-9BDBBED3011B}"/>
              </c:ext>
            </c:extLst>
          </c:dPt>
          <c:dPt>
            <c:idx val="274"/>
            <c:invertIfNegative val="1"/>
            <c:bubble3D val="0"/>
            <c:spPr>
              <a:solidFill>
                <a:srgbClr val="AEABAB"/>
              </a:solidFill>
            </c:spPr>
            <c:extLst>
              <c:ext xmlns:c16="http://schemas.microsoft.com/office/drawing/2014/chart" uri="{C3380CC4-5D6E-409C-BE32-E72D297353CC}">
                <c16:uniqueId val="{00000227-1FE5-4A07-9249-9BDBBED3011B}"/>
              </c:ext>
            </c:extLst>
          </c:dPt>
          <c:dPt>
            <c:idx val="275"/>
            <c:invertIfNegative val="1"/>
            <c:bubble3D val="0"/>
            <c:spPr>
              <a:solidFill>
                <a:srgbClr val="AEABAB"/>
              </a:solidFill>
            </c:spPr>
            <c:extLst>
              <c:ext xmlns:c16="http://schemas.microsoft.com/office/drawing/2014/chart" uri="{C3380CC4-5D6E-409C-BE32-E72D297353CC}">
                <c16:uniqueId val="{00000229-1FE5-4A07-9249-9BDBBED3011B}"/>
              </c:ext>
            </c:extLst>
          </c:dPt>
          <c:dPt>
            <c:idx val="276"/>
            <c:invertIfNegative val="1"/>
            <c:bubble3D val="0"/>
            <c:spPr>
              <a:solidFill>
                <a:srgbClr val="AEABAB"/>
              </a:solidFill>
            </c:spPr>
            <c:extLst>
              <c:ext xmlns:c16="http://schemas.microsoft.com/office/drawing/2014/chart" uri="{C3380CC4-5D6E-409C-BE32-E72D297353CC}">
                <c16:uniqueId val="{0000022B-1FE5-4A07-9249-9BDBBED3011B}"/>
              </c:ext>
            </c:extLst>
          </c:dPt>
          <c:dPt>
            <c:idx val="277"/>
            <c:invertIfNegative val="1"/>
            <c:bubble3D val="0"/>
            <c:spPr>
              <a:solidFill>
                <a:srgbClr val="AEABAB"/>
              </a:solidFill>
            </c:spPr>
            <c:extLst>
              <c:ext xmlns:c16="http://schemas.microsoft.com/office/drawing/2014/chart" uri="{C3380CC4-5D6E-409C-BE32-E72D297353CC}">
                <c16:uniqueId val="{0000022D-1FE5-4A07-9249-9BDBBED3011B}"/>
              </c:ext>
            </c:extLst>
          </c:dPt>
          <c:dPt>
            <c:idx val="278"/>
            <c:invertIfNegative val="1"/>
            <c:bubble3D val="0"/>
            <c:spPr>
              <a:solidFill>
                <a:srgbClr val="AEABAB"/>
              </a:solidFill>
            </c:spPr>
            <c:extLst>
              <c:ext xmlns:c16="http://schemas.microsoft.com/office/drawing/2014/chart" uri="{C3380CC4-5D6E-409C-BE32-E72D297353CC}">
                <c16:uniqueId val="{0000022F-1FE5-4A07-9249-9BDBBED3011B}"/>
              </c:ext>
            </c:extLst>
          </c:dPt>
          <c:dPt>
            <c:idx val="279"/>
            <c:invertIfNegative val="1"/>
            <c:bubble3D val="0"/>
            <c:spPr>
              <a:solidFill>
                <a:srgbClr val="AEABAB"/>
              </a:solidFill>
            </c:spPr>
            <c:extLst>
              <c:ext xmlns:c16="http://schemas.microsoft.com/office/drawing/2014/chart" uri="{C3380CC4-5D6E-409C-BE32-E72D297353CC}">
                <c16:uniqueId val="{00000231-1FE5-4A07-9249-9BDBBED3011B}"/>
              </c:ext>
            </c:extLst>
          </c:dPt>
          <c:dPt>
            <c:idx val="280"/>
            <c:invertIfNegative val="1"/>
            <c:bubble3D val="0"/>
            <c:spPr>
              <a:solidFill>
                <a:srgbClr val="AEABAB"/>
              </a:solidFill>
            </c:spPr>
            <c:extLst>
              <c:ext xmlns:c16="http://schemas.microsoft.com/office/drawing/2014/chart" uri="{C3380CC4-5D6E-409C-BE32-E72D297353CC}">
                <c16:uniqueId val="{00000233-1FE5-4A07-9249-9BDBBED3011B}"/>
              </c:ext>
            </c:extLst>
          </c:dPt>
          <c:dPt>
            <c:idx val="281"/>
            <c:invertIfNegative val="1"/>
            <c:bubble3D val="0"/>
            <c:spPr>
              <a:solidFill>
                <a:srgbClr val="AEABAB"/>
              </a:solidFill>
            </c:spPr>
            <c:extLst>
              <c:ext xmlns:c16="http://schemas.microsoft.com/office/drawing/2014/chart" uri="{C3380CC4-5D6E-409C-BE32-E72D297353CC}">
                <c16:uniqueId val="{00000235-1FE5-4A07-9249-9BDBBED3011B}"/>
              </c:ext>
            </c:extLst>
          </c:dPt>
          <c:dPt>
            <c:idx val="282"/>
            <c:invertIfNegative val="1"/>
            <c:bubble3D val="0"/>
            <c:spPr>
              <a:solidFill>
                <a:srgbClr val="AEABAB"/>
              </a:solidFill>
            </c:spPr>
            <c:extLst>
              <c:ext xmlns:c16="http://schemas.microsoft.com/office/drawing/2014/chart" uri="{C3380CC4-5D6E-409C-BE32-E72D297353CC}">
                <c16:uniqueId val="{00000237-1FE5-4A07-9249-9BDBBED3011B}"/>
              </c:ext>
            </c:extLst>
          </c:dPt>
          <c:dPt>
            <c:idx val="283"/>
            <c:invertIfNegative val="1"/>
            <c:bubble3D val="0"/>
            <c:spPr>
              <a:solidFill>
                <a:srgbClr val="AEABAB"/>
              </a:solidFill>
            </c:spPr>
            <c:extLst>
              <c:ext xmlns:c16="http://schemas.microsoft.com/office/drawing/2014/chart" uri="{C3380CC4-5D6E-409C-BE32-E72D297353CC}">
                <c16:uniqueId val="{00000239-1FE5-4A07-9249-9BDBBED3011B}"/>
              </c:ext>
            </c:extLst>
          </c:dPt>
          <c:dPt>
            <c:idx val="284"/>
            <c:invertIfNegative val="1"/>
            <c:bubble3D val="0"/>
            <c:spPr>
              <a:solidFill>
                <a:srgbClr val="AEABAB"/>
              </a:solidFill>
            </c:spPr>
            <c:extLst>
              <c:ext xmlns:c16="http://schemas.microsoft.com/office/drawing/2014/chart" uri="{C3380CC4-5D6E-409C-BE32-E72D297353CC}">
                <c16:uniqueId val="{0000023B-1FE5-4A07-9249-9BDBBED3011B}"/>
              </c:ext>
            </c:extLst>
          </c:dPt>
          <c:dPt>
            <c:idx val="285"/>
            <c:invertIfNegative val="1"/>
            <c:bubble3D val="0"/>
            <c:spPr>
              <a:solidFill>
                <a:srgbClr val="AEABAB"/>
              </a:solidFill>
            </c:spPr>
            <c:extLst>
              <c:ext xmlns:c16="http://schemas.microsoft.com/office/drawing/2014/chart" uri="{C3380CC4-5D6E-409C-BE32-E72D297353CC}">
                <c16:uniqueId val="{0000023D-1FE5-4A07-9249-9BDBBED3011B}"/>
              </c:ext>
            </c:extLst>
          </c:dPt>
          <c:dPt>
            <c:idx val="286"/>
            <c:invertIfNegative val="1"/>
            <c:bubble3D val="0"/>
            <c:spPr>
              <a:solidFill>
                <a:srgbClr val="AEABAB"/>
              </a:solidFill>
            </c:spPr>
            <c:extLst>
              <c:ext xmlns:c16="http://schemas.microsoft.com/office/drawing/2014/chart" uri="{C3380CC4-5D6E-409C-BE32-E72D297353CC}">
                <c16:uniqueId val="{0000023F-1FE5-4A07-9249-9BDBBED3011B}"/>
              </c:ext>
            </c:extLst>
          </c:dPt>
          <c:dPt>
            <c:idx val="287"/>
            <c:invertIfNegative val="1"/>
            <c:bubble3D val="0"/>
            <c:spPr>
              <a:solidFill>
                <a:srgbClr val="AEABAB"/>
              </a:solidFill>
            </c:spPr>
            <c:extLst>
              <c:ext xmlns:c16="http://schemas.microsoft.com/office/drawing/2014/chart" uri="{C3380CC4-5D6E-409C-BE32-E72D297353CC}">
                <c16:uniqueId val="{00000241-1FE5-4A07-9249-9BDBBED3011B}"/>
              </c:ext>
            </c:extLst>
          </c:dPt>
          <c:dPt>
            <c:idx val="288"/>
            <c:invertIfNegative val="1"/>
            <c:bubble3D val="0"/>
            <c:spPr>
              <a:solidFill>
                <a:srgbClr val="AEABAB"/>
              </a:solidFill>
            </c:spPr>
            <c:extLst>
              <c:ext xmlns:c16="http://schemas.microsoft.com/office/drawing/2014/chart" uri="{C3380CC4-5D6E-409C-BE32-E72D297353CC}">
                <c16:uniqueId val="{00000243-1FE5-4A07-9249-9BDBBED3011B}"/>
              </c:ext>
            </c:extLst>
          </c:dPt>
          <c:dPt>
            <c:idx val="289"/>
            <c:invertIfNegative val="1"/>
            <c:bubble3D val="0"/>
            <c:spPr>
              <a:solidFill>
                <a:srgbClr val="AEABAB"/>
              </a:solidFill>
            </c:spPr>
            <c:extLst>
              <c:ext xmlns:c16="http://schemas.microsoft.com/office/drawing/2014/chart" uri="{C3380CC4-5D6E-409C-BE32-E72D297353CC}">
                <c16:uniqueId val="{00000245-1FE5-4A07-9249-9BDBBED3011B}"/>
              </c:ext>
            </c:extLst>
          </c:dPt>
          <c:dPt>
            <c:idx val="290"/>
            <c:invertIfNegative val="1"/>
            <c:bubble3D val="0"/>
            <c:spPr>
              <a:solidFill>
                <a:srgbClr val="AEABAB"/>
              </a:solidFill>
            </c:spPr>
            <c:extLst>
              <c:ext xmlns:c16="http://schemas.microsoft.com/office/drawing/2014/chart" uri="{C3380CC4-5D6E-409C-BE32-E72D297353CC}">
                <c16:uniqueId val="{00000247-1FE5-4A07-9249-9BDBBED3011B}"/>
              </c:ext>
            </c:extLst>
          </c:dPt>
          <c:dPt>
            <c:idx val="291"/>
            <c:invertIfNegative val="1"/>
            <c:bubble3D val="0"/>
            <c:spPr>
              <a:solidFill>
                <a:srgbClr val="AEABAB"/>
              </a:solidFill>
            </c:spPr>
            <c:extLst>
              <c:ext xmlns:c16="http://schemas.microsoft.com/office/drawing/2014/chart" uri="{C3380CC4-5D6E-409C-BE32-E72D297353CC}">
                <c16:uniqueId val="{00000249-1FE5-4A07-9249-9BDBBED3011B}"/>
              </c:ext>
            </c:extLst>
          </c:dPt>
          <c:dPt>
            <c:idx val="292"/>
            <c:invertIfNegative val="1"/>
            <c:bubble3D val="0"/>
            <c:spPr>
              <a:solidFill>
                <a:srgbClr val="AEABAB"/>
              </a:solidFill>
            </c:spPr>
            <c:extLst>
              <c:ext xmlns:c16="http://schemas.microsoft.com/office/drawing/2014/chart" uri="{C3380CC4-5D6E-409C-BE32-E72D297353CC}">
                <c16:uniqueId val="{0000024B-1FE5-4A07-9249-9BDBBED3011B}"/>
              </c:ext>
            </c:extLst>
          </c:dPt>
          <c:dPt>
            <c:idx val="293"/>
            <c:invertIfNegative val="1"/>
            <c:bubble3D val="0"/>
            <c:spPr>
              <a:solidFill>
                <a:srgbClr val="AEABAB"/>
              </a:solidFill>
            </c:spPr>
            <c:extLst>
              <c:ext xmlns:c16="http://schemas.microsoft.com/office/drawing/2014/chart" uri="{C3380CC4-5D6E-409C-BE32-E72D297353CC}">
                <c16:uniqueId val="{0000024D-1FE5-4A07-9249-9BDBBED3011B}"/>
              </c:ext>
            </c:extLst>
          </c:dPt>
          <c:dPt>
            <c:idx val="294"/>
            <c:invertIfNegative val="1"/>
            <c:bubble3D val="0"/>
            <c:spPr>
              <a:solidFill>
                <a:srgbClr val="AEABAB"/>
              </a:solidFill>
            </c:spPr>
            <c:extLst>
              <c:ext xmlns:c16="http://schemas.microsoft.com/office/drawing/2014/chart" uri="{C3380CC4-5D6E-409C-BE32-E72D297353CC}">
                <c16:uniqueId val="{0000024F-1FE5-4A07-9249-9BDBBED3011B}"/>
              </c:ext>
            </c:extLst>
          </c:dPt>
          <c:dPt>
            <c:idx val="295"/>
            <c:invertIfNegative val="1"/>
            <c:bubble3D val="0"/>
            <c:spPr>
              <a:solidFill>
                <a:srgbClr val="AEABAB"/>
              </a:solidFill>
            </c:spPr>
            <c:extLst>
              <c:ext xmlns:c16="http://schemas.microsoft.com/office/drawing/2014/chart" uri="{C3380CC4-5D6E-409C-BE32-E72D297353CC}">
                <c16:uniqueId val="{00000251-1FE5-4A07-9249-9BDBBED3011B}"/>
              </c:ext>
            </c:extLst>
          </c:dPt>
          <c:dPt>
            <c:idx val="296"/>
            <c:invertIfNegative val="1"/>
            <c:bubble3D val="0"/>
            <c:spPr>
              <a:solidFill>
                <a:srgbClr val="AEABAB"/>
              </a:solidFill>
            </c:spPr>
            <c:extLst>
              <c:ext xmlns:c16="http://schemas.microsoft.com/office/drawing/2014/chart" uri="{C3380CC4-5D6E-409C-BE32-E72D297353CC}">
                <c16:uniqueId val="{00000253-1FE5-4A07-9249-9BDBBED3011B}"/>
              </c:ext>
            </c:extLst>
          </c:dPt>
          <c:dPt>
            <c:idx val="297"/>
            <c:invertIfNegative val="1"/>
            <c:bubble3D val="0"/>
            <c:spPr>
              <a:solidFill>
                <a:srgbClr val="AEABAB"/>
              </a:solidFill>
            </c:spPr>
            <c:extLst>
              <c:ext xmlns:c16="http://schemas.microsoft.com/office/drawing/2014/chart" uri="{C3380CC4-5D6E-409C-BE32-E72D297353CC}">
                <c16:uniqueId val="{00000255-1FE5-4A07-9249-9BDBBED3011B}"/>
              </c:ext>
            </c:extLst>
          </c:dPt>
          <c:dPt>
            <c:idx val="298"/>
            <c:invertIfNegative val="1"/>
            <c:bubble3D val="0"/>
            <c:spPr>
              <a:solidFill>
                <a:srgbClr val="AEABAB"/>
              </a:solidFill>
            </c:spPr>
            <c:extLst>
              <c:ext xmlns:c16="http://schemas.microsoft.com/office/drawing/2014/chart" uri="{C3380CC4-5D6E-409C-BE32-E72D297353CC}">
                <c16:uniqueId val="{00000257-1FE5-4A07-9249-9BDBBED3011B}"/>
              </c:ext>
            </c:extLst>
          </c:dPt>
          <c:dPt>
            <c:idx val="299"/>
            <c:invertIfNegative val="1"/>
            <c:bubble3D val="0"/>
            <c:spPr>
              <a:solidFill>
                <a:srgbClr val="AEABAB"/>
              </a:solidFill>
            </c:spPr>
            <c:extLst>
              <c:ext xmlns:c16="http://schemas.microsoft.com/office/drawing/2014/chart" uri="{C3380CC4-5D6E-409C-BE32-E72D297353CC}">
                <c16:uniqueId val="{00000259-1FE5-4A07-9249-9BDBBED3011B}"/>
              </c:ext>
            </c:extLst>
          </c:dPt>
          <c:dPt>
            <c:idx val="300"/>
            <c:invertIfNegative val="1"/>
            <c:bubble3D val="0"/>
            <c:spPr>
              <a:solidFill>
                <a:srgbClr val="AEABAB"/>
              </a:solidFill>
            </c:spPr>
            <c:extLst>
              <c:ext xmlns:c16="http://schemas.microsoft.com/office/drawing/2014/chart" uri="{C3380CC4-5D6E-409C-BE32-E72D297353CC}">
                <c16:uniqueId val="{0000025B-1FE5-4A07-9249-9BDBBED3011B}"/>
              </c:ext>
            </c:extLst>
          </c:dPt>
          <c:dPt>
            <c:idx val="301"/>
            <c:invertIfNegative val="1"/>
            <c:bubble3D val="0"/>
            <c:spPr>
              <a:solidFill>
                <a:srgbClr val="AEABAB"/>
              </a:solidFill>
            </c:spPr>
            <c:extLst>
              <c:ext xmlns:c16="http://schemas.microsoft.com/office/drawing/2014/chart" uri="{C3380CC4-5D6E-409C-BE32-E72D297353CC}">
                <c16:uniqueId val="{0000025D-1FE5-4A07-9249-9BDBBED3011B}"/>
              </c:ext>
            </c:extLst>
          </c:dPt>
          <c:dPt>
            <c:idx val="302"/>
            <c:invertIfNegative val="1"/>
            <c:bubble3D val="0"/>
            <c:spPr>
              <a:solidFill>
                <a:srgbClr val="AEABAB"/>
              </a:solidFill>
            </c:spPr>
            <c:extLst>
              <c:ext xmlns:c16="http://schemas.microsoft.com/office/drawing/2014/chart" uri="{C3380CC4-5D6E-409C-BE32-E72D297353CC}">
                <c16:uniqueId val="{0000025F-1FE5-4A07-9249-9BDBBED3011B}"/>
              </c:ext>
            </c:extLst>
          </c:dPt>
          <c:dPt>
            <c:idx val="303"/>
            <c:invertIfNegative val="1"/>
            <c:bubble3D val="0"/>
            <c:spPr>
              <a:solidFill>
                <a:srgbClr val="AEABAB"/>
              </a:solidFill>
            </c:spPr>
            <c:extLst>
              <c:ext xmlns:c16="http://schemas.microsoft.com/office/drawing/2014/chart" uri="{C3380CC4-5D6E-409C-BE32-E72D297353CC}">
                <c16:uniqueId val="{00000261-1FE5-4A07-9249-9BDBBED3011B}"/>
              </c:ext>
            </c:extLst>
          </c:dPt>
          <c:dPt>
            <c:idx val="304"/>
            <c:invertIfNegative val="1"/>
            <c:bubble3D val="0"/>
            <c:spPr>
              <a:solidFill>
                <a:srgbClr val="AEABAB"/>
              </a:solidFill>
            </c:spPr>
            <c:extLst>
              <c:ext xmlns:c16="http://schemas.microsoft.com/office/drawing/2014/chart" uri="{C3380CC4-5D6E-409C-BE32-E72D297353CC}">
                <c16:uniqueId val="{00000263-1FE5-4A07-9249-9BDBBED3011B}"/>
              </c:ext>
            </c:extLst>
          </c:dPt>
          <c:dPt>
            <c:idx val="305"/>
            <c:invertIfNegative val="1"/>
            <c:bubble3D val="0"/>
            <c:spPr>
              <a:solidFill>
                <a:srgbClr val="AEABAB"/>
              </a:solidFill>
            </c:spPr>
            <c:extLst>
              <c:ext xmlns:c16="http://schemas.microsoft.com/office/drawing/2014/chart" uri="{C3380CC4-5D6E-409C-BE32-E72D297353CC}">
                <c16:uniqueId val="{00000265-1FE5-4A07-9249-9BDBBED3011B}"/>
              </c:ext>
            </c:extLst>
          </c:dPt>
          <c:dPt>
            <c:idx val="306"/>
            <c:invertIfNegative val="1"/>
            <c:bubble3D val="0"/>
            <c:spPr>
              <a:solidFill>
                <a:srgbClr val="AEABAB"/>
              </a:solidFill>
            </c:spPr>
            <c:extLst>
              <c:ext xmlns:c16="http://schemas.microsoft.com/office/drawing/2014/chart" uri="{C3380CC4-5D6E-409C-BE32-E72D297353CC}">
                <c16:uniqueId val="{00000267-1FE5-4A07-9249-9BDBBED3011B}"/>
              </c:ext>
            </c:extLst>
          </c:dPt>
          <c:dPt>
            <c:idx val="307"/>
            <c:invertIfNegative val="1"/>
            <c:bubble3D val="0"/>
            <c:spPr>
              <a:solidFill>
                <a:srgbClr val="AEABAB"/>
              </a:solidFill>
            </c:spPr>
            <c:extLst>
              <c:ext xmlns:c16="http://schemas.microsoft.com/office/drawing/2014/chart" uri="{C3380CC4-5D6E-409C-BE32-E72D297353CC}">
                <c16:uniqueId val="{00000269-1FE5-4A07-9249-9BDBBED3011B}"/>
              </c:ext>
            </c:extLst>
          </c:dPt>
          <c:dPt>
            <c:idx val="308"/>
            <c:invertIfNegative val="1"/>
            <c:bubble3D val="0"/>
            <c:spPr>
              <a:solidFill>
                <a:srgbClr val="AEABAB"/>
              </a:solidFill>
            </c:spPr>
            <c:extLst>
              <c:ext xmlns:c16="http://schemas.microsoft.com/office/drawing/2014/chart" uri="{C3380CC4-5D6E-409C-BE32-E72D297353CC}">
                <c16:uniqueId val="{0000026B-1FE5-4A07-9249-9BDBBED3011B}"/>
              </c:ext>
            </c:extLst>
          </c:dPt>
          <c:dPt>
            <c:idx val="309"/>
            <c:invertIfNegative val="1"/>
            <c:bubble3D val="0"/>
            <c:spPr>
              <a:solidFill>
                <a:srgbClr val="AEABAB"/>
              </a:solidFill>
            </c:spPr>
            <c:extLst>
              <c:ext xmlns:c16="http://schemas.microsoft.com/office/drawing/2014/chart" uri="{C3380CC4-5D6E-409C-BE32-E72D297353CC}">
                <c16:uniqueId val="{0000026D-1FE5-4A07-9249-9BDBBED3011B}"/>
              </c:ext>
            </c:extLst>
          </c:dPt>
          <c:dPt>
            <c:idx val="310"/>
            <c:invertIfNegative val="1"/>
            <c:bubble3D val="0"/>
            <c:spPr>
              <a:solidFill>
                <a:srgbClr val="AEABAB"/>
              </a:solidFill>
            </c:spPr>
            <c:extLst>
              <c:ext xmlns:c16="http://schemas.microsoft.com/office/drawing/2014/chart" uri="{C3380CC4-5D6E-409C-BE32-E72D297353CC}">
                <c16:uniqueId val="{0000026F-1FE5-4A07-9249-9BDBBED3011B}"/>
              </c:ext>
            </c:extLst>
          </c:dPt>
          <c:dPt>
            <c:idx val="311"/>
            <c:invertIfNegative val="1"/>
            <c:bubble3D val="0"/>
            <c:spPr>
              <a:solidFill>
                <a:srgbClr val="AEABAB"/>
              </a:solidFill>
            </c:spPr>
            <c:extLst>
              <c:ext xmlns:c16="http://schemas.microsoft.com/office/drawing/2014/chart" uri="{C3380CC4-5D6E-409C-BE32-E72D297353CC}">
                <c16:uniqueId val="{00000271-1FE5-4A07-9249-9BDBBED3011B}"/>
              </c:ext>
            </c:extLst>
          </c:dPt>
          <c:dPt>
            <c:idx val="312"/>
            <c:invertIfNegative val="1"/>
            <c:bubble3D val="0"/>
            <c:spPr>
              <a:solidFill>
                <a:srgbClr val="AEABAB"/>
              </a:solidFill>
            </c:spPr>
            <c:extLst>
              <c:ext xmlns:c16="http://schemas.microsoft.com/office/drawing/2014/chart" uri="{C3380CC4-5D6E-409C-BE32-E72D297353CC}">
                <c16:uniqueId val="{00000273-1FE5-4A07-9249-9BDBBED3011B}"/>
              </c:ext>
            </c:extLst>
          </c:dPt>
          <c:dPt>
            <c:idx val="313"/>
            <c:invertIfNegative val="1"/>
            <c:bubble3D val="0"/>
            <c:spPr>
              <a:solidFill>
                <a:srgbClr val="AEABAB"/>
              </a:solidFill>
            </c:spPr>
            <c:extLst>
              <c:ext xmlns:c16="http://schemas.microsoft.com/office/drawing/2014/chart" uri="{C3380CC4-5D6E-409C-BE32-E72D297353CC}">
                <c16:uniqueId val="{00000275-1FE5-4A07-9249-9BDBBED3011B}"/>
              </c:ext>
            </c:extLst>
          </c:dPt>
          <c:dPt>
            <c:idx val="314"/>
            <c:invertIfNegative val="1"/>
            <c:bubble3D val="0"/>
            <c:spPr>
              <a:solidFill>
                <a:srgbClr val="AEABAB"/>
              </a:solidFill>
            </c:spPr>
            <c:extLst>
              <c:ext xmlns:c16="http://schemas.microsoft.com/office/drawing/2014/chart" uri="{C3380CC4-5D6E-409C-BE32-E72D297353CC}">
                <c16:uniqueId val="{00000277-1FE5-4A07-9249-9BDBBED3011B}"/>
              </c:ext>
            </c:extLst>
          </c:dPt>
          <c:dPt>
            <c:idx val="315"/>
            <c:invertIfNegative val="1"/>
            <c:bubble3D val="0"/>
            <c:spPr>
              <a:solidFill>
                <a:srgbClr val="AEABAB"/>
              </a:solidFill>
            </c:spPr>
            <c:extLst>
              <c:ext xmlns:c16="http://schemas.microsoft.com/office/drawing/2014/chart" uri="{C3380CC4-5D6E-409C-BE32-E72D297353CC}">
                <c16:uniqueId val="{00000279-1FE5-4A07-9249-9BDBBED3011B}"/>
              </c:ext>
            </c:extLst>
          </c:dPt>
          <c:dPt>
            <c:idx val="316"/>
            <c:invertIfNegative val="1"/>
            <c:bubble3D val="0"/>
            <c:spPr>
              <a:solidFill>
                <a:srgbClr val="AEABAB"/>
              </a:solidFill>
            </c:spPr>
            <c:extLst>
              <c:ext xmlns:c16="http://schemas.microsoft.com/office/drawing/2014/chart" uri="{C3380CC4-5D6E-409C-BE32-E72D297353CC}">
                <c16:uniqueId val="{0000027B-1FE5-4A07-9249-9BDBBED3011B}"/>
              </c:ext>
            </c:extLst>
          </c:dPt>
          <c:dPt>
            <c:idx val="317"/>
            <c:invertIfNegative val="1"/>
            <c:bubble3D val="0"/>
            <c:spPr>
              <a:solidFill>
                <a:srgbClr val="AEABAB"/>
              </a:solidFill>
            </c:spPr>
            <c:extLst>
              <c:ext xmlns:c16="http://schemas.microsoft.com/office/drawing/2014/chart" uri="{C3380CC4-5D6E-409C-BE32-E72D297353CC}">
                <c16:uniqueId val="{0000027D-1FE5-4A07-9249-9BDBBED3011B}"/>
              </c:ext>
            </c:extLst>
          </c:dPt>
          <c:dPt>
            <c:idx val="318"/>
            <c:invertIfNegative val="1"/>
            <c:bubble3D val="0"/>
            <c:spPr>
              <a:solidFill>
                <a:srgbClr val="AEABAB"/>
              </a:solidFill>
            </c:spPr>
            <c:extLst>
              <c:ext xmlns:c16="http://schemas.microsoft.com/office/drawing/2014/chart" uri="{C3380CC4-5D6E-409C-BE32-E72D297353CC}">
                <c16:uniqueId val="{0000027F-1FE5-4A07-9249-9BDBBED3011B}"/>
              </c:ext>
            </c:extLst>
          </c:dPt>
          <c:dPt>
            <c:idx val="319"/>
            <c:invertIfNegative val="1"/>
            <c:bubble3D val="0"/>
            <c:spPr>
              <a:solidFill>
                <a:srgbClr val="AEABAB"/>
              </a:solidFill>
            </c:spPr>
            <c:extLst>
              <c:ext xmlns:c16="http://schemas.microsoft.com/office/drawing/2014/chart" uri="{C3380CC4-5D6E-409C-BE32-E72D297353CC}">
                <c16:uniqueId val="{00000281-1FE5-4A07-9249-9BDBBED3011B}"/>
              </c:ext>
            </c:extLst>
          </c:dPt>
          <c:dPt>
            <c:idx val="320"/>
            <c:invertIfNegative val="1"/>
            <c:bubble3D val="0"/>
            <c:spPr>
              <a:solidFill>
                <a:srgbClr val="AEABAB"/>
              </a:solidFill>
            </c:spPr>
            <c:extLst>
              <c:ext xmlns:c16="http://schemas.microsoft.com/office/drawing/2014/chart" uri="{C3380CC4-5D6E-409C-BE32-E72D297353CC}">
                <c16:uniqueId val="{00000283-1FE5-4A07-9249-9BDBBED3011B}"/>
              </c:ext>
            </c:extLst>
          </c:dPt>
          <c:dPt>
            <c:idx val="321"/>
            <c:invertIfNegative val="1"/>
            <c:bubble3D val="0"/>
            <c:spPr>
              <a:solidFill>
                <a:srgbClr val="AEABAB"/>
              </a:solidFill>
            </c:spPr>
            <c:extLst>
              <c:ext xmlns:c16="http://schemas.microsoft.com/office/drawing/2014/chart" uri="{C3380CC4-5D6E-409C-BE32-E72D297353CC}">
                <c16:uniqueId val="{00000285-1FE5-4A07-9249-9BDBBED3011B}"/>
              </c:ext>
            </c:extLst>
          </c:dPt>
          <c:dPt>
            <c:idx val="322"/>
            <c:invertIfNegative val="1"/>
            <c:bubble3D val="0"/>
            <c:spPr>
              <a:solidFill>
                <a:srgbClr val="AEABAB"/>
              </a:solidFill>
            </c:spPr>
            <c:extLst>
              <c:ext xmlns:c16="http://schemas.microsoft.com/office/drawing/2014/chart" uri="{C3380CC4-5D6E-409C-BE32-E72D297353CC}">
                <c16:uniqueId val="{00000287-1FE5-4A07-9249-9BDBBED3011B}"/>
              </c:ext>
            </c:extLst>
          </c:dPt>
          <c:dPt>
            <c:idx val="323"/>
            <c:invertIfNegative val="1"/>
            <c:bubble3D val="0"/>
            <c:spPr>
              <a:solidFill>
                <a:srgbClr val="AEABAB"/>
              </a:solidFill>
            </c:spPr>
            <c:extLst>
              <c:ext xmlns:c16="http://schemas.microsoft.com/office/drawing/2014/chart" uri="{C3380CC4-5D6E-409C-BE32-E72D297353CC}">
                <c16:uniqueId val="{00000289-1FE5-4A07-9249-9BDBBED3011B}"/>
              </c:ext>
            </c:extLst>
          </c:dPt>
          <c:dPt>
            <c:idx val="324"/>
            <c:invertIfNegative val="1"/>
            <c:bubble3D val="0"/>
            <c:spPr>
              <a:solidFill>
                <a:srgbClr val="AEABAB"/>
              </a:solidFill>
            </c:spPr>
            <c:extLst>
              <c:ext xmlns:c16="http://schemas.microsoft.com/office/drawing/2014/chart" uri="{C3380CC4-5D6E-409C-BE32-E72D297353CC}">
                <c16:uniqueId val="{0000028B-1FE5-4A07-9249-9BDBBED3011B}"/>
              </c:ext>
            </c:extLst>
          </c:dPt>
          <c:dPt>
            <c:idx val="325"/>
            <c:invertIfNegative val="1"/>
            <c:bubble3D val="0"/>
            <c:spPr>
              <a:solidFill>
                <a:srgbClr val="AEABAB"/>
              </a:solidFill>
            </c:spPr>
            <c:extLst>
              <c:ext xmlns:c16="http://schemas.microsoft.com/office/drawing/2014/chart" uri="{C3380CC4-5D6E-409C-BE32-E72D297353CC}">
                <c16:uniqueId val="{0000028D-1FE5-4A07-9249-9BDBBED3011B}"/>
              </c:ext>
            </c:extLst>
          </c:dPt>
          <c:dPt>
            <c:idx val="326"/>
            <c:invertIfNegative val="1"/>
            <c:bubble3D val="0"/>
            <c:spPr>
              <a:solidFill>
                <a:srgbClr val="AEABAB"/>
              </a:solidFill>
            </c:spPr>
            <c:extLst>
              <c:ext xmlns:c16="http://schemas.microsoft.com/office/drawing/2014/chart" uri="{C3380CC4-5D6E-409C-BE32-E72D297353CC}">
                <c16:uniqueId val="{0000028F-1FE5-4A07-9249-9BDBBED3011B}"/>
              </c:ext>
            </c:extLst>
          </c:dPt>
          <c:dPt>
            <c:idx val="327"/>
            <c:invertIfNegative val="1"/>
            <c:bubble3D val="0"/>
            <c:spPr>
              <a:solidFill>
                <a:srgbClr val="AEABAB"/>
              </a:solidFill>
            </c:spPr>
            <c:extLst>
              <c:ext xmlns:c16="http://schemas.microsoft.com/office/drawing/2014/chart" uri="{C3380CC4-5D6E-409C-BE32-E72D297353CC}">
                <c16:uniqueId val="{00000291-1FE5-4A07-9249-9BDBBED3011B}"/>
              </c:ext>
            </c:extLst>
          </c:dPt>
          <c:dPt>
            <c:idx val="328"/>
            <c:invertIfNegative val="1"/>
            <c:bubble3D val="0"/>
            <c:spPr>
              <a:solidFill>
                <a:srgbClr val="AEABAB"/>
              </a:solidFill>
            </c:spPr>
            <c:extLst>
              <c:ext xmlns:c16="http://schemas.microsoft.com/office/drawing/2014/chart" uri="{C3380CC4-5D6E-409C-BE32-E72D297353CC}">
                <c16:uniqueId val="{00000293-1FE5-4A07-9249-9BDBBED3011B}"/>
              </c:ext>
            </c:extLst>
          </c:dPt>
          <c:dPt>
            <c:idx val="329"/>
            <c:invertIfNegative val="1"/>
            <c:bubble3D val="0"/>
            <c:spPr>
              <a:solidFill>
                <a:srgbClr val="AEABAB"/>
              </a:solidFill>
            </c:spPr>
            <c:extLst>
              <c:ext xmlns:c16="http://schemas.microsoft.com/office/drawing/2014/chart" uri="{C3380CC4-5D6E-409C-BE32-E72D297353CC}">
                <c16:uniqueId val="{00000295-1FE5-4A07-9249-9BDBBED3011B}"/>
              </c:ext>
            </c:extLst>
          </c:dPt>
          <c:dPt>
            <c:idx val="330"/>
            <c:invertIfNegative val="1"/>
            <c:bubble3D val="0"/>
            <c:spPr>
              <a:solidFill>
                <a:srgbClr val="AEABAB"/>
              </a:solidFill>
            </c:spPr>
            <c:extLst>
              <c:ext xmlns:c16="http://schemas.microsoft.com/office/drawing/2014/chart" uri="{C3380CC4-5D6E-409C-BE32-E72D297353CC}">
                <c16:uniqueId val="{00000297-1FE5-4A07-9249-9BDBBED3011B}"/>
              </c:ext>
            </c:extLst>
          </c:dPt>
          <c:dPt>
            <c:idx val="331"/>
            <c:invertIfNegative val="1"/>
            <c:bubble3D val="0"/>
            <c:spPr>
              <a:solidFill>
                <a:srgbClr val="AEABAB"/>
              </a:solidFill>
            </c:spPr>
            <c:extLst>
              <c:ext xmlns:c16="http://schemas.microsoft.com/office/drawing/2014/chart" uri="{C3380CC4-5D6E-409C-BE32-E72D297353CC}">
                <c16:uniqueId val="{00000299-1FE5-4A07-9249-9BDBBED3011B}"/>
              </c:ext>
            </c:extLst>
          </c:dPt>
          <c:dPt>
            <c:idx val="332"/>
            <c:invertIfNegative val="1"/>
            <c:bubble3D val="0"/>
            <c:spPr>
              <a:solidFill>
                <a:srgbClr val="AEABAB"/>
              </a:solidFill>
            </c:spPr>
            <c:extLst>
              <c:ext xmlns:c16="http://schemas.microsoft.com/office/drawing/2014/chart" uri="{C3380CC4-5D6E-409C-BE32-E72D297353CC}">
                <c16:uniqueId val="{0000029B-1FE5-4A07-9249-9BDBBED3011B}"/>
              </c:ext>
            </c:extLst>
          </c:dPt>
          <c:dPt>
            <c:idx val="333"/>
            <c:invertIfNegative val="1"/>
            <c:bubble3D val="0"/>
            <c:spPr>
              <a:solidFill>
                <a:srgbClr val="AEABAB"/>
              </a:solidFill>
            </c:spPr>
            <c:extLst>
              <c:ext xmlns:c16="http://schemas.microsoft.com/office/drawing/2014/chart" uri="{C3380CC4-5D6E-409C-BE32-E72D297353CC}">
                <c16:uniqueId val="{0000029D-1FE5-4A07-9249-9BDBBED3011B}"/>
              </c:ext>
            </c:extLst>
          </c:dPt>
          <c:dPt>
            <c:idx val="334"/>
            <c:invertIfNegative val="1"/>
            <c:bubble3D val="0"/>
            <c:spPr>
              <a:solidFill>
                <a:srgbClr val="AEABAB"/>
              </a:solidFill>
            </c:spPr>
            <c:extLst>
              <c:ext xmlns:c16="http://schemas.microsoft.com/office/drawing/2014/chart" uri="{C3380CC4-5D6E-409C-BE32-E72D297353CC}">
                <c16:uniqueId val="{0000029F-1FE5-4A07-9249-9BDBBED3011B}"/>
              </c:ext>
            </c:extLst>
          </c:dPt>
          <c:dPt>
            <c:idx val="335"/>
            <c:invertIfNegative val="1"/>
            <c:bubble3D val="0"/>
            <c:spPr>
              <a:solidFill>
                <a:srgbClr val="AEABAB"/>
              </a:solidFill>
            </c:spPr>
            <c:extLst>
              <c:ext xmlns:c16="http://schemas.microsoft.com/office/drawing/2014/chart" uri="{C3380CC4-5D6E-409C-BE32-E72D297353CC}">
                <c16:uniqueId val="{000002A1-1FE5-4A07-9249-9BDBBED3011B}"/>
              </c:ext>
            </c:extLst>
          </c:dPt>
          <c:cat>
            <c:strRef>
              <c:f>Sheet1!$A$2:$A$337</c:f>
              <c:strCache>
                <c:ptCount val="336"/>
                <c:pt idx="0">
                  <c:v>Ruinart</c:v>
                </c:pt>
                <c:pt idx="1">
                  <c:v>Nicolas</c:v>
                </c:pt>
                <c:pt idx="2">
                  <c:v>Deutz</c:v>
                </c:pt>
                <c:pt idx="3">
                  <c:v>Heidsieck &amp;</c:v>
                </c:pt>
                <c:pt idx="4">
                  <c:v>Ruinart</c:v>
                </c:pt>
                <c:pt idx="5">
                  <c:v>Ayala</c:v>
                </c:pt>
                <c:pt idx="6">
                  <c:v>De Bligny</c:v>
                </c:pt>
                <c:pt idx="7">
                  <c:v>Malard</c:v>
                </c:pt>
                <c:pt idx="8">
                  <c:v>Ruinart</c:v>
                </c:pt>
                <c:pt idx="9">
                  <c:v>Ruinart</c:v>
                </c:pt>
                <c:pt idx="10">
                  <c:v>Laurent Per</c:v>
                </c:pt>
                <c:pt idx="11">
                  <c:v>Bollinger</c:v>
                </c:pt>
                <c:pt idx="12">
                  <c:v>Deutz</c:v>
                </c:pt>
                <c:pt idx="13">
                  <c:v>Besserat De</c:v>
                </c:pt>
                <c:pt idx="14">
                  <c:v>Canard Duch</c:v>
                </c:pt>
                <c:pt idx="15">
                  <c:v>Ruinart</c:v>
                </c:pt>
                <c:pt idx="16">
                  <c:v>Taittinger</c:v>
                </c:pt>
                <c:pt idx="17">
                  <c:v>Dom Perigno</c:v>
                </c:pt>
                <c:pt idx="18">
                  <c:v>Nicolas Feu</c:v>
                </c:pt>
                <c:pt idx="19">
                  <c:v>Ruinart</c:v>
                </c:pt>
                <c:pt idx="20">
                  <c:v>Campari: Al</c:v>
                </c:pt>
                <c:pt idx="21">
                  <c:v>Ruinart</c:v>
                </c:pt>
                <c:pt idx="22">
                  <c:v>Demoiselle</c:v>
                </c:pt>
                <c:pt idx="23">
                  <c:v>Dom Perigno</c:v>
                </c:pt>
                <c:pt idx="24">
                  <c:v>All Others</c:v>
                </c:pt>
                <c:pt idx="25">
                  <c:v>Pommery</c:v>
                </c:pt>
                <c:pt idx="26">
                  <c:v>Perrier Jou</c:v>
                </c:pt>
                <c:pt idx="27">
                  <c:v>Laurent Per</c:v>
                </c:pt>
                <c:pt idx="28">
                  <c:v>Savian</c:v>
                </c:pt>
                <c:pt idx="29">
                  <c:v>Roederer</c:v>
                </c:pt>
                <c:pt idx="30">
                  <c:v>All Others</c:v>
                </c:pt>
                <c:pt idx="31">
                  <c:v>Deutz</c:v>
                </c:pt>
                <c:pt idx="32">
                  <c:v>Laurent Per</c:v>
                </c:pt>
                <c:pt idx="33">
                  <c:v>Moët &amp; Chan</c:v>
                </c:pt>
                <c:pt idx="34">
                  <c:v>Roederer</c:v>
                </c:pt>
                <c:pt idx="35">
                  <c:v>Bottega</c:v>
                </c:pt>
                <c:pt idx="36">
                  <c:v>Malard</c:v>
                </c:pt>
                <c:pt idx="37">
                  <c:v>Ruinart</c:v>
                </c:pt>
                <c:pt idx="38">
                  <c:v>Patriarche</c:v>
                </c:pt>
                <c:pt idx="39">
                  <c:v>Vesselle</c:v>
                </c:pt>
                <c:pt idx="40">
                  <c:v>Louis Marti</c:v>
                </c:pt>
                <c:pt idx="41">
                  <c:v>Veuve Clicq</c:v>
                </c:pt>
                <c:pt idx="42">
                  <c:v>Mure</c:v>
                </c:pt>
                <c:pt idx="43">
                  <c:v>Taittinger</c:v>
                </c:pt>
                <c:pt idx="44">
                  <c:v>Nicolas</c:v>
                </c:pt>
                <c:pt idx="45">
                  <c:v>Veuve Clicq</c:v>
                </c:pt>
                <c:pt idx="46">
                  <c:v>Roederer</c:v>
                </c:pt>
                <c:pt idx="47">
                  <c:v>Henriot</c:v>
                </c:pt>
                <c:pt idx="48">
                  <c:v>Besserat De</c:v>
                </c:pt>
                <c:pt idx="49">
                  <c:v>Campari: Al</c:v>
                </c:pt>
                <c:pt idx="50">
                  <c:v>Krug</c:v>
                </c:pt>
                <c:pt idx="51">
                  <c:v>Bouvet-Ladu</c:v>
                </c:pt>
                <c:pt idx="52">
                  <c:v>Demoiselle</c:v>
                </c:pt>
                <c:pt idx="53">
                  <c:v>De Chanceny</c:v>
                </c:pt>
                <c:pt idx="54">
                  <c:v>Nicolas</c:v>
                </c:pt>
                <c:pt idx="55">
                  <c:v>Nicolas</c:v>
                </c:pt>
                <c:pt idx="56">
                  <c:v>Ruinart</c:v>
                </c:pt>
                <c:pt idx="57">
                  <c:v>Deutz</c:v>
                </c:pt>
                <c:pt idx="58">
                  <c:v>All Others</c:v>
                </c:pt>
                <c:pt idx="59">
                  <c:v>Delamotte</c:v>
                </c:pt>
                <c:pt idx="60">
                  <c:v>All Others</c:v>
                </c:pt>
                <c:pt idx="61">
                  <c:v>Canard Duch</c:v>
                </c:pt>
                <c:pt idx="62">
                  <c:v>Savian</c:v>
                </c:pt>
                <c:pt idx="63">
                  <c:v>Lanson</c:v>
                </c:pt>
                <c:pt idx="64">
                  <c:v>All Others</c:v>
                </c:pt>
                <c:pt idx="65">
                  <c:v>Pommery</c:v>
                </c:pt>
                <c:pt idx="66">
                  <c:v>Bollinger</c:v>
                </c:pt>
                <c:pt idx="67">
                  <c:v>Besserat De</c:v>
                </c:pt>
                <c:pt idx="68">
                  <c:v>Veuve Clicq</c:v>
                </c:pt>
                <c:pt idx="69">
                  <c:v>All Others</c:v>
                </c:pt>
                <c:pt idx="70">
                  <c:v>Henriot</c:v>
                </c:pt>
                <c:pt idx="71">
                  <c:v>De Bligny</c:v>
                </c:pt>
                <c:pt idx="72">
                  <c:v>Malard</c:v>
                </c:pt>
                <c:pt idx="73">
                  <c:v>Ruinart</c:v>
                </c:pt>
                <c:pt idx="74">
                  <c:v>Lyre's</c:v>
                </c:pt>
                <c:pt idx="75">
                  <c:v>Patriarche</c:v>
                </c:pt>
                <c:pt idx="76">
                  <c:v>Nicolas Feu</c:v>
                </c:pt>
                <c:pt idx="77">
                  <c:v>Roederer</c:v>
                </c:pt>
                <c:pt idx="78">
                  <c:v>Chateau Mon</c:v>
                </c:pt>
                <c:pt idx="79">
                  <c:v>Laurent Per</c:v>
                </c:pt>
                <c:pt idx="80">
                  <c:v>Ruinart</c:v>
                </c:pt>
                <c:pt idx="81">
                  <c:v>Canard Duch</c:v>
                </c:pt>
                <c:pt idx="82">
                  <c:v>Nicolas Feu</c:v>
                </c:pt>
                <c:pt idx="83">
                  <c:v>Malard</c:v>
                </c:pt>
                <c:pt idx="84">
                  <c:v>Kriter</c:v>
                </c:pt>
                <c:pt idx="85">
                  <c:v>Piper Heids</c:v>
                </c:pt>
                <c:pt idx="86">
                  <c:v>Nicolas Feu</c:v>
                </c:pt>
                <c:pt idx="87">
                  <c:v>Ayala</c:v>
                </c:pt>
                <c:pt idx="88">
                  <c:v>Malard</c:v>
                </c:pt>
                <c:pt idx="89">
                  <c:v>De Venoge</c:v>
                </c:pt>
                <c:pt idx="90">
                  <c:v>Henriot</c:v>
                </c:pt>
                <c:pt idx="91">
                  <c:v>Moët &amp; Chan</c:v>
                </c:pt>
                <c:pt idx="92">
                  <c:v>Dom Perigno</c:v>
                </c:pt>
                <c:pt idx="93">
                  <c:v>Moët &amp; Chan</c:v>
                </c:pt>
                <c:pt idx="94">
                  <c:v>Nicolas</c:v>
                </c:pt>
                <c:pt idx="95">
                  <c:v>All Others</c:v>
                </c:pt>
                <c:pt idx="96">
                  <c:v>Perrier Jou</c:v>
                </c:pt>
                <c:pt idx="97">
                  <c:v>Taittinger</c:v>
                </c:pt>
                <c:pt idx="98">
                  <c:v>Nicolas</c:v>
                </c:pt>
                <c:pt idx="99">
                  <c:v>Deutz</c:v>
                </c:pt>
                <c:pt idx="100">
                  <c:v>Roederer</c:v>
                </c:pt>
                <c:pt idx="101">
                  <c:v>Roederer</c:v>
                </c:pt>
                <c:pt idx="102">
                  <c:v>Ruinart</c:v>
                </c:pt>
                <c:pt idx="103">
                  <c:v>Moët &amp; Chan</c:v>
                </c:pt>
                <c:pt idx="104">
                  <c:v>Ruinart</c:v>
                </c:pt>
                <c:pt idx="105">
                  <c:v>All Others</c:v>
                </c:pt>
                <c:pt idx="106">
                  <c:v>Henriot</c:v>
                </c:pt>
                <c:pt idx="107">
                  <c:v>Roederer</c:v>
                </c:pt>
                <c:pt idx="108">
                  <c:v>Bottega</c:v>
                </c:pt>
                <c:pt idx="109">
                  <c:v>Bollinger</c:v>
                </c:pt>
                <c:pt idx="110">
                  <c:v>Laurent Per</c:v>
                </c:pt>
                <c:pt idx="111">
                  <c:v>Canard Duch</c:v>
                </c:pt>
                <c:pt idx="112">
                  <c:v>Dom Perigno</c:v>
                </c:pt>
                <c:pt idx="113">
                  <c:v>All Others</c:v>
                </c:pt>
                <c:pt idx="114">
                  <c:v>Malard</c:v>
                </c:pt>
                <c:pt idx="115">
                  <c:v>De Chanceny</c:v>
                </c:pt>
                <c:pt idx="116">
                  <c:v>Perrier Jou</c:v>
                </c:pt>
                <c:pt idx="117">
                  <c:v>De Venoge</c:v>
                </c:pt>
                <c:pt idx="118">
                  <c:v>Roederer</c:v>
                </c:pt>
                <c:pt idx="119">
                  <c:v>Roederer</c:v>
                </c:pt>
                <c:pt idx="120">
                  <c:v>Roederer</c:v>
                </c:pt>
                <c:pt idx="121">
                  <c:v>Canard Duch</c:v>
                </c:pt>
                <c:pt idx="122">
                  <c:v>Contarini</c:v>
                </c:pt>
                <c:pt idx="123">
                  <c:v>Roederer</c:v>
                </c:pt>
                <c:pt idx="124">
                  <c:v>Nicolas</c:v>
                </c:pt>
                <c:pt idx="125">
                  <c:v>De Venoge</c:v>
                </c:pt>
                <c:pt idx="126">
                  <c:v>Krug</c:v>
                </c:pt>
                <c:pt idx="127">
                  <c:v>Pommery</c:v>
                </c:pt>
                <c:pt idx="128">
                  <c:v>Laurent Per</c:v>
                </c:pt>
                <c:pt idx="129">
                  <c:v>Deutz</c:v>
                </c:pt>
                <c:pt idx="130">
                  <c:v>Nicolas</c:v>
                </c:pt>
                <c:pt idx="131">
                  <c:v>Dom Perigno</c:v>
                </c:pt>
                <c:pt idx="132">
                  <c:v>All Others</c:v>
                </c:pt>
                <c:pt idx="133">
                  <c:v>All Others</c:v>
                </c:pt>
                <c:pt idx="134">
                  <c:v>Ruinart</c:v>
                </c:pt>
                <c:pt idx="135">
                  <c:v>Veuve Clicq</c:v>
                </c:pt>
                <c:pt idx="136">
                  <c:v>Ruinart</c:v>
                </c:pt>
                <c:pt idx="137">
                  <c:v>All Others</c:v>
                </c:pt>
                <c:pt idx="138">
                  <c:v>Vranken</c:v>
                </c:pt>
                <c:pt idx="139">
                  <c:v>Nicolas</c:v>
                </c:pt>
                <c:pt idx="140">
                  <c:v>All Others</c:v>
                </c:pt>
                <c:pt idx="141">
                  <c:v>Nicolas</c:v>
                </c:pt>
                <c:pt idx="142">
                  <c:v>Cru La Maqu</c:v>
                </c:pt>
                <c:pt idx="143">
                  <c:v>Laurent Per</c:v>
                </c:pt>
                <c:pt idx="144">
                  <c:v>De Venoge</c:v>
                </c:pt>
                <c:pt idx="145">
                  <c:v>Vranken</c:v>
                </c:pt>
                <c:pt idx="146">
                  <c:v>All Others</c:v>
                </c:pt>
                <c:pt idx="147">
                  <c:v>Delamotte</c:v>
                </c:pt>
                <c:pt idx="148">
                  <c:v>All Others</c:v>
                </c:pt>
                <c:pt idx="149">
                  <c:v>All Others</c:v>
                </c:pt>
                <c:pt idx="150">
                  <c:v>All Others</c:v>
                </c:pt>
                <c:pt idx="151">
                  <c:v>Nicolas</c:v>
                </c:pt>
                <c:pt idx="152">
                  <c:v>Laurent Per</c:v>
                </c:pt>
                <c:pt idx="153">
                  <c:v>Moët &amp; Chan</c:v>
                </c:pt>
                <c:pt idx="154">
                  <c:v>Nicolas</c:v>
                </c:pt>
                <c:pt idx="155">
                  <c:v>All Others</c:v>
                </c:pt>
                <c:pt idx="156">
                  <c:v>All Others</c:v>
                </c:pt>
                <c:pt idx="157">
                  <c:v>All Others</c:v>
                </c:pt>
                <c:pt idx="158">
                  <c:v>Moët &amp; Chan</c:v>
                </c:pt>
                <c:pt idx="159">
                  <c:v>All Others</c:v>
                </c:pt>
                <c:pt idx="160">
                  <c:v>Nicolas Feu</c:v>
                </c:pt>
                <c:pt idx="161">
                  <c:v>Krug</c:v>
                </c:pt>
                <c:pt idx="162">
                  <c:v>Nicolas</c:v>
                </c:pt>
                <c:pt idx="163">
                  <c:v>Lanson</c:v>
                </c:pt>
                <c:pt idx="164">
                  <c:v>All Others</c:v>
                </c:pt>
                <c:pt idx="165">
                  <c:v>Bollinger</c:v>
                </c:pt>
                <c:pt idx="166">
                  <c:v>All Others</c:v>
                </c:pt>
                <c:pt idx="167">
                  <c:v>Louis Marti</c:v>
                </c:pt>
                <c:pt idx="168">
                  <c:v>Nicolas</c:v>
                </c:pt>
                <c:pt idx="169">
                  <c:v>Roederer</c:v>
                </c:pt>
                <c:pt idx="170">
                  <c:v>All Others</c:v>
                </c:pt>
                <c:pt idx="171">
                  <c:v>Taittinger</c:v>
                </c:pt>
                <c:pt idx="172">
                  <c:v>Besserat De</c:v>
                </c:pt>
                <c:pt idx="173">
                  <c:v>All Others</c:v>
                </c:pt>
                <c:pt idx="174">
                  <c:v>All Others</c:v>
                </c:pt>
                <c:pt idx="175">
                  <c:v>Perrier Jou</c:v>
                </c:pt>
                <c:pt idx="176">
                  <c:v>All Others</c:v>
                </c:pt>
                <c:pt idx="177">
                  <c:v>Pommery</c:v>
                </c:pt>
                <c:pt idx="178">
                  <c:v>Roederer</c:v>
                </c:pt>
                <c:pt idx="179">
                  <c:v>Ayala</c:v>
                </c:pt>
                <c:pt idx="180">
                  <c:v>Canard Duch</c:v>
                </c:pt>
                <c:pt idx="181">
                  <c:v>Roederer</c:v>
                </c:pt>
                <c:pt idx="182">
                  <c:v>Laurent Per</c:v>
                </c:pt>
                <c:pt idx="183">
                  <c:v>Deutz</c:v>
                </c:pt>
                <c:pt idx="184">
                  <c:v>Nicolas</c:v>
                </c:pt>
                <c:pt idx="185">
                  <c:v>Contarini</c:v>
                </c:pt>
                <c:pt idx="186">
                  <c:v>All Others</c:v>
                </c:pt>
                <c:pt idx="187">
                  <c:v>Ruinart</c:v>
                </c:pt>
                <c:pt idx="188">
                  <c:v>All Others</c:v>
                </c:pt>
                <c:pt idx="189">
                  <c:v>Ruinart</c:v>
                </c:pt>
                <c:pt idx="190">
                  <c:v>Ruinart</c:v>
                </c:pt>
                <c:pt idx="191">
                  <c:v>All Others</c:v>
                </c:pt>
                <c:pt idx="192">
                  <c:v>Roederer</c:v>
                </c:pt>
                <c:pt idx="193">
                  <c:v>All Others</c:v>
                </c:pt>
                <c:pt idx="194">
                  <c:v>Mure</c:v>
                </c:pt>
                <c:pt idx="195">
                  <c:v>All Others</c:v>
                </c:pt>
                <c:pt idx="196">
                  <c:v>All Others</c:v>
                </c:pt>
                <c:pt idx="197">
                  <c:v>All Others</c:v>
                </c:pt>
                <c:pt idx="198">
                  <c:v>All Others</c:v>
                </c:pt>
                <c:pt idx="199">
                  <c:v>All Others</c:v>
                </c:pt>
                <c:pt idx="200">
                  <c:v>All Others</c:v>
                </c:pt>
                <c:pt idx="201">
                  <c:v>Nicolas</c:v>
                </c:pt>
                <c:pt idx="202">
                  <c:v>Vesselle</c:v>
                </c:pt>
                <c:pt idx="203">
                  <c:v>Dom Perigno</c:v>
                </c:pt>
                <c:pt idx="204">
                  <c:v>Dom Perigno</c:v>
                </c:pt>
                <c:pt idx="205">
                  <c:v>All Others</c:v>
                </c:pt>
                <c:pt idx="206">
                  <c:v>All Others</c:v>
                </c:pt>
                <c:pt idx="207">
                  <c:v>Demoiselle</c:v>
                </c:pt>
                <c:pt idx="208">
                  <c:v>Roederer</c:v>
                </c:pt>
                <c:pt idx="209">
                  <c:v>Ruinart</c:v>
                </c:pt>
                <c:pt idx="210">
                  <c:v>Deutz</c:v>
                </c:pt>
                <c:pt idx="211">
                  <c:v>Nicolas</c:v>
                </c:pt>
                <c:pt idx="212">
                  <c:v>Deutz</c:v>
                </c:pt>
                <c:pt idx="213">
                  <c:v>Taittinger</c:v>
                </c:pt>
                <c:pt idx="214">
                  <c:v>Vranken</c:v>
                </c:pt>
                <c:pt idx="215">
                  <c:v>Moët &amp; Chan</c:v>
                </c:pt>
                <c:pt idx="216">
                  <c:v>Roederer</c:v>
                </c:pt>
                <c:pt idx="217">
                  <c:v>Piper Heids</c:v>
                </c:pt>
                <c:pt idx="218">
                  <c:v>Pommery</c:v>
                </c:pt>
                <c:pt idx="219">
                  <c:v>All Others</c:v>
                </c:pt>
                <c:pt idx="220">
                  <c:v>Piper Heids</c:v>
                </c:pt>
                <c:pt idx="221">
                  <c:v>Nicolas</c:v>
                </c:pt>
                <c:pt idx="222">
                  <c:v>Besserat De</c:v>
                </c:pt>
                <c:pt idx="223">
                  <c:v>Nicolas</c:v>
                </c:pt>
                <c:pt idx="224">
                  <c:v>Ruinart</c:v>
                </c:pt>
                <c:pt idx="225">
                  <c:v>Mure</c:v>
                </c:pt>
                <c:pt idx="226">
                  <c:v>Roederer</c:v>
                </c:pt>
                <c:pt idx="227">
                  <c:v>Krug</c:v>
                </c:pt>
                <c:pt idx="228">
                  <c:v>Moët &amp; Chan</c:v>
                </c:pt>
                <c:pt idx="229">
                  <c:v>All Others</c:v>
                </c:pt>
                <c:pt idx="230">
                  <c:v>Demoiselle</c:v>
                </c:pt>
                <c:pt idx="231">
                  <c:v>Pommery</c:v>
                </c:pt>
                <c:pt idx="232">
                  <c:v>Henriot</c:v>
                </c:pt>
                <c:pt idx="233">
                  <c:v>All Others</c:v>
                </c:pt>
                <c:pt idx="234">
                  <c:v>Bollinger</c:v>
                </c:pt>
                <c:pt idx="235">
                  <c:v>Bollinger</c:v>
                </c:pt>
                <c:pt idx="236">
                  <c:v>Nicolas</c:v>
                </c:pt>
                <c:pt idx="237">
                  <c:v>Bollinger</c:v>
                </c:pt>
                <c:pt idx="238">
                  <c:v>Bouvet-Ladu</c:v>
                </c:pt>
                <c:pt idx="239">
                  <c:v>All Others</c:v>
                </c:pt>
                <c:pt idx="240">
                  <c:v>Roederer</c:v>
                </c:pt>
                <c:pt idx="241">
                  <c:v>Bouvet-Ladu</c:v>
                </c:pt>
                <c:pt idx="242">
                  <c:v>All Others</c:v>
                </c:pt>
                <c:pt idx="243">
                  <c:v>All Others</c:v>
                </c:pt>
                <c:pt idx="244">
                  <c:v>All Others</c:v>
                </c:pt>
                <c:pt idx="245">
                  <c:v>All Others</c:v>
                </c:pt>
                <c:pt idx="246">
                  <c:v>Ruinart</c:v>
                </c:pt>
                <c:pt idx="247">
                  <c:v>Taittinger</c:v>
                </c:pt>
                <c:pt idx="248">
                  <c:v>Roederer</c:v>
                </c:pt>
                <c:pt idx="249">
                  <c:v>Veuve Clicq</c:v>
                </c:pt>
                <c:pt idx="250">
                  <c:v>Bottega</c:v>
                </c:pt>
                <c:pt idx="251">
                  <c:v>Demoiselle</c:v>
                </c:pt>
                <c:pt idx="252">
                  <c:v>Vesselle</c:v>
                </c:pt>
                <c:pt idx="253">
                  <c:v>All Others</c:v>
                </c:pt>
                <c:pt idx="254">
                  <c:v>All Others</c:v>
                </c:pt>
                <c:pt idx="255">
                  <c:v>All Others</c:v>
                </c:pt>
                <c:pt idx="256">
                  <c:v>All Others</c:v>
                </c:pt>
                <c:pt idx="257">
                  <c:v>Bouvet-Ladu</c:v>
                </c:pt>
                <c:pt idx="258">
                  <c:v>Pommery</c:v>
                </c:pt>
                <c:pt idx="259">
                  <c:v>All Others</c:v>
                </c:pt>
                <c:pt idx="260">
                  <c:v>Bollinger</c:v>
                </c:pt>
                <c:pt idx="261">
                  <c:v>Roederer</c:v>
                </c:pt>
                <c:pt idx="262">
                  <c:v>Roederer</c:v>
                </c:pt>
                <c:pt idx="263">
                  <c:v>Bollinger</c:v>
                </c:pt>
                <c:pt idx="264">
                  <c:v>All Others</c:v>
                </c:pt>
                <c:pt idx="265">
                  <c:v>Pommery</c:v>
                </c:pt>
                <c:pt idx="266">
                  <c:v>De Venoge</c:v>
                </c:pt>
                <c:pt idx="267">
                  <c:v>All Others</c:v>
                </c:pt>
                <c:pt idx="268">
                  <c:v>All Others</c:v>
                </c:pt>
                <c:pt idx="269">
                  <c:v>De Venoge</c:v>
                </c:pt>
                <c:pt idx="270">
                  <c:v>Ruinart</c:v>
                </c:pt>
                <c:pt idx="271">
                  <c:v>Piper Heids</c:v>
                </c:pt>
                <c:pt idx="272">
                  <c:v>All Others</c:v>
                </c:pt>
                <c:pt idx="273">
                  <c:v>All Others</c:v>
                </c:pt>
                <c:pt idx="274">
                  <c:v>Veuve Clicq</c:v>
                </c:pt>
                <c:pt idx="275">
                  <c:v>Bollinger</c:v>
                </c:pt>
                <c:pt idx="276">
                  <c:v>Ruinart</c:v>
                </c:pt>
                <c:pt idx="277">
                  <c:v>Perrier Jou</c:v>
                </c:pt>
                <c:pt idx="278">
                  <c:v>Laurent Per</c:v>
                </c:pt>
                <c:pt idx="279">
                  <c:v>Nicolas</c:v>
                </c:pt>
                <c:pt idx="280">
                  <c:v>Celene</c:v>
                </c:pt>
                <c:pt idx="281">
                  <c:v>All Others</c:v>
                </c:pt>
                <c:pt idx="282">
                  <c:v>Lanson</c:v>
                </c:pt>
                <c:pt idx="283">
                  <c:v>Canard Duch</c:v>
                </c:pt>
                <c:pt idx="284">
                  <c:v>Celene</c:v>
                </c:pt>
                <c:pt idx="285">
                  <c:v>Bouvet-Ladu</c:v>
                </c:pt>
                <c:pt idx="286">
                  <c:v>Deutz</c:v>
                </c:pt>
                <c:pt idx="287">
                  <c:v>Nicolas Feu</c:v>
                </c:pt>
                <c:pt idx="288">
                  <c:v>Veuve Clicq</c:v>
                </c:pt>
                <c:pt idx="289">
                  <c:v>Ayala</c:v>
                </c:pt>
                <c:pt idx="290">
                  <c:v>Pommery</c:v>
                </c:pt>
                <c:pt idx="291">
                  <c:v>All Others</c:v>
                </c:pt>
                <c:pt idx="292">
                  <c:v>Moët &amp; Chan</c:v>
                </c:pt>
                <c:pt idx="293">
                  <c:v>Demoiselle</c:v>
                </c:pt>
                <c:pt idx="294">
                  <c:v>Piper Heids</c:v>
                </c:pt>
                <c:pt idx="295">
                  <c:v>De Venoge</c:v>
                </c:pt>
                <c:pt idx="296">
                  <c:v>All Others</c:v>
                </c:pt>
                <c:pt idx="297">
                  <c:v>Roederer</c:v>
                </c:pt>
                <c:pt idx="298">
                  <c:v>Bollinger</c:v>
                </c:pt>
                <c:pt idx="299">
                  <c:v>Henriot</c:v>
                </c:pt>
                <c:pt idx="300">
                  <c:v>Malard</c:v>
                </c:pt>
                <c:pt idx="301">
                  <c:v>Jaillance</c:v>
                </c:pt>
                <c:pt idx="302">
                  <c:v>Vesselle</c:v>
                </c:pt>
                <c:pt idx="303">
                  <c:v>All Others</c:v>
                </c:pt>
                <c:pt idx="304">
                  <c:v>Roederer</c:v>
                </c:pt>
                <c:pt idx="305">
                  <c:v>All Others</c:v>
                </c:pt>
                <c:pt idx="306">
                  <c:v>Bollinger</c:v>
                </c:pt>
                <c:pt idx="307">
                  <c:v>De Venoge</c:v>
                </c:pt>
                <c:pt idx="308">
                  <c:v>Ruinart</c:v>
                </c:pt>
                <c:pt idx="309">
                  <c:v>Ruinart</c:v>
                </c:pt>
                <c:pt idx="310">
                  <c:v>Bouvet-Ladu</c:v>
                </c:pt>
                <c:pt idx="311">
                  <c:v>Lanson</c:v>
                </c:pt>
                <c:pt idx="312">
                  <c:v>De Bligny</c:v>
                </c:pt>
                <c:pt idx="313">
                  <c:v>All Others</c:v>
                </c:pt>
                <c:pt idx="314">
                  <c:v>All Others</c:v>
                </c:pt>
                <c:pt idx="315">
                  <c:v>All Others</c:v>
                </c:pt>
                <c:pt idx="316">
                  <c:v>Laurent Per</c:v>
                </c:pt>
                <c:pt idx="317">
                  <c:v>All Others</c:v>
                </c:pt>
                <c:pt idx="318">
                  <c:v>All Others</c:v>
                </c:pt>
                <c:pt idx="319">
                  <c:v>Demoiselle</c:v>
                </c:pt>
                <c:pt idx="320">
                  <c:v>Piper Heids</c:v>
                </c:pt>
                <c:pt idx="321">
                  <c:v>Ayala</c:v>
                </c:pt>
                <c:pt idx="322">
                  <c:v>All Others</c:v>
                </c:pt>
                <c:pt idx="323">
                  <c:v>Pommery</c:v>
                </c:pt>
                <c:pt idx="324">
                  <c:v>All Others</c:v>
                </c:pt>
                <c:pt idx="325">
                  <c:v>Malard</c:v>
                </c:pt>
                <c:pt idx="326">
                  <c:v>Veuve Clicq</c:v>
                </c:pt>
                <c:pt idx="327">
                  <c:v>All Others</c:v>
                </c:pt>
                <c:pt idx="328">
                  <c:v>Vesselle</c:v>
                </c:pt>
                <c:pt idx="329">
                  <c:v>Besserat De</c:v>
                </c:pt>
                <c:pt idx="330">
                  <c:v>Martel</c:v>
                </c:pt>
                <c:pt idx="331">
                  <c:v>All Others</c:v>
                </c:pt>
                <c:pt idx="332">
                  <c:v>All Others</c:v>
                </c:pt>
                <c:pt idx="333">
                  <c:v>Mure</c:v>
                </c:pt>
                <c:pt idx="334">
                  <c:v>Bottega</c:v>
                </c:pt>
                <c:pt idx="335">
                  <c:v>All Others</c:v>
                </c:pt>
              </c:strCache>
            </c:strRef>
          </c:cat>
          <c:val>
            <c:numRef>
              <c:f>Sheet1!$C$2:$C$337</c:f>
              <c:numCache>
                <c:formatCode>General</c:formatCode>
                <c:ptCount val="336"/>
                <c:pt idx="0">
                  <c:v>9.0574106465157025E-2</c:v>
                </c:pt>
                <c:pt idx="1">
                  <c:v>0.16369246613410823</c:v>
                </c:pt>
                <c:pt idx="2">
                  <c:v>0.21315523688676435</c:v>
                </c:pt>
                <c:pt idx="3">
                  <c:v>0.24871040029391842</c:v>
                </c:pt>
                <c:pt idx="4">
                  <c:v>0.28419866543380989</c:v>
                </c:pt>
                <c:pt idx="5">
                  <c:v>0.3118641726510481</c:v>
                </c:pt>
                <c:pt idx="6">
                  <c:v>0.33912829026471097</c:v>
                </c:pt>
                <c:pt idx="7">
                  <c:v>0.36340729870944199</c:v>
                </c:pt>
                <c:pt idx="8">
                  <c:v>0.38274921503019643</c:v>
                </c:pt>
                <c:pt idx="9">
                  <c:v>0.40196637512281258</c:v>
                </c:pt>
                <c:pt idx="10">
                  <c:v>0.42013015871523507</c:v>
                </c:pt>
                <c:pt idx="11">
                  <c:v>0.43799633542140304</c:v>
                </c:pt>
                <c:pt idx="12">
                  <c:v>0.45418643932345243</c:v>
                </c:pt>
                <c:pt idx="13">
                  <c:v>0.46958135787571609</c:v>
                </c:pt>
                <c:pt idx="14">
                  <c:v>0.48492311942642513</c:v>
                </c:pt>
                <c:pt idx="15">
                  <c:v>0.49970944455272726</c:v>
                </c:pt>
                <c:pt idx="16">
                  <c:v>0.5139576906428851</c:v>
                </c:pt>
                <c:pt idx="17">
                  <c:v>0.52696922281932435</c:v>
                </c:pt>
                <c:pt idx="18">
                  <c:v>0.53963903141434144</c:v>
                </c:pt>
                <c:pt idx="19">
                  <c:v>0.55167601856228032</c:v>
                </c:pt>
                <c:pt idx="20">
                  <c:v>0.56302160307775428</c:v>
                </c:pt>
                <c:pt idx="21">
                  <c:v>0.57397049894897401</c:v>
                </c:pt>
                <c:pt idx="22">
                  <c:v>0.58479138408175624</c:v>
                </c:pt>
                <c:pt idx="23">
                  <c:v>0.59502356446262794</c:v>
                </c:pt>
                <c:pt idx="24">
                  <c:v>0.6044540504731154</c:v>
                </c:pt>
                <c:pt idx="25">
                  <c:v>0.61327485822087491</c:v>
                </c:pt>
                <c:pt idx="26">
                  <c:v>0.62189497116684678</c:v>
                </c:pt>
                <c:pt idx="27">
                  <c:v>0.6302637635952647</c:v>
                </c:pt>
                <c:pt idx="28">
                  <c:v>0.63846476793714302</c:v>
                </c:pt>
                <c:pt idx="29">
                  <c:v>0.6465862175828172</c:v>
                </c:pt>
                <c:pt idx="30">
                  <c:v>0.65449069987520747</c:v>
                </c:pt>
                <c:pt idx="31">
                  <c:v>0.66234021710476576</c:v>
                </c:pt>
                <c:pt idx="32">
                  <c:v>0.67013006831217103</c:v>
                </c:pt>
                <c:pt idx="33">
                  <c:v>0.67763894679707359</c:v>
                </c:pt>
                <c:pt idx="34">
                  <c:v>0.6848006775167218</c:v>
                </c:pt>
                <c:pt idx="35">
                  <c:v>0.69175303474045091</c:v>
                </c:pt>
                <c:pt idx="36">
                  <c:v>0.69846021885496923</c:v>
                </c:pt>
                <c:pt idx="37">
                  <c:v>0.70486834963421108</c:v>
                </c:pt>
                <c:pt idx="38">
                  <c:v>0.71121066698295676</c:v>
                </c:pt>
                <c:pt idx="39">
                  <c:v>0.71753960467824995</c:v>
                </c:pt>
                <c:pt idx="40">
                  <c:v>0.72377307673809821</c:v>
                </c:pt>
                <c:pt idx="41">
                  <c:v>0.72935130739102894</c:v>
                </c:pt>
                <c:pt idx="42">
                  <c:v>0.73486300138895255</c:v>
                </c:pt>
                <c:pt idx="43">
                  <c:v>0.74036131573342367</c:v>
                </c:pt>
                <c:pt idx="44">
                  <c:v>0.74579924083123073</c:v>
                </c:pt>
                <c:pt idx="45">
                  <c:v>0.75096197900262263</c:v>
                </c:pt>
                <c:pt idx="46">
                  <c:v>0.75597139357769383</c:v>
                </c:pt>
                <c:pt idx="47">
                  <c:v>0.76095802658067024</c:v>
                </c:pt>
                <c:pt idx="48">
                  <c:v>0.76587884615315049</c:v>
                </c:pt>
                <c:pt idx="49">
                  <c:v>0.77062609184300357</c:v>
                </c:pt>
                <c:pt idx="50">
                  <c:v>0.77535634175684942</c:v>
                </c:pt>
                <c:pt idx="51">
                  <c:v>0.77978970800895175</c:v>
                </c:pt>
                <c:pt idx="52">
                  <c:v>0.78414749729966016</c:v>
                </c:pt>
                <c:pt idx="53">
                  <c:v>0.78847671922218621</c:v>
                </c:pt>
                <c:pt idx="54">
                  <c:v>0.79268624748815053</c:v>
                </c:pt>
                <c:pt idx="55">
                  <c:v>0.79685021260992528</c:v>
                </c:pt>
                <c:pt idx="56">
                  <c:v>0.80071837890672293</c:v>
                </c:pt>
                <c:pt idx="57">
                  <c:v>0.80439055136105397</c:v>
                </c:pt>
                <c:pt idx="58">
                  <c:v>0.80794990079167739</c:v>
                </c:pt>
                <c:pt idx="59">
                  <c:v>0.81143909744473897</c:v>
                </c:pt>
                <c:pt idx="60">
                  <c:v>0.81481510946183744</c:v>
                </c:pt>
                <c:pt idx="61">
                  <c:v>0.81813109384452731</c:v>
                </c:pt>
                <c:pt idx="62">
                  <c:v>0.82132340683584537</c:v>
                </c:pt>
                <c:pt idx="63">
                  <c:v>0.82449149180604675</c:v>
                </c:pt>
                <c:pt idx="64">
                  <c:v>0.82764836679632847</c:v>
                </c:pt>
                <c:pt idx="65">
                  <c:v>0.83077956731647151</c:v>
                </c:pt>
                <c:pt idx="66">
                  <c:v>0.83388183885617673</c:v>
                </c:pt>
                <c:pt idx="67">
                  <c:v>0.83692986855756091</c:v>
                </c:pt>
                <c:pt idx="68">
                  <c:v>0.83994065219663139</c:v>
                </c:pt>
                <c:pt idx="69">
                  <c:v>0.84287911338460719</c:v>
                </c:pt>
                <c:pt idx="70">
                  <c:v>0.84570728283466368</c:v>
                </c:pt>
                <c:pt idx="71">
                  <c:v>0.84853472906020921</c:v>
                </c:pt>
                <c:pt idx="72">
                  <c:v>0.8512988931410469</c:v>
                </c:pt>
                <c:pt idx="73">
                  <c:v>0.85406052593609627</c:v>
                </c:pt>
                <c:pt idx="74">
                  <c:v>0.85677985009725532</c:v>
                </c:pt>
                <c:pt idx="75">
                  <c:v>0.8594521646652028</c:v>
                </c:pt>
                <c:pt idx="76">
                  <c:v>0.86211905504931818</c:v>
                </c:pt>
                <c:pt idx="77">
                  <c:v>0.86477256577998107</c:v>
                </c:pt>
                <c:pt idx="78">
                  <c:v>0.86729734254769542</c:v>
                </c:pt>
                <c:pt idx="79">
                  <c:v>0.86981741835608861</c:v>
                </c:pt>
                <c:pt idx="80">
                  <c:v>0.87230711873502209</c:v>
                </c:pt>
                <c:pt idx="81">
                  <c:v>0.87478271623599213</c:v>
                </c:pt>
                <c:pt idx="82">
                  <c:v>0.87721636671532721</c:v>
                </c:pt>
                <c:pt idx="83">
                  <c:v>0.87961313274460406</c:v>
                </c:pt>
                <c:pt idx="84">
                  <c:v>0.88199254138561822</c:v>
                </c:pt>
                <c:pt idx="85">
                  <c:v>0.88431590012703398</c:v>
                </c:pt>
                <c:pt idx="86">
                  <c:v>0.88656982931539885</c:v>
                </c:pt>
                <c:pt idx="87">
                  <c:v>0.88880278499294629</c:v>
                </c:pt>
                <c:pt idx="88">
                  <c:v>0.89092689538159631</c:v>
                </c:pt>
                <c:pt idx="89">
                  <c:v>0.89301918389176471</c:v>
                </c:pt>
                <c:pt idx="90">
                  <c:v>0.89507422633961931</c:v>
                </c:pt>
                <c:pt idx="91">
                  <c:v>0.89708985305162736</c:v>
                </c:pt>
                <c:pt idx="92">
                  <c:v>0.89907112659936539</c:v>
                </c:pt>
                <c:pt idx="93">
                  <c:v>0.90101623892155613</c:v>
                </c:pt>
                <c:pt idx="94">
                  <c:v>0.90292844452849885</c:v>
                </c:pt>
                <c:pt idx="95">
                  <c:v>0.90474916223480673</c:v>
                </c:pt>
                <c:pt idx="96">
                  <c:v>0.90656011641021683</c:v>
                </c:pt>
                <c:pt idx="97">
                  <c:v>0.90831429746151771</c:v>
                </c:pt>
                <c:pt idx="98">
                  <c:v>0.9100616078799646</c:v>
                </c:pt>
                <c:pt idx="99">
                  <c:v>0.91178758317533848</c:v>
                </c:pt>
                <c:pt idx="100">
                  <c:v>0.91349945559274892</c:v>
                </c:pt>
                <c:pt idx="101">
                  <c:v>0.91518854643806458</c:v>
                </c:pt>
                <c:pt idx="102">
                  <c:v>0.91687112826278172</c:v>
                </c:pt>
                <c:pt idx="103">
                  <c:v>0.91850453082075445</c:v>
                </c:pt>
                <c:pt idx="104">
                  <c:v>0.92012021437820901</c:v>
                </c:pt>
                <c:pt idx="105">
                  <c:v>0.92169792864883893</c:v>
                </c:pt>
                <c:pt idx="106">
                  <c:v>0.92320332046837417</c:v>
                </c:pt>
                <c:pt idx="107">
                  <c:v>0.9246967790834788</c:v>
                </c:pt>
                <c:pt idx="108">
                  <c:v>0.92613852714605072</c:v>
                </c:pt>
                <c:pt idx="109">
                  <c:v>0.92748517118543317</c:v>
                </c:pt>
                <c:pt idx="110">
                  <c:v>0.92881952040812954</c:v>
                </c:pt>
                <c:pt idx="111">
                  <c:v>0.93012819516068734</c:v>
                </c:pt>
                <c:pt idx="112">
                  <c:v>0.9314202357494934</c:v>
                </c:pt>
                <c:pt idx="113">
                  <c:v>0.93269383411327023</c:v>
                </c:pt>
                <c:pt idx="114">
                  <c:v>0.93387594457641232</c:v>
                </c:pt>
                <c:pt idx="115">
                  <c:v>0.9350515460189559</c:v>
                </c:pt>
                <c:pt idx="116">
                  <c:v>0.93621846876736814</c:v>
                </c:pt>
                <c:pt idx="117">
                  <c:v>0.93736260994368559</c:v>
                </c:pt>
                <c:pt idx="118">
                  <c:v>0.93846371926160166</c:v>
                </c:pt>
                <c:pt idx="119">
                  <c:v>0.93954566312997767</c:v>
                </c:pt>
                <c:pt idx="120">
                  <c:v>0.94062109797775517</c:v>
                </c:pt>
                <c:pt idx="121">
                  <c:v>0.94166760384509485</c:v>
                </c:pt>
                <c:pt idx="122">
                  <c:v>0.94271338648792358</c:v>
                </c:pt>
                <c:pt idx="123">
                  <c:v>0.94375844590624136</c:v>
                </c:pt>
                <c:pt idx="124">
                  <c:v>0.94476879054803364</c:v>
                </c:pt>
                <c:pt idx="125">
                  <c:v>0.9457541839441983</c:v>
                </c:pt>
                <c:pt idx="126">
                  <c:v>0.94672872897269877</c:v>
                </c:pt>
                <c:pt idx="127">
                  <c:v>0.94768447016391466</c:v>
                </c:pt>
                <c:pt idx="128">
                  <c:v>0.94862393880363427</c:v>
                </c:pt>
                <c:pt idx="129">
                  <c:v>0.94953845619772614</c:v>
                </c:pt>
                <c:pt idx="130">
                  <c:v>0.95043814748934363</c:v>
                </c:pt>
                <c:pt idx="131">
                  <c:v>0.95132843686231883</c:v>
                </c:pt>
                <c:pt idx="132">
                  <c:v>0.95220715464311889</c:v>
                </c:pt>
                <c:pt idx="133">
                  <c:v>0.95308370275038612</c:v>
                </c:pt>
                <c:pt idx="134">
                  <c:v>0.95395229538803294</c:v>
                </c:pt>
                <c:pt idx="135">
                  <c:v>0.95480823159673822</c:v>
                </c:pt>
                <c:pt idx="136">
                  <c:v>0.95561679659997645</c:v>
                </c:pt>
                <c:pt idx="137">
                  <c:v>0.95641270517427313</c:v>
                </c:pt>
                <c:pt idx="138">
                  <c:v>0.95720680568729244</c:v>
                </c:pt>
                <c:pt idx="139">
                  <c:v>0.95798354881204906</c:v>
                </c:pt>
                <c:pt idx="140">
                  <c:v>0.95875812226327284</c:v>
                </c:pt>
                <c:pt idx="141">
                  <c:v>0.95952293218359885</c:v>
                </c:pt>
                <c:pt idx="142">
                  <c:v>0.96027291600145037</c:v>
                </c:pt>
                <c:pt idx="143">
                  <c:v>0.96100337275750636</c:v>
                </c:pt>
                <c:pt idx="144">
                  <c:v>0.9617331062890514</c:v>
                </c:pt>
                <c:pt idx="145">
                  <c:v>0.96244765210586658</c:v>
                </c:pt>
                <c:pt idx="146">
                  <c:v>0.9631509879427621</c:v>
                </c:pt>
                <c:pt idx="147">
                  <c:v>0.96384889959582554</c:v>
                </c:pt>
                <c:pt idx="148">
                  <c:v>0.96452583773807155</c:v>
                </c:pt>
                <c:pt idx="149">
                  <c:v>0.96520241426806208</c:v>
                </c:pt>
                <c:pt idx="150">
                  <c:v>0.96587031210392127</c:v>
                </c:pt>
                <c:pt idx="151">
                  <c:v>0.96652844640888258</c:v>
                </c:pt>
                <c:pt idx="152">
                  <c:v>0.96717862524422349</c:v>
                </c:pt>
                <c:pt idx="153">
                  <c:v>0.96779191962950617</c:v>
                </c:pt>
                <c:pt idx="154">
                  <c:v>0.9683925575858473</c:v>
                </c:pt>
                <c:pt idx="155">
                  <c:v>0.96898126233775783</c:v>
                </c:pt>
                <c:pt idx="156">
                  <c:v>0.96956671257936911</c:v>
                </c:pt>
                <c:pt idx="157">
                  <c:v>0.97014167606557156</c:v>
                </c:pt>
                <c:pt idx="158">
                  <c:v>0.97070904569440908</c:v>
                </c:pt>
                <c:pt idx="159">
                  <c:v>0.97126412050656052</c:v>
                </c:pt>
                <c:pt idx="160">
                  <c:v>0.97181557919615724</c:v>
                </c:pt>
                <c:pt idx="161">
                  <c:v>0.9723399169665935</c:v>
                </c:pt>
                <c:pt idx="162">
                  <c:v>0.97285087508357726</c:v>
                </c:pt>
                <c:pt idx="163">
                  <c:v>0.97335206966966326</c:v>
                </c:pt>
                <c:pt idx="164">
                  <c:v>0.97384422394936243</c:v>
                </c:pt>
                <c:pt idx="165">
                  <c:v>0.97432082890207616</c:v>
                </c:pt>
                <c:pt idx="166">
                  <c:v>0.97477899162976078</c:v>
                </c:pt>
                <c:pt idx="167">
                  <c:v>0.97523570790842351</c:v>
                </c:pt>
                <c:pt idx="168">
                  <c:v>0.97568483032972131</c:v>
                </c:pt>
                <c:pt idx="169">
                  <c:v>0.97613069824071985</c:v>
                </c:pt>
                <c:pt idx="170">
                  <c:v>0.97655776231443381</c:v>
                </c:pt>
                <c:pt idx="171">
                  <c:v>0.97697542446950547</c:v>
                </c:pt>
                <c:pt idx="172">
                  <c:v>0.97737717568533633</c:v>
                </c:pt>
                <c:pt idx="173">
                  <c:v>0.97777639561537877</c:v>
                </c:pt>
                <c:pt idx="174">
                  <c:v>0.97817416909639932</c:v>
                </c:pt>
                <c:pt idx="175">
                  <c:v>0.97856832645486513</c:v>
                </c:pt>
                <c:pt idx="176">
                  <c:v>0.97895886769077622</c:v>
                </c:pt>
                <c:pt idx="177">
                  <c:v>0.97933205153842462</c:v>
                </c:pt>
                <c:pt idx="178">
                  <c:v>0.9797041505493066</c:v>
                </c:pt>
                <c:pt idx="179">
                  <c:v>0.9800719102131229</c:v>
                </c:pt>
                <c:pt idx="180">
                  <c:v>0.98042122765191009</c:v>
                </c:pt>
                <c:pt idx="181">
                  <c:v>0.98076475929460971</c:v>
                </c:pt>
                <c:pt idx="182">
                  <c:v>0.98110792932505386</c:v>
                </c:pt>
                <c:pt idx="183">
                  <c:v>0.98145109935549801</c:v>
                </c:pt>
                <c:pt idx="184">
                  <c:v>0.98179173810015385</c:v>
                </c:pt>
                <c:pt idx="185">
                  <c:v>0.9821269526609776</c:v>
                </c:pt>
                <c:pt idx="186">
                  <c:v>0.98245710465022473</c:v>
                </c:pt>
                <c:pt idx="187">
                  <c:v>0.98278255568015072</c:v>
                </c:pt>
                <c:pt idx="188">
                  <c:v>0.98310583703654386</c:v>
                </c:pt>
                <c:pt idx="189">
                  <c:v>0.9834265871071487</c:v>
                </c:pt>
                <c:pt idx="190">
                  <c:v>0.98374480589196522</c:v>
                </c:pt>
                <c:pt idx="191">
                  <c:v>0.98405651565618324</c:v>
                </c:pt>
                <c:pt idx="192">
                  <c:v>0.98436243962431358</c:v>
                </c:pt>
                <c:pt idx="193">
                  <c:v>0.98466221618410088</c:v>
                </c:pt>
                <c:pt idx="194">
                  <c:v>0.98496163113163271</c:v>
                </c:pt>
                <c:pt idx="195">
                  <c:v>0.98525526028307697</c:v>
                </c:pt>
                <c:pt idx="196">
                  <c:v>0.9855467197609884</c:v>
                </c:pt>
                <c:pt idx="197">
                  <c:v>0.98583600956536699</c:v>
                </c:pt>
                <c:pt idx="198">
                  <c:v>0.9861209600226799</c:v>
                </c:pt>
                <c:pt idx="199">
                  <c:v>0.98638710664270823</c:v>
                </c:pt>
                <c:pt idx="200">
                  <c:v>0.98664999875243731</c:v>
                </c:pt>
                <c:pt idx="201">
                  <c:v>0.98691144441314449</c:v>
                </c:pt>
                <c:pt idx="202">
                  <c:v>0.98716565782874222</c:v>
                </c:pt>
                <c:pt idx="203">
                  <c:v>0.98741878640757352</c:v>
                </c:pt>
                <c:pt idx="204">
                  <c:v>0.98767191498640483</c:v>
                </c:pt>
                <c:pt idx="205">
                  <c:v>0.98792468195298067</c:v>
                </c:pt>
                <c:pt idx="206">
                  <c:v>0.98817057828670252</c:v>
                </c:pt>
                <c:pt idx="207">
                  <c:v>0.98840707270178207</c:v>
                </c:pt>
                <c:pt idx="208">
                  <c:v>0.98864356711686163</c:v>
                </c:pt>
                <c:pt idx="209">
                  <c:v>0.98886776671525511</c:v>
                </c:pt>
                <c:pt idx="210">
                  <c:v>0.98909160470139312</c:v>
                </c:pt>
                <c:pt idx="211">
                  <c:v>0.98931435785076471</c:v>
                </c:pt>
                <c:pt idx="212">
                  <c:v>0.98953674938788083</c:v>
                </c:pt>
                <c:pt idx="213">
                  <c:v>0.98973599774064658</c:v>
                </c:pt>
                <c:pt idx="214">
                  <c:v>0.98993452286890138</c:v>
                </c:pt>
                <c:pt idx="215">
                  <c:v>0.99012979348685692</c:v>
                </c:pt>
                <c:pt idx="216">
                  <c:v>0.99032434088030152</c:v>
                </c:pt>
                <c:pt idx="217">
                  <c:v>0.99051816504923518</c:v>
                </c:pt>
                <c:pt idx="218">
                  <c:v>0.99070548019757032</c:v>
                </c:pt>
                <c:pt idx="219">
                  <c:v>0.99089062567237263</c:v>
                </c:pt>
                <c:pt idx="220">
                  <c:v>0.99107143180010926</c:v>
                </c:pt>
                <c:pt idx="221">
                  <c:v>0.99124428245822549</c:v>
                </c:pt>
                <c:pt idx="222">
                  <c:v>0.99141496344280888</c:v>
                </c:pt>
                <c:pt idx="223">
                  <c:v>0.99158347475385944</c:v>
                </c:pt>
                <c:pt idx="224">
                  <c:v>0.99175162445265452</c:v>
                </c:pt>
                <c:pt idx="225">
                  <c:v>0.99191905092693866</c:v>
                </c:pt>
                <c:pt idx="226">
                  <c:v>0.99208358450317902</c:v>
                </c:pt>
                <c:pt idx="227">
                  <c:v>0.99224703324265295</c:v>
                </c:pt>
                <c:pt idx="228">
                  <c:v>0.99240975875761595</c:v>
                </c:pt>
                <c:pt idx="229">
                  <c:v>0.99256814492551326</c:v>
                </c:pt>
                <c:pt idx="230">
                  <c:v>0.99272653109341058</c:v>
                </c:pt>
                <c:pt idx="231">
                  <c:v>0.99288419403679695</c:v>
                </c:pt>
                <c:pt idx="232">
                  <c:v>0.99303607118409576</c:v>
                </c:pt>
                <c:pt idx="233">
                  <c:v>0.99318541704560626</c:v>
                </c:pt>
                <c:pt idx="234">
                  <c:v>0.99333295484583939</c:v>
                </c:pt>
                <c:pt idx="235">
                  <c:v>0.99347723813577327</c:v>
                </c:pt>
                <c:pt idx="236">
                  <c:v>0.99361428918059769</c:v>
                </c:pt>
                <c:pt idx="237">
                  <c:v>0.99375097861316664</c:v>
                </c:pt>
                <c:pt idx="238">
                  <c:v>0.99388622159671369</c:v>
                </c:pt>
                <c:pt idx="239">
                  <c:v>0.99402146458026075</c:v>
                </c:pt>
                <c:pt idx="240">
                  <c:v>0.99415309144125297</c:v>
                </c:pt>
                <c:pt idx="241">
                  <c:v>0.99428074056743498</c:v>
                </c:pt>
                <c:pt idx="242">
                  <c:v>0.99440802808136153</c:v>
                </c:pt>
                <c:pt idx="243">
                  <c:v>0.99453459237077713</c:v>
                </c:pt>
                <c:pt idx="244">
                  <c:v>0.99466115666019272</c:v>
                </c:pt>
                <c:pt idx="245">
                  <c:v>0.99478735933735285</c:v>
                </c:pt>
                <c:pt idx="246">
                  <c:v>0.99491175395323561</c:v>
                </c:pt>
                <c:pt idx="247">
                  <c:v>0.99503289405881912</c:v>
                </c:pt>
                <c:pt idx="248">
                  <c:v>0.99515258771538073</c:v>
                </c:pt>
                <c:pt idx="249">
                  <c:v>0.99527191975968687</c:v>
                </c:pt>
                <c:pt idx="250">
                  <c:v>0.99539052857948207</c:v>
                </c:pt>
                <c:pt idx="251">
                  <c:v>0.99550515966446707</c:v>
                </c:pt>
                <c:pt idx="252">
                  <c:v>0.99561725946366375</c:v>
                </c:pt>
                <c:pt idx="253">
                  <c:v>0.99572827442609402</c:v>
                </c:pt>
                <c:pt idx="254">
                  <c:v>0.99583820455175787</c:v>
                </c:pt>
                <c:pt idx="255">
                  <c:v>0.99594777306516624</c:v>
                </c:pt>
                <c:pt idx="256">
                  <c:v>0.99605083255797611</c:v>
                </c:pt>
                <c:pt idx="257">
                  <c:v>0.99615244560176408</c:v>
                </c:pt>
                <c:pt idx="258">
                  <c:v>0.99625225058427469</c:v>
                </c:pt>
                <c:pt idx="259">
                  <c:v>0.99635097073001888</c:v>
                </c:pt>
                <c:pt idx="260">
                  <c:v>0.99644860603899665</c:v>
                </c:pt>
                <c:pt idx="261">
                  <c:v>0.99654407167444159</c:v>
                </c:pt>
                <c:pt idx="262">
                  <c:v>0.99663917569763105</c:v>
                </c:pt>
                <c:pt idx="263">
                  <c:v>0.99673283327179862</c:v>
                </c:pt>
                <c:pt idx="264">
                  <c:v>0.9968264908459662</c:v>
                </c:pt>
                <c:pt idx="265">
                  <c:v>0.99692014842013377</c:v>
                </c:pt>
                <c:pt idx="266">
                  <c:v>0.99701344438204587</c:v>
                </c:pt>
                <c:pt idx="267">
                  <c:v>0.99710637873170249</c:v>
                </c:pt>
                <c:pt idx="268">
                  <c:v>0.99719858985684817</c:v>
                </c:pt>
                <c:pt idx="269">
                  <c:v>0.99729080098199385</c:v>
                </c:pt>
                <c:pt idx="270">
                  <c:v>0.9973808424336067</c:v>
                </c:pt>
                <c:pt idx="271">
                  <c:v>0.99746943743619765</c:v>
                </c:pt>
                <c:pt idx="272">
                  <c:v>0.99755333147946745</c:v>
                </c:pt>
                <c:pt idx="273">
                  <c:v>0.99763505584920442</c:v>
                </c:pt>
                <c:pt idx="274">
                  <c:v>0.99771605699443044</c:v>
                </c:pt>
                <c:pt idx="275">
                  <c:v>0.99779163395582438</c:v>
                </c:pt>
                <c:pt idx="276">
                  <c:v>0.99786576446819641</c:v>
                </c:pt>
                <c:pt idx="277">
                  <c:v>0.99793989498056845</c:v>
                </c:pt>
                <c:pt idx="278">
                  <c:v>0.99801221743166313</c:v>
                </c:pt>
                <c:pt idx="279">
                  <c:v>0.99808273182148044</c:v>
                </c:pt>
                <c:pt idx="280">
                  <c:v>0.99815288459904228</c:v>
                </c:pt>
                <c:pt idx="281">
                  <c:v>0.99822267576434864</c:v>
                </c:pt>
                <c:pt idx="282">
                  <c:v>0.99829102048063312</c:v>
                </c:pt>
                <c:pt idx="283">
                  <c:v>0.99835936519691759</c:v>
                </c:pt>
                <c:pt idx="284">
                  <c:v>0.99842626346418017</c:v>
                </c:pt>
                <c:pt idx="285">
                  <c:v>0.99849280011918728</c:v>
                </c:pt>
                <c:pt idx="286">
                  <c:v>0.99855716710066156</c:v>
                </c:pt>
                <c:pt idx="287">
                  <c:v>0.99862081085762489</c:v>
                </c:pt>
                <c:pt idx="288">
                  <c:v>0.99868409300233274</c:v>
                </c:pt>
                <c:pt idx="289">
                  <c:v>0.99874665192252965</c:v>
                </c:pt>
                <c:pt idx="290">
                  <c:v>0.99880776439370467</c:v>
                </c:pt>
                <c:pt idx="291">
                  <c:v>0.99886706880360232</c:v>
                </c:pt>
                <c:pt idx="292">
                  <c:v>0.99892311870320072</c:v>
                </c:pt>
                <c:pt idx="293">
                  <c:v>0.99897880699054364</c:v>
                </c:pt>
                <c:pt idx="294">
                  <c:v>0.99903196399209826</c:v>
                </c:pt>
                <c:pt idx="295">
                  <c:v>0.99908331293237551</c:v>
                </c:pt>
                <c:pt idx="296">
                  <c:v>0.99913430026039729</c:v>
                </c:pt>
                <c:pt idx="297">
                  <c:v>0.99917697050654308</c:v>
                </c:pt>
                <c:pt idx="298">
                  <c:v>0.99921855591592246</c:v>
                </c:pt>
                <c:pt idx="299">
                  <c:v>0.99925941810079089</c:v>
                </c:pt>
                <c:pt idx="300">
                  <c:v>0.99930028028565931</c:v>
                </c:pt>
                <c:pt idx="301">
                  <c:v>0.9993364415112066</c:v>
                </c:pt>
                <c:pt idx="302">
                  <c:v>0.99937224112449841</c:v>
                </c:pt>
                <c:pt idx="303">
                  <c:v>0.99940804073779022</c:v>
                </c:pt>
                <c:pt idx="304">
                  <c:v>0.99944239390206013</c:v>
                </c:pt>
                <c:pt idx="305">
                  <c:v>0.99947674706633005</c:v>
                </c:pt>
                <c:pt idx="306">
                  <c:v>0.9995107386183445</c:v>
                </c:pt>
                <c:pt idx="307">
                  <c:v>0.99954328372133705</c:v>
                </c:pt>
                <c:pt idx="308">
                  <c:v>0.99957329753854129</c:v>
                </c:pt>
                <c:pt idx="309">
                  <c:v>0.99960222651897912</c:v>
                </c:pt>
                <c:pt idx="310">
                  <c:v>0.99962826260137316</c:v>
                </c:pt>
                <c:pt idx="311">
                  <c:v>0.99965429868376721</c:v>
                </c:pt>
                <c:pt idx="312">
                  <c:v>0.9996796115416503</c:v>
                </c:pt>
                <c:pt idx="313">
                  <c:v>0.9997049243995334</c:v>
                </c:pt>
                <c:pt idx="314">
                  <c:v>0.99972915242065008</c:v>
                </c:pt>
                <c:pt idx="315">
                  <c:v>0.99975301882951129</c:v>
                </c:pt>
                <c:pt idx="316">
                  <c:v>0.99977471556483966</c:v>
                </c:pt>
                <c:pt idx="317">
                  <c:v>0.99979532746340161</c:v>
                </c:pt>
                <c:pt idx="318">
                  <c:v>0.99981557774970808</c:v>
                </c:pt>
                <c:pt idx="319">
                  <c:v>0.99983148868894889</c:v>
                </c:pt>
                <c:pt idx="320">
                  <c:v>0.99984703801593422</c:v>
                </c:pt>
                <c:pt idx="321">
                  <c:v>0.99986186411840861</c:v>
                </c:pt>
                <c:pt idx="322">
                  <c:v>0.99987669022088299</c:v>
                </c:pt>
                <c:pt idx="323">
                  <c:v>0.99989079309884643</c:v>
                </c:pt>
                <c:pt idx="324">
                  <c:v>0.99990489597680987</c:v>
                </c:pt>
                <c:pt idx="325">
                  <c:v>0.99991863724251784</c:v>
                </c:pt>
                <c:pt idx="326">
                  <c:v>0.99993165528371486</c:v>
                </c:pt>
                <c:pt idx="327">
                  <c:v>0.99994322687588999</c:v>
                </c:pt>
                <c:pt idx="328">
                  <c:v>0.99995443685580965</c:v>
                </c:pt>
                <c:pt idx="329">
                  <c:v>0.99996492361121836</c:v>
                </c:pt>
                <c:pt idx="330">
                  <c:v>0.99997396391760518</c:v>
                </c:pt>
                <c:pt idx="331">
                  <c:v>0.99998083455045916</c:v>
                </c:pt>
                <c:pt idx="332">
                  <c:v>0.9999869819588022</c:v>
                </c:pt>
                <c:pt idx="333">
                  <c:v>0.99999240614263429</c:v>
                </c:pt>
                <c:pt idx="334">
                  <c:v>0.99999674548969997</c:v>
                </c:pt>
                <c:pt idx="335">
                  <c:v>0.9999999999999992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2</c:f>
              <c:strCache>
                <c:ptCount val="301"/>
                <c:pt idx="0">
                  <c:v>Ruinart</c:v>
                </c:pt>
                <c:pt idx="1">
                  <c:v>Ruinart</c:v>
                </c:pt>
                <c:pt idx="2">
                  <c:v>Nicolas</c:v>
                </c:pt>
                <c:pt idx="3">
                  <c:v>Deutz</c:v>
                </c:pt>
                <c:pt idx="4">
                  <c:v>Heidsieck &amp;</c:v>
                </c:pt>
                <c:pt idx="5">
                  <c:v>Malard</c:v>
                </c:pt>
                <c:pt idx="6">
                  <c:v>De Bligny</c:v>
                </c:pt>
                <c:pt idx="7">
                  <c:v>Laurent Per</c:v>
                </c:pt>
                <c:pt idx="8">
                  <c:v>Ayala</c:v>
                </c:pt>
                <c:pt idx="9">
                  <c:v>Canard Duch</c:v>
                </c:pt>
                <c:pt idx="10">
                  <c:v>Nicolas Feu</c:v>
                </c:pt>
                <c:pt idx="11">
                  <c:v>Bollinger</c:v>
                </c:pt>
                <c:pt idx="12">
                  <c:v>Besserat De</c:v>
                </c:pt>
                <c:pt idx="13">
                  <c:v>Taittinger</c:v>
                </c:pt>
                <c:pt idx="14">
                  <c:v>Ruinart</c:v>
                </c:pt>
                <c:pt idx="15">
                  <c:v>Ruinart</c:v>
                </c:pt>
                <c:pt idx="16">
                  <c:v>Ruinart</c:v>
                </c:pt>
                <c:pt idx="17">
                  <c:v>Ruinart</c:v>
                </c:pt>
                <c:pt idx="18">
                  <c:v>Deutz</c:v>
                </c:pt>
                <c:pt idx="19">
                  <c:v>Demoiselle</c:v>
                </c:pt>
                <c:pt idx="20">
                  <c:v>Ruinart</c:v>
                </c:pt>
                <c:pt idx="21">
                  <c:v>Dom Perigno</c:v>
                </c:pt>
                <c:pt idx="22">
                  <c:v>All Others</c:v>
                </c:pt>
                <c:pt idx="23">
                  <c:v>All Others</c:v>
                </c:pt>
                <c:pt idx="24">
                  <c:v>Perrier Jou</c:v>
                </c:pt>
                <c:pt idx="25">
                  <c:v>Savian</c:v>
                </c:pt>
                <c:pt idx="26">
                  <c:v>Nicolas</c:v>
                </c:pt>
                <c:pt idx="27">
                  <c:v>Besserat De</c:v>
                </c:pt>
                <c:pt idx="28">
                  <c:v>Laurent Per</c:v>
                </c:pt>
                <c:pt idx="29">
                  <c:v>Dom Perigno</c:v>
                </c:pt>
                <c:pt idx="30">
                  <c:v>Moët &amp; Chan</c:v>
                </c:pt>
                <c:pt idx="31">
                  <c:v>Taittinger</c:v>
                </c:pt>
                <c:pt idx="32">
                  <c:v>Roederer</c:v>
                </c:pt>
                <c:pt idx="33">
                  <c:v>Laurent Per</c:v>
                </c:pt>
                <c:pt idx="34">
                  <c:v>Bottega</c:v>
                </c:pt>
                <c:pt idx="35">
                  <c:v>Campari: Al</c:v>
                </c:pt>
                <c:pt idx="36">
                  <c:v>Demoiselle</c:v>
                </c:pt>
                <c:pt idx="37">
                  <c:v>Deutz</c:v>
                </c:pt>
                <c:pt idx="38">
                  <c:v>Roederer</c:v>
                </c:pt>
                <c:pt idx="39">
                  <c:v>Pommery</c:v>
                </c:pt>
                <c:pt idx="40">
                  <c:v>Malard</c:v>
                </c:pt>
                <c:pt idx="41">
                  <c:v>Patriarche</c:v>
                </c:pt>
                <c:pt idx="42">
                  <c:v>Veuve Clicq</c:v>
                </c:pt>
                <c:pt idx="43">
                  <c:v>Nicolas</c:v>
                </c:pt>
                <c:pt idx="44">
                  <c:v>Veuve Clicq</c:v>
                </c:pt>
                <c:pt idx="45">
                  <c:v>Nicolas</c:v>
                </c:pt>
                <c:pt idx="46">
                  <c:v>Roederer</c:v>
                </c:pt>
                <c:pt idx="47">
                  <c:v>Bouvet-Ladu</c:v>
                </c:pt>
                <c:pt idx="48">
                  <c:v>All Others</c:v>
                </c:pt>
                <c:pt idx="49">
                  <c:v>Ruinart</c:v>
                </c:pt>
                <c:pt idx="50">
                  <c:v>All Others</c:v>
                </c:pt>
                <c:pt idx="51">
                  <c:v>Henriot</c:v>
                </c:pt>
                <c:pt idx="52">
                  <c:v>Moët &amp; Chan</c:v>
                </c:pt>
                <c:pt idx="53">
                  <c:v>Vesselle</c:v>
                </c:pt>
                <c:pt idx="54">
                  <c:v>De Chanceny</c:v>
                </c:pt>
                <c:pt idx="55">
                  <c:v>Bollinger</c:v>
                </c:pt>
                <c:pt idx="56">
                  <c:v>Moët &amp; Chan</c:v>
                </c:pt>
                <c:pt idx="57">
                  <c:v>Nicolas</c:v>
                </c:pt>
                <c:pt idx="58">
                  <c:v>Mure</c:v>
                </c:pt>
                <c:pt idx="59">
                  <c:v>Malard</c:v>
                </c:pt>
                <c:pt idx="60">
                  <c:v>Ruinart</c:v>
                </c:pt>
                <c:pt idx="61">
                  <c:v>De Bligny</c:v>
                </c:pt>
                <c:pt idx="62">
                  <c:v>Campari: Al</c:v>
                </c:pt>
                <c:pt idx="63">
                  <c:v>Roederer</c:v>
                </c:pt>
                <c:pt idx="64">
                  <c:v>Nicolas Feu</c:v>
                </c:pt>
                <c:pt idx="65">
                  <c:v>Nicolas Feu</c:v>
                </c:pt>
                <c:pt idx="66">
                  <c:v>Besserat De</c:v>
                </c:pt>
                <c:pt idx="67">
                  <c:v>Ayala</c:v>
                </c:pt>
                <c:pt idx="68">
                  <c:v>Lanson</c:v>
                </c:pt>
                <c:pt idx="69">
                  <c:v>Lyre's</c:v>
                </c:pt>
                <c:pt idx="70">
                  <c:v>Pommery</c:v>
                </c:pt>
                <c:pt idx="71">
                  <c:v>Savian</c:v>
                </c:pt>
                <c:pt idx="72">
                  <c:v>Krug</c:v>
                </c:pt>
                <c:pt idx="73">
                  <c:v>Ruinart</c:v>
                </c:pt>
                <c:pt idx="74">
                  <c:v>Roederer</c:v>
                </c:pt>
                <c:pt idx="75">
                  <c:v>Veuve Clicq</c:v>
                </c:pt>
                <c:pt idx="76">
                  <c:v>Canard Duch</c:v>
                </c:pt>
                <c:pt idx="77">
                  <c:v>Malard</c:v>
                </c:pt>
                <c:pt idx="78">
                  <c:v>Delamotte</c:v>
                </c:pt>
                <c:pt idx="79">
                  <c:v>Chateau Mon</c:v>
                </c:pt>
                <c:pt idx="80">
                  <c:v>De Venoge</c:v>
                </c:pt>
                <c:pt idx="81">
                  <c:v>Ruinart</c:v>
                </c:pt>
                <c:pt idx="82">
                  <c:v>Louis Marti</c:v>
                </c:pt>
                <c:pt idx="83">
                  <c:v>Henriot</c:v>
                </c:pt>
                <c:pt idx="84">
                  <c:v>Vranken</c:v>
                </c:pt>
                <c:pt idx="85">
                  <c:v>Piper Heids</c:v>
                </c:pt>
                <c:pt idx="86">
                  <c:v>Deutz</c:v>
                </c:pt>
                <c:pt idx="87">
                  <c:v>Canard Duch</c:v>
                </c:pt>
                <c:pt idx="88">
                  <c:v>De Venoge</c:v>
                </c:pt>
                <c:pt idx="89">
                  <c:v>Nicolas Feu</c:v>
                </c:pt>
                <c:pt idx="90">
                  <c:v>All Others</c:v>
                </c:pt>
                <c:pt idx="91">
                  <c:v>Malard</c:v>
                </c:pt>
                <c:pt idx="92">
                  <c:v>Deutz</c:v>
                </c:pt>
                <c:pt idx="93">
                  <c:v>Vranken</c:v>
                </c:pt>
                <c:pt idx="94">
                  <c:v>Canard Duch</c:v>
                </c:pt>
                <c:pt idx="95">
                  <c:v>Ruinart</c:v>
                </c:pt>
                <c:pt idx="96">
                  <c:v>Roederer</c:v>
                </c:pt>
                <c:pt idx="97">
                  <c:v>De Venoge</c:v>
                </c:pt>
                <c:pt idx="98">
                  <c:v>Ruinart</c:v>
                </c:pt>
                <c:pt idx="99">
                  <c:v>Dom Perigno</c:v>
                </c:pt>
                <c:pt idx="100">
                  <c:v>Laurent Per</c:v>
                </c:pt>
                <c:pt idx="101">
                  <c:v>Kriter</c:v>
                </c:pt>
                <c:pt idx="102">
                  <c:v>Nicolas</c:v>
                </c:pt>
                <c:pt idx="103">
                  <c:v>All Others</c:v>
                </c:pt>
                <c:pt idx="104">
                  <c:v>Canard Duch</c:v>
                </c:pt>
                <c:pt idx="105">
                  <c:v>Ruinart</c:v>
                </c:pt>
                <c:pt idx="106">
                  <c:v>Roederer</c:v>
                </c:pt>
                <c:pt idx="107">
                  <c:v>All Others</c:v>
                </c:pt>
                <c:pt idx="108">
                  <c:v>Nicolas</c:v>
                </c:pt>
                <c:pt idx="109">
                  <c:v>Contarini</c:v>
                </c:pt>
                <c:pt idx="110">
                  <c:v>Patriarche</c:v>
                </c:pt>
                <c:pt idx="111">
                  <c:v>Pommery</c:v>
                </c:pt>
                <c:pt idx="112">
                  <c:v>All Others</c:v>
                </c:pt>
                <c:pt idx="113">
                  <c:v>All Others</c:v>
                </c:pt>
                <c:pt idx="114">
                  <c:v>All Others</c:v>
                </c:pt>
                <c:pt idx="115">
                  <c:v>De Chanceny</c:v>
                </c:pt>
                <c:pt idx="116">
                  <c:v>Ruinart</c:v>
                </c:pt>
                <c:pt idx="117">
                  <c:v>Bollinger</c:v>
                </c:pt>
                <c:pt idx="118">
                  <c:v>All Others</c:v>
                </c:pt>
                <c:pt idx="119">
                  <c:v>Veuve Clicq</c:v>
                </c:pt>
                <c:pt idx="120">
                  <c:v>Henriot</c:v>
                </c:pt>
                <c:pt idx="121">
                  <c:v>Roederer</c:v>
                </c:pt>
                <c:pt idx="122">
                  <c:v>Nicolas</c:v>
                </c:pt>
                <c:pt idx="123">
                  <c:v>Laurent Per</c:v>
                </c:pt>
                <c:pt idx="124">
                  <c:v>Perrier Jou</c:v>
                </c:pt>
                <c:pt idx="125">
                  <c:v>Piper Heids</c:v>
                </c:pt>
                <c:pt idx="126">
                  <c:v>Nicolas</c:v>
                </c:pt>
                <c:pt idx="127">
                  <c:v>Nicolas</c:v>
                </c:pt>
                <c:pt idx="128">
                  <c:v>Bottega</c:v>
                </c:pt>
                <c:pt idx="129">
                  <c:v>Canard Duch</c:v>
                </c:pt>
                <c:pt idx="130">
                  <c:v>All Others</c:v>
                </c:pt>
                <c:pt idx="131">
                  <c:v>Louis Marti</c:v>
                </c:pt>
                <c:pt idx="132">
                  <c:v>Deutz</c:v>
                </c:pt>
                <c:pt idx="133">
                  <c:v>Moët &amp; Chan</c:v>
                </c:pt>
                <c:pt idx="134">
                  <c:v>All Others</c:v>
                </c:pt>
                <c:pt idx="135">
                  <c:v>All Others</c:v>
                </c:pt>
                <c:pt idx="136">
                  <c:v>Moët &amp; Chan</c:v>
                </c:pt>
                <c:pt idx="137">
                  <c:v>All Others</c:v>
                </c:pt>
                <c:pt idx="138">
                  <c:v>All Others</c:v>
                </c:pt>
                <c:pt idx="139">
                  <c:v>All Others</c:v>
                </c:pt>
                <c:pt idx="140">
                  <c:v>Bollinger</c:v>
                </c:pt>
                <c:pt idx="141">
                  <c:v>Perrier Jou</c:v>
                </c:pt>
                <c:pt idx="142">
                  <c:v>All Others</c:v>
                </c:pt>
                <c:pt idx="143">
                  <c:v>Malard</c:v>
                </c:pt>
                <c:pt idx="144">
                  <c:v>Laurent Per</c:v>
                </c:pt>
                <c:pt idx="145">
                  <c:v>Deutz</c:v>
                </c:pt>
                <c:pt idx="146">
                  <c:v>Nicolas</c:v>
                </c:pt>
                <c:pt idx="147">
                  <c:v>Roederer</c:v>
                </c:pt>
                <c:pt idx="148">
                  <c:v>Ruinart</c:v>
                </c:pt>
                <c:pt idx="149">
                  <c:v>Nicolas</c:v>
                </c:pt>
                <c:pt idx="150">
                  <c:v>Bouvet-Ladu</c:v>
                </c:pt>
                <c:pt idx="151">
                  <c:v>Nicolas</c:v>
                </c:pt>
                <c:pt idx="152">
                  <c:v>Ruinart</c:v>
                </c:pt>
                <c:pt idx="153">
                  <c:v>Henriot</c:v>
                </c:pt>
                <c:pt idx="154">
                  <c:v>Ruinart</c:v>
                </c:pt>
                <c:pt idx="155">
                  <c:v>Taittinger</c:v>
                </c:pt>
                <c:pt idx="156">
                  <c:v>All Others</c:v>
                </c:pt>
                <c:pt idx="157">
                  <c:v>Laurent Per</c:v>
                </c:pt>
                <c:pt idx="158">
                  <c:v>Ruinart</c:v>
                </c:pt>
                <c:pt idx="159">
                  <c:v>All Others</c:v>
                </c:pt>
                <c:pt idx="160">
                  <c:v>All Others</c:v>
                </c:pt>
                <c:pt idx="161">
                  <c:v>All Others</c:v>
                </c:pt>
                <c:pt idx="162">
                  <c:v>Cru La Maqu</c:v>
                </c:pt>
                <c:pt idx="163">
                  <c:v>Besserat De</c:v>
                </c:pt>
                <c:pt idx="164">
                  <c:v>Demoiselle</c:v>
                </c:pt>
                <c:pt idx="165">
                  <c:v>Ayala</c:v>
                </c:pt>
                <c:pt idx="166">
                  <c:v>De Venoge</c:v>
                </c:pt>
                <c:pt idx="167">
                  <c:v>Nicolas</c:v>
                </c:pt>
                <c:pt idx="168">
                  <c:v>Vesselle</c:v>
                </c:pt>
                <c:pt idx="169">
                  <c:v>Ruinart</c:v>
                </c:pt>
                <c:pt idx="170">
                  <c:v>Roederer</c:v>
                </c:pt>
                <c:pt idx="171">
                  <c:v>Delamotte</c:v>
                </c:pt>
                <c:pt idx="172">
                  <c:v>Taittinger</c:v>
                </c:pt>
                <c:pt idx="173">
                  <c:v>Nicolas</c:v>
                </c:pt>
                <c:pt idx="174">
                  <c:v>Bollinger</c:v>
                </c:pt>
                <c:pt idx="175">
                  <c:v>Nicolas</c:v>
                </c:pt>
                <c:pt idx="176">
                  <c:v>Moët &amp; Chan</c:v>
                </c:pt>
                <c:pt idx="177">
                  <c:v>Demoiselle</c:v>
                </c:pt>
                <c:pt idx="178">
                  <c:v>Contarini</c:v>
                </c:pt>
                <c:pt idx="179">
                  <c:v>All Others</c:v>
                </c:pt>
                <c:pt idx="180">
                  <c:v>All Others</c:v>
                </c:pt>
                <c:pt idx="181">
                  <c:v>Nicolas</c:v>
                </c:pt>
                <c:pt idx="182">
                  <c:v>Lanson</c:v>
                </c:pt>
                <c:pt idx="183">
                  <c:v>De Venoge</c:v>
                </c:pt>
                <c:pt idx="184">
                  <c:v>Vesselle</c:v>
                </c:pt>
                <c:pt idx="185">
                  <c:v>Pommery</c:v>
                </c:pt>
                <c:pt idx="186">
                  <c:v>All Others</c:v>
                </c:pt>
                <c:pt idx="187">
                  <c:v>All Others</c:v>
                </c:pt>
                <c:pt idx="188">
                  <c:v>Pommery</c:v>
                </c:pt>
                <c:pt idx="189">
                  <c:v>Bollinger</c:v>
                </c:pt>
                <c:pt idx="190">
                  <c:v>All Others</c:v>
                </c:pt>
                <c:pt idx="191">
                  <c:v>Vranken</c:v>
                </c:pt>
                <c:pt idx="192">
                  <c:v>Pommery</c:v>
                </c:pt>
                <c:pt idx="193">
                  <c:v>De Venoge</c:v>
                </c:pt>
                <c:pt idx="194">
                  <c:v>Deutz</c:v>
                </c:pt>
                <c:pt idx="195">
                  <c:v>Deutz</c:v>
                </c:pt>
                <c:pt idx="196">
                  <c:v>Roederer</c:v>
                </c:pt>
                <c:pt idx="197">
                  <c:v>Deutz</c:v>
                </c:pt>
                <c:pt idx="198">
                  <c:v>Ruinart</c:v>
                </c:pt>
                <c:pt idx="199">
                  <c:v>Besserat De</c:v>
                </c:pt>
                <c:pt idx="200">
                  <c:v>Dom Perigno</c:v>
                </c:pt>
                <c:pt idx="201">
                  <c:v>All Others</c:v>
                </c:pt>
                <c:pt idx="202">
                  <c:v>Roederer</c:v>
                </c:pt>
                <c:pt idx="203">
                  <c:v>All Others</c:v>
                </c:pt>
                <c:pt idx="204">
                  <c:v>Pommery</c:v>
                </c:pt>
                <c:pt idx="205">
                  <c:v>All Others</c:v>
                </c:pt>
                <c:pt idx="206">
                  <c:v>Bottega</c:v>
                </c:pt>
                <c:pt idx="207">
                  <c:v>Piper Heids</c:v>
                </c:pt>
                <c:pt idx="208">
                  <c:v>Taittinger</c:v>
                </c:pt>
                <c:pt idx="209">
                  <c:v>Canard Duch</c:v>
                </c:pt>
                <c:pt idx="210">
                  <c:v>Pommery</c:v>
                </c:pt>
                <c:pt idx="211">
                  <c:v>De Venoge</c:v>
                </c:pt>
                <c:pt idx="212">
                  <c:v>De Venoge</c:v>
                </c:pt>
                <c:pt idx="213">
                  <c:v>Demoiselle</c:v>
                </c:pt>
                <c:pt idx="214">
                  <c:v>Roederer</c:v>
                </c:pt>
                <c:pt idx="215">
                  <c:v>Roederer</c:v>
                </c:pt>
                <c:pt idx="216">
                  <c:v>Laurent Per</c:v>
                </c:pt>
                <c:pt idx="217">
                  <c:v>Roederer</c:v>
                </c:pt>
                <c:pt idx="218">
                  <c:v>All Others</c:v>
                </c:pt>
                <c:pt idx="219">
                  <c:v>Roederer</c:v>
                </c:pt>
                <c:pt idx="220">
                  <c:v>Laurent Per</c:v>
                </c:pt>
                <c:pt idx="221">
                  <c:v>Moët &amp; Chan</c:v>
                </c:pt>
                <c:pt idx="222">
                  <c:v>All Others</c:v>
                </c:pt>
                <c:pt idx="223">
                  <c:v>Henriot</c:v>
                </c:pt>
                <c:pt idx="224">
                  <c:v>Bouvet-Ladu</c:v>
                </c:pt>
                <c:pt idx="225">
                  <c:v>Piper Heids</c:v>
                </c:pt>
                <c:pt idx="226">
                  <c:v>Pommery</c:v>
                </c:pt>
                <c:pt idx="227">
                  <c:v>Nicolas</c:v>
                </c:pt>
                <c:pt idx="228">
                  <c:v>All Others</c:v>
                </c:pt>
                <c:pt idx="229">
                  <c:v>All Others</c:v>
                </c:pt>
                <c:pt idx="230">
                  <c:v>Martel</c:v>
                </c:pt>
                <c:pt idx="231">
                  <c:v>Roederer</c:v>
                </c:pt>
                <c:pt idx="232">
                  <c:v>Nicolas</c:v>
                </c:pt>
                <c:pt idx="233">
                  <c:v>Ruinart</c:v>
                </c:pt>
                <c:pt idx="234">
                  <c:v>All Others</c:v>
                </c:pt>
                <c:pt idx="235">
                  <c:v>Canard Duch</c:v>
                </c:pt>
                <c:pt idx="236">
                  <c:v>All Others</c:v>
                </c:pt>
                <c:pt idx="237">
                  <c:v>Perrier Jou</c:v>
                </c:pt>
                <c:pt idx="238">
                  <c:v>All Others</c:v>
                </c:pt>
                <c:pt idx="239">
                  <c:v>Ruinart</c:v>
                </c:pt>
                <c:pt idx="240">
                  <c:v>Bouvet-Ladu</c:v>
                </c:pt>
                <c:pt idx="241">
                  <c:v>All Others</c:v>
                </c:pt>
                <c:pt idx="242">
                  <c:v>Nicolas Feu</c:v>
                </c:pt>
                <c:pt idx="243">
                  <c:v>Celene</c:v>
                </c:pt>
                <c:pt idx="244">
                  <c:v>Deutz</c:v>
                </c:pt>
                <c:pt idx="245">
                  <c:v>Roederer</c:v>
                </c:pt>
                <c:pt idx="246">
                  <c:v>Jaillance</c:v>
                </c:pt>
                <c:pt idx="247">
                  <c:v>All Others</c:v>
                </c:pt>
                <c:pt idx="248">
                  <c:v>Henriot</c:v>
                </c:pt>
                <c:pt idx="249">
                  <c:v>Canard Duch</c:v>
                </c:pt>
                <c:pt idx="250">
                  <c:v>Bouvet-Ladu</c:v>
                </c:pt>
                <c:pt idx="251">
                  <c:v>Ruinart</c:v>
                </c:pt>
                <c:pt idx="252">
                  <c:v>Henriot</c:v>
                </c:pt>
                <c:pt idx="253">
                  <c:v>Nicolas</c:v>
                </c:pt>
                <c:pt idx="254">
                  <c:v>Celene</c:v>
                </c:pt>
                <c:pt idx="255">
                  <c:v>All Others</c:v>
                </c:pt>
                <c:pt idx="256">
                  <c:v>De Bligny</c:v>
                </c:pt>
                <c:pt idx="257">
                  <c:v>All Others</c:v>
                </c:pt>
                <c:pt idx="258">
                  <c:v>Nicolas Feu</c:v>
                </c:pt>
                <c:pt idx="259">
                  <c:v>All Others</c:v>
                </c:pt>
                <c:pt idx="260">
                  <c:v>Pommery</c:v>
                </c:pt>
                <c:pt idx="261">
                  <c:v>Bollinger</c:v>
                </c:pt>
                <c:pt idx="262">
                  <c:v>All Others</c:v>
                </c:pt>
                <c:pt idx="263">
                  <c:v>Demoiselle</c:v>
                </c:pt>
                <c:pt idx="264">
                  <c:v>Piper Heids</c:v>
                </c:pt>
                <c:pt idx="265">
                  <c:v>All Others</c:v>
                </c:pt>
                <c:pt idx="266">
                  <c:v>Laurent Per</c:v>
                </c:pt>
                <c:pt idx="267">
                  <c:v>Laurent Per</c:v>
                </c:pt>
                <c:pt idx="268">
                  <c:v>Laurent Per</c:v>
                </c:pt>
                <c:pt idx="269">
                  <c:v>All Others</c:v>
                </c:pt>
                <c:pt idx="270">
                  <c:v>Perrier Jou</c:v>
                </c:pt>
                <c:pt idx="271">
                  <c:v>Bottega</c:v>
                </c:pt>
                <c:pt idx="272">
                  <c:v>All Others</c:v>
                </c:pt>
                <c:pt idx="273">
                  <c:v>Roederer</c:v>
                </c:pt>
                <c:pt idx="274">
                  <c:v>Malard</c:v>
                </c:pt>
                <c:pt idx="275">
                  <c:v>Besserat De</c:v>
                </c:pt>
                <c:pt idx="276">
                  <c:v>Bouvet-Ladu</c:v>
                </c:pt>
                <c:pt idx="277">
                  <c:v>Demoiselle</c:v>
                </c:pt>
                <c:pt idx="278">
                  <c:v>All Others</c:v>
                </c:pt>
                <c:pt idx="279">
                  <c:v>Ayala</c:v>
                </c:pt>
                <c:pt idx="280">
                  <c:v>Nicolas Feu</c:v>
                </c:pt>
                <c:pt idx="281">
                  <c:v>Roederer</c:v>
                </c:pt>
                <c:pt idx="282">
                  <c:v>Laurent Per</c:v>
                </c:pt>
                <c:pt idx="283">
                  <c:v>Roederer</c:v>
                </c:pt>
                <c:pt idx="284">
                  <c:v>All Others</c:v>
                </c:pt>
                <c:pt idx="285">
                  <c:v>Roederer</c:v>
                </c:pt>
                <c:pt idx="286">
                  <c:v>Besserat De</c:v>
                </c:pt>
                <c:pt idx="287">
                  <c:v>All Others</c:v>
                </c:pt>
                <c:pt idx="288">
                  <c:v>All Others</c:v>
                </c:pt>
                <c:pt idx="289">
                  <c:v>Malard</c:v>
                </c:pt>
                <c:pt idx="290">
                  <c:v>Pommery</c:v>
                </c:pt>
                <c:pt idx="291">
                  <c:v>All Others</c:v>
                </c:pt>
                <c:pt idx="292">
                  <c:v>Roederer</c:v>
                </c:pt>
                <c:pt idx="293">
                  <c:v>Vesselle</c:v>
                </c:pt>
                <c:pt idx="294">
                  <c:v>Besserat De</c:v>
                </c:pt>
                <c:pt idx="295">
                  <c:v>Pommery</c:v>
                </c:pt>
                <c:pt idx="296">
                  <c:v>All Others</c:v>
                </c:pt>
                <c:pt idx="297">
                  <c:v>Vranken</c:v>
                </c:pt>
                <c:pt idx="298">
                  <c:v>Vesselle</c:v>
                </c:pt>
                <c:pt idx="299">
                  <c:v>All Others</c:v>
                </c:pt>
                <c:pt idx="300">
                  <c:v>All Others</c:v>
                </c:pt>
              </c:strCache>
            </c:strRef>
          </c:cat>
          <c:val>
            <c:numRef>
              <c:f>Sheet1!$B$2:$B$302</c:f>
              <c:numCache>
                <c:formatCode>General</c:formatCode>
                <c:ptCount val="301"/>
                <c:pt idx="0">
                  <c:v>1</c:v>
                </c:pt>
                <c:pt idx="1">
                  <c:v>0.92</c:v>
                </c:pt>
                <c:pt idx="2">
                  <c:v>1</c:v>
                </c:pt>
                <c:pt idx="3">
                  <c:v>1</c:v>
                </c:pt>
                <c:pt idx="4">
                  <c:v>0.89</c:v>
                </c:pt>
                <c:pt idx="5">
                  <c:v>0.95</c:v>
                </c:pt>
                <c:pt idx="6">
                  <c:v>0.98</c:v>
                </c:pt>
                <c:pt idx="7">
                  <c:v>0.96</c:v>
                </c:pt>
                <c:pt idx="8">
                  <c:v>0.84</c:v>
                </c:pt>
                <c:pt idx="9">
                  <c:v>1</c:v>
                </c:pt>
                <c:pt idx="10">
                  <c:v>0.88</c:v>
                </c:pt>
                <c:pt idx="11">
                  <c:v>0.91</c:v>
                </c:pt>
                <c:pt idx="12">
                  <c:v>0.92</c:v>
                </c:pt>
                <c:pt idx="13">
                  <c:v>0.87</c:v>
                </c:pt>
                <c:pt idx="14">
                  <c:v>0.77</c:v>
                </c:pt>
                <c:pt idx="15">
                  <c:v>0.69</c:v>
                </c:pt>
                <c:pt idx="16">
                  <c:v>0.83</c:v>
                </c:pt>
                <c:pt idx="17">
                  <c:v>0.75</c:v>
                </c:pt>
                <c:pt idx="18">
                  <c:v>0.7</c:v>
                </c:pt>
                <c:pt idx="19">
                  <c:v>0.8</c:v>
                </c:pt>
                <c:pt idx="20">
                  <c:v>0.6</c:v>
                </c:pt>
                <c:pt idx="21">
                  <c:v>0.47</c:v>
                </c:pt>
                <c:pt idx="22">
                  <c:v>0.8</c:v>
                </c:pt>
                <c:pt idx="23">
                  <c:v>0.91</c:v>
                </c:pt>
                <c:pt idx="24">
                  <c:v>0.77</c:v>
                </c:pt>
                <c:pt idx="25">
                  <c:v>0.76</c:v>
                </c:pt>
                <c:pt idx="26">
                  <c:v>0.63</c:v>
                </c:pt>
                <c:pt idx="27">
                  <c:v>0.85</c:v>
                </c:pt>
                <c:pt idx="28">
                  <c:v>0.73</c:v>
                </c:pt>
                <c:pt idx="29">
                  <c:v>0.59</c:v>
                </c:pt>
                <c:pt idx="30">
                  <c:v>0.71</c:v>
                </c:pt>
                <c:pt idx="31">
                  <c:v>0.51</c:v>
                </c:pt>
                <c:pt idx="32">
                  <c:v>0.5</c:v>
                </c:pt>
                <c:pt idx="33">
                  <c:v>0.55000000000000004</c:v>
                </c:pt>
                <c:pt idx="34">
                  <c:v>0.77</c:v>
                </c:pt>
                <c:pt idx="35">
                  <c:v>0.54</c:v>
                </c:pt>
                <c:pt idx="36">
                  <c:v>0.74</c:v>
                </c:pt>
                <c:pt idx="37">
                  <c:v>0.59</c:v>
                </c:pt>
                <c:pt idx="38">
                  <c:v>0.6</c:v>
                </c:pt>
                <c:pt idx="39">
                  <c:v>0.7</c:v>
                </c:pt>
                <c:pt idx="40">
                  <c:v>0.69</c:v>
                </c:pt>
                <c:pt idx="41">
                  <c:v>0.79</c:v>
                </c:pt>
                <c:pt idx="42">
                  <c:v>0.49</c:v>
                </c:pt>
                <c:pt idx="43">
                  <c:v>0.52</c:v>
                </c:pt>
                <c:pt idx="44">
                  <c:v>0.63</c:v>
                </c:pt>
                <c:pt idx="45">
                  <c:v>0.64</c:v>
                </c:pt>
                <c:pt idx="46">
                  <c:v>0.41</c:v>
                </c:pt>
                <c:pt idx="47">
                  <c:v>0.55000000000000004</c:v>
                </c:pt>
                <c:pt idx="48">
                  <c:v>0.55000000000000004</c:v>
                </c:pt>
                <c:pt idx="49">
                  <c:v>0.41</c:v>
                </c:pt>
                <c:pt idx="50">
                  <c:v>0.09</c:v>
                </c:pt>
                <c:pt idx="51">
                  <c:v>0.53</c:v>
                </c:pt>
                <c:pt idx="52">
                  <c:v>0.38</c:v>
                </c:pt>
                <c:pt idx="53">
                  <c:v>0.55000000000000004</c:v>
                </c:pt>
                <c:pt idx="54">
                  <c:v>0.77</c:v>
                </c:pt>
                <c:pt idx="55">
                  <c:v>0.4</c:v>
                </c:pt>
                <c:pt idx="56">
                  <c:v>0.55000000000000004</c:v>
                </c:pt>
                <c:pt idx="57">
                  <c:v>0.49</c:v>
                </c:pt>
                <c:pt idx="58">
                  <c:v>0.66</c:v>
                </c:pt>
                <c:pt idx="59">
                  <c:v>0.48</c:v>
                </c:pt>
                <c:pt idx="60">
                  <c:v>0.43</c:v>
                </c:pt>
                <c:pt idx="61">
                  <c:v>0.36</c:v>
                </c:pt>
                <c:pt idx="62">
                  <c:v>0.36</c:v>
                </c:pt>
                <c:pt idx="63">
                  <c:v>0.31</c:v>
                </c:pt>
                <c:pt idx="64">
                  <c:v>0.51</c:v>
                </c:pt>
                <c:pt idx="65">
                  <c:v>0.48</c:v>
                </c:pt>
                <c:pt idx="66">
                  <c:v>0.52</c:v>
                </c:pt>
                <c:pt idx="67">
                  <c:v>0.23</c:v>
                </c:pt>
                <c:pt idx="68">
                  <c:v>0.56000000000000005</c:v>
                </c:pt>
                <c:pt idx="69">
                  <c:v>0.9</c:v>
                </c:pt>
                <c:pt idx="70">
                  <c:v>0.44</c:v>
                </c:pt>
                <c:pt idx="71">
                  <c:v>0.7</c:v>
                </c:pt>
                <c:pt idx="72">
                  <c:v>0.18</c:v>
                </c:pt>
                <c:pt idx="73">
                  <c:v>0.44</c:v>
                </c:pt>
                <c:pt idx="74">
                  <c:v>0.59</c:v>
                </c:pt>
                <c:pt idx="75">
                  <c:v>0.3</c:v>
                </c:pt>
                <c:pt idx="76">
                  <c:v>0.36</c:v>
                </c:pt>
                <c:pt idx="77">
                  <c:v>0.45</c:v>
                </c:pt>
                <c:pt idx="78">
                  <c:v>0.24</c:v>
                </c:pt>
                <c:pt idx="79">
                  <c:v>0.59</c:v>
                </c:pt>
                <c:pt idx="80">
                  <c:v>0.22</c:v>
                </c:pt>
                <c:pt idx="81">
                  <c:v>0.25</c:v>
                </c:pt>
                <c:pt idx="82">
                  <c:v>0.28000000000000003</c:v>
                </c:pt>
                <c:pt idx="83">
                  <c:v>0.26</c:v>
                </c:pt>
                <c:pt idx="84">
                  <c:v>0.28000000000000003</c:v>
                </c:pt>
                <c:pt idx="85">
                  <c:v>0.4</c:v>
                </c:pt>
                <c:pt idx="86">
                  <c:v>0.62</c:v>
                </c:pt>
                <c:pt idx="87">
                  <c:v>0.32</c:v>
                </c:pt>
                <c:pt idx="88">
                  <c:v>0.34</c:v>
                </c:pt>
                <c:pt idx="89">
                  <c:v>0.59</c:v>
                </c:pt>
                <c:pt idx="90">
                  <c:v>0.49</c:v>
                </c:pt>
                <c:pt idx="91">
                  <c:v>0.31</c:v>
                </c:pt>
                <c:pt idx="92">
                  <c:v>0.59</c:v>
                </c:pt>
                <c:pt idx="93">
                  <c:v>0.22</c:v>
                </c:pt>
                <c:pt idx="94">
                  <c:v>0.14000000000000001</c:v>
                </c:pt>
                <c:pt idx="95">
                  <c:v>0.2</c:v>
                </c:pt>
                <c:pt idx="96">
                  <c:v>0.24</c:v>
                </c:pt>
                <c:pt idx="97">
                  <c:v>0.28000000000000003</c:v>
                </c:pt>
                <c:pt idx="98">
                  <c:v>0.59</c:v>
                </c:pt>
                <c:pt idx="99">
                  <c:v>0.14000000000000001</c:v>
                </c:pt>
                <c:pt idx="100">
                  <c:v>0.35</c:v>
                </c:pt>
                <c:pt idx="101">
                  <c:v>0.53</c:v>
                </c:pt>
                <c:pt idx="102">
                  <c:v>0.31</c:v>
                </c:pt>
                <c:pt idx="103">
                  <c:v>0.13</c:v>
                </c:pt>
                <c:pt idx="104">
                  <c:v>0.53</c:v>
                </c:pt>
                <c:pt idx="105">
                  <c:v>0.27</c:v>
                </c:pt>
                <c:pt idx="106">
                  <c:v>0.31</c:v>
                </c:pt>
                <c:pt idx="107">
                  <c:v>0.11</c:v>
                </c:pt>
                <c:pt idx="108">
                  <c:v>0.37</c:v>
                </c:pt>
                <c:pt idx="109">
                  <c:v>0.92</c:v>
                </c:pt>
                <c:pt idx="110">
                  <c:v>0.56000000000000005</c:v>
                </c:pt>
                <c:pt idx="111">
                  <c:v>0.41</c:v>
                </c:pt>
                <c:pt idx="112">
                  <c:v>0.24</c:v>
                </c:pt>
                <c:pt idx="113">
                  <c:v>0.23</c:v>
                </c:pt>
                <c:pt idx="114">
                  <c:v>0.21</c:v>
                </c:pt>
                <c:pt idx="115">
                  <c:v>0.37</c:v>
                </c:pt>
                <c:pt idx="116">
                  <c:v>0.34</c:v>
                </c:pt>
                <c:pt idx="117">
                  <c:v>0.23</c:v>
                </c:pt>
                <c:pt idx="118">
                  <c:v>0.17</c:v>
                </c:pt>
                <c:pt idx="119">
                  <c:v>0.13</c:v>
                </c:pt>
                <c:pt idx="120">
                  <c:v>0.28000000000000003</c:v>
                </c:pt>
                <c:pt idx="121">
                  <c:v>0.13</c:v>
                </c:pt>
                <c:pt idx="122">
                  <c:v>0.41</c:v>
                </c:pt>
                <c:pt idx="123">
                  <c:v>0.15</c:v>
                </c:pt>
                <c:pt idx="124">
                  <c:v>0.13</c:v>
                </c:pt>
                <c:pt idx="125">
                  <c:v>0.13</c:v>
                </c:pt>
                <c:pt idx="126">
                  <c:v>0.3</c:v>
                </c:pt>
                <c:pt idx="127">
                  <c:v>0.32</c:v>
                </c:pt>
                <c:pt idx="128">
                  <c:v>0.59</c:v>
                </c:pt>
                <c:pt idx="129">
                  <c:v>0.35</c:v>
                </c:pt>
                <c:pt idx="130">
                  <c:v>0.16</c:v>
                </c:pt>
                <c:pt idx="131">
                  <c:v>0.21</c:v>
                </c:pt>
                <c:pt idx="132">
                  <c:v>0.21</c:v>
                </c:pt>
                <c:pt idx="133">
                  <c:v>0.18</c:v>
                </c:pt>
                <c:pt idx="134">
                  <c:v>0.41</c:v>
                </c:pt>
                <c:pt idx="135">
                  <c:v>0.33</c:v>
                </c:pt>
                <c:pt idx="136">
                  <c:v>0.39</c:v>
                </c:pt>
                <c:pt idx="137">
                  <c:v>0.26</c:v>
                </c:pt>
                <c:pt idx="138">
                  <c:v>0.39</c:v>
                </c:pt>
                <c:pt idx="139">
                  <c:v>0.35</c:v>
                </c:pt>
                <c:pt idx="140">
                  <c:v>0.17</c:v>
                </c:pt>
                <c:pt idx="141">
                  <c:v>0.15</c:v>
                </c:pt>
                <c:pt idx="142">
                  <c:v>0.38</c:v>
                </c:pt>
                <c:pt idx="143">
                  <c:v>0.19</c:v>
                </c:pt>
                <c:pt idx="144">
                  <c:v>0.14000000000000001</c:v>
                </c:pt>
                <c:pt idx="145">
                  <c:v>0.27</c:v>
                </c:pt>
                <c:pt idx="146">
                  <c:v>0.27</c:v>
                </c:pt>
                <c:pt idx="147">
                  <c:v>0.31</c:v>
                </c:pt>
                <c:pt idx="148">
                  <c:v>0.15</c:v>
                </c:pt>
                <c:pt idx="149">
                  <c:v>0.22</c:v>
                </c:pt>
                <c:pt idx="150">
                  <c:v>0.28000000000000003</c:v>
                </c:pt>
                <c:pt idx="151">
                  <c:v>0.43</c:v>
                </c:pt>
                <c:pt idx="152">
                  <c:v>0.17</c:v>
                </c:pt>
                <c:pt idx="153">
                  <c:v>0.16</c:v>
                </c:pt>
                <c:pt idx="154">
                  <c:v>0.15</c:v>
                </c:pt>
                <c:pt idx="155">
                  <c:v>0.16</c:v>
                </c:pt>
                <c:pt idx="156">
                  <c:v>0.42</c:v>
                </c:pt>
                <c:pt idx="157">
                  <c:v>0.22</c:v>
                </c:pt>
                <c:pt idx="158">
                  <c:v>0.1</c:v>
                </c:pt>
                <c:pt idx="159">
                  <c:v>0.06</c:v>
                </c:pt>
                <c:pt idx="160">
                  <c:v>0.22</c:v>
                </c:pt>
                <c:pt idx="161">
                  <c:v>0.28000000000000003</c:v>
                </c:pt>
                <c:pt idx="162">
                  <c:v>0.43</c:v>
                </c:pt>
                <c:pt idx="163">
                  <c:v>0.17</c:v>
                </c:pt>
                <c:pt idx="164">
                  <c:v>0.21</c:v>
                </c:pt>
                <c:pt idx="165">
                  <c:v>0.1</c:v>
                </c:pt>
                <c:pt idx="166">
                  <c:v>0.17</c:v>
                </c:pt>
                <c:pt idx="167">
                  <c:v>0.2</c:v>
                </c:pt>
                <c:pt idx="168">
                  <c:v>0.28000000000000003</c:v>
                </c:pt>
                <c:pt idx="169">
                  <c:v>0.12</c:v>
                </c:pt>
                <c:pt idx="170">
                  <c:v>0.15</c:v>
                </c:pt>
                <c:pt idx="171">
                  <c:v>0.22</c:v>
                </c:pt>
                <c:pt idx="172">
                  <c:v>0.13</c:v>
                </c:pt>
                <c:pt idx="173">
                  <c:v>0.2</c:v>
                </c:pt>
                <c:pt idx="174">
                  <c:v>7.0000000000000007E-2</c:v>
                </c:pt>
                <c:pt idx="175">
                  <c:v>0.17</c:v>
                </c:pt>
                <c:pt idx="176">
                  <c:v>0.22</c:v>
                </c:pt>
                <c:pt idx="177">
                  <c:v>0.18</c:v>
                </c:pt>
                <c:pt idx="178">
                  <c:v>0.24</c:v>
                </c:pt>
                <c:pt idx="179">
                  <c:v>0.21</c:v>
                </c:pt>
                <c:pt idx="180">
                  <c:v>0.13</c:v>
                </c:pt>
                <c:pt idx="181">
                  <c:v>0.28000000000000003</c:v>
                </c:pt>
                <c:pt idx="182">
                  <c:v>0.17</c:v>
                </c:pt>
                <c:pt idx="183">
                  <c:v>0.22</c:v>
                </c:pt>
                <c:pt idx="184">
                  <c:v>0.21</c:v>
                </c:pt>
                <c:pt idx="185">
                  <c:v>0.19</c:v>
                </c:pt>
                <c:pt idx="186">
                  <c:v>0.09</c:v>
                </c:pt>
                <c:pt idx="187">
                  <c:v>0.2</c:v>
                </c:pt>
                <c:pt idx="188">
                  <c:v>0.21</c:v>
                </c:pt>
                <c:pt idx="189">
                  <c:v>0.12</c:v>
                </c:pt>
                <c:pt idx="190">
                  <c:v>0.15</c:v>
                </c:pt>
                <c:pt idx="191">
                  <c:v>0.12</c:v>
                </c:pt>
                <c:pt idx="192">
                  <c:v>0.15</c:v>
                </c:pt>
                <c:pt idx="193">
                  <c:v>7.0000000000000007E-2</c:v>
                </c:pt>
                <c:pt idx="194">
                  <c:v>0.03</c:v>
                </c:pt>
                <c:pt idx="195">
                  <c:v>0.18</c:v>
                </c:pt>
                <c:pt idx="196">
                  <c:v>0.11</c:v>
                </c:pt>
                <c:pt idx="197">
                  <c:v>0.09</c:v>
                </c:pt>
                <c:pt idx="198">
                  <c:v>0.12</c:v>
                </c:pt>
                <c:pt idx="199">
                  <c:v>0.1</c:v>
                </c:pt>
                <c:pt idx="200">
                  <c:v>0.1</c:v>
                </c:pt>
                <c:pt idx="201">
                  <c:v>0.15</c:v>
                </c:pt>
                <c:pt idx="202">
                  <c:v>0.12</c:v>
                </c:pt>
                <c:pt idx="203">
                  <c:v>0.1</c:v>
                </c:pt>
                <c:pt idx="204">
                  <c:v>0.18</c:v>
                </c:pt>
                <c:pt idx="205">
                  <c:v>0.16</c:v>
                </c:pt>
                <c:pt idx="206">
                  <c:v>0.22</c:v>
                </c:pt>
                <c:pt idx="207">
                  <c:v>0.09</c:v>
                </c:pt>
                <c:pt idx="208">
                  <c:v>0.15</c:v>
                </c:pt>
                <c:pt idx="209">
                  <c:v>0.15</c:v>
                </c:pt>
                <c:pt idx="210">
                  <c:v>0.03</c:v>
                </c:pt>
                <c:pt idx="211">
                  <c:v>0.12</c:v>
                </c:pt>
                <c:pt idx="212">
                  <c:v>0.05</c:v>
                </c:pt>
                <c:pt idx="213">
                  <c:v>0.06</c:v>
                </c:pt>
                <c:pt idx="214">
                  <c:v>0.11</c:v>
                </c:pt>
                <c:pt idx="215">
                  <c:v>0.04</c:v>
                </c:pt>
                <c:pt idx="216">
                  <c:v>0.21</c:v>
                </c:pt>
                <c:pt idx="217">
                  <c:v>7.0000000000000007E-2</c:v>
                </c:pt>
                <c:pt idx="218">
                  <c:v>0.15</c:v>
                </c:pt>
                <c:pt idx="219">
                  <c:v>0.17</c:v>
                </c:pt>
                <c:pt idx="220">
                  <c:v>0.18</c:v>
                </c:pt>
                <c:pt idx="221">
                  <c:v>0.17</c:v>
                </c:pt>
                <c:pt idx="222">
                  <c:v>0.05</c:v>
                </c:pt>
                <c:pt idx="223">
                  <c:v>7.0000000000000007E-2</c:v>
                </c:pt>
                <c:pt idx="224">
                  <c:v>0.1</c:v>
                </c:pt>
                <c:pt idx="225">
                  <c:v>0.1</c:v>
                </c:pt>
                <c:pt idx="226">
                  <c:v>0.15</c:v>
                </c:pt>
                <c:pt idx="227">
                  <c:v>0.11</c:v>
                </c:pt>
                <c:pt idx="228">
                  <c:v>0.05</c:v>
                </c:pt>
                <c:pt idx="229">
                  <c:v>7.0000000000000007E-2</c:v>
                </c:pt>
                <c:pt idx="230">
                  <c:v>0.14000000000000001</c:v>
                </c:pt>
                <c:pt idx="231">
                  <c:v>0.04</c:v>
                </c:pt>
                <c:pt idx="232">
                  <c:v>0.08</c:v>
                </c:pt>
                <c:pt idx="233">
                  <c:v>0.1</c:v>
                </c:pt>
                <c:pt idx="234">
                  <c:v>0.04</c:v>
                </c:pt>
                <c:pt idx="235">
                  <c:v>0.09</c:v>
                </c:pt>
                <c:pt idx="236">
                  <c:v>0.2</c:v>
                </c:pt>
                <c:pt idx="237">
                  <c:v>0.05</c:v>
                </c:pt>
                <c:pt idx="238">
                  <c:v>0.11</c:v>
                </c:pt>
                <c:pt idx="239">
                  <c:v>0.18</c:v>
                </c:pt>
                <c:pt idx="240">
                  <c:v>7.0000000000000007E-2</c:v>
                </c:pt>
                <c:pt idx="241">
                  <c:v>0.04</c:v>
                </c:pt>
                <c:pt idx="242">
                  <c:v>0.06</c:v>
                </c:pt>
                <c:pt idx="243">
                  <c:v>0.13</c:v>
                </c:pt>
                <c:pt idx="244">
                  <c:v>0.03</c:v>
                </c:pt>
                <c:pt idx="245">
                  <c:v>0.22</c:v>
                </c:pt>
                <c:pt idx="246">
                  <c:v>0.21</c:v>
                </c:pt>
                <c:pt idx="247">
                  <c:v>0.1</c:v>
                </c:pt>
                <c:pt idx="248">
                  <c:v>0.16</c:v>
                </c:pt>
                <c:pt idx="249">
                  <c:v>0.27</c:v>
                </c:pt>
                <c:pt idx="250">
                  <c:v>0.17</c:v>
                </c:pt>
                <c:pt idx="251">
                  <c:v>7.0000000000000007E-2</c:v>
                </c:pt>
                <c:pt idx="252">
                  <c:v>0.04</c:v>
                </c:pt>
                <c:pt idx="253">
                  <c:v>0.05</c:v>
                </c:pt>
                <c:pt idx="254">
                  <c:v>0.33</c:v>
                </c:pt>
                <c:pt idx="255">
                  <c:v>0.17</c:v>
                </c:pt>
                <c:pt idx="256">
                  <c:v>0.05</c:v>
                </c:pt>
                <c:pt idx="257">
                  <c:v>0.06</c:v>
                </c:pt>
                <c:pt idx="258">
                  <c:v>0.16</c:v>
                </c:pt>
                <c:pt idx="259">
                  <c:v>0.05</c:v>
                </c:pt>
                <c:pt idx="260">
                  <c:v>0.09</c:v>
                </c:pt>
                <c:pt idx="261">
                  <c:v>0.12</c:v>
                </c:pt>
                <c:pt idx="262">
                  <c:v>0.03</c:v>
                </c:pt>
                <c:pt idx="263">
                  <c:v>0.13</c:v>
                </c:pt>
                <c:pt idx="264">
                  <c:v>0.11</c:v>
                </c:pt>
                <c:pt idx="265">
                  <c:v>0.16</c:v>
                </c:pt>
                <c:pt idx="266">
                  <c:v>0.03</c:v>
                </c:pt>
                <c:pt idx="267">
                  <c:v>0.04</c:v>
                </c:pt>
                <c:pt idx="268">
                  <c:v>0.04</c:v>
                </c:pt>
                <c:pt idx="269">
                  <c:v>0.1</c:v>
                </c:pt>
                <c:pt idx="270">
                  <c:v>0.13</c:v>
                </c:pt>
                <c:pt idx="271">
                  <c:v>0.04</c:v>
                </c:pt>
                <c:pt idx="272">
                  <c:v>0.09</c:v>
                </c:pt>
                <c:pt idx="273">
                  <c:v>0.04</c:v>
                </c:pt>
                <c:pt idx="274">
                  <c:v>0.04</c:v>
                </c:pt>
                <c:pt idx="275">
                  <c:v>0.22</c:v>
                </c:pt>
                <c:pt idx="276">
                  <c:v>0.05</c:v>
                </c:pt>
                <c:pt idx="277">
                  <c:v>0.08</c:v>
                </c:pt>
                <c:pt idx="278">
                  <c:v>0.1</c:v>
                </c:pt>
                <c:pt idx="279">
                  <c:v>0.03</c:v>
                </c:pt>
                <c:pt idx="280">
                  <c:v>0.02</c:v>
                </c:pt>
                <c:pt idx="281">
                  <c:v>0.05</c:v>
                </c:pt>
                <c:pt idx="282">
                  <c:v>0.03</c:v>
                </c:pt>
                <c:pt idx="283">
                  <c:v>0.03</c:v>
                </c:pt>
                <c:pt idx="284">
                  <c:v>0.06</c:v>
                </c:pt>
                <c:pt idx="285">
                  <c:v>0.09</c:v>
                </c:pt>
                <c:pt idx="286">
                  <c:v>0.09</c:v>
                </c:pt>
                <c:pt idx="287">
                  <c:v>0.03</c:v>
                </c:pt>
                <c:pt idx="288">
                  <c:v>0.02</c:v>
                </c:pt>
                <c:pt idx="289">
                  <c:v>0.04</c:v>
                </c:pt>
                <c:pt idx="290">
                  <c:v>0.08</c:v>
                </c:pt>
                <c:pt idx="291">
                  <c:v>0.11</c:v>
                </c:pt>
                <c:pt idx="292">
                  <c:v>0.02</c:v>
                </c:pt>
                <c:pt idx="293">
                  <c:v>0.02</c:v>
                </c:pt>
                <c:pt idx="294">
                  <c:v>7.0000000000000007E-2</c:v>
                </c:pt>
                <c:pt idx="295">
                  <c:v>0.03</c:v>
                </c:pt>
                <c:pt idx="296">
                  <c:v>0.03</c:v>
                </c:pt>
                <c:pt idx="297">
                  <c:v>7.0000000000000007E-2</c:v>
                </c:pt>
                <c:pt idx="298">
                  <c:v>0.03</c:v>
                </c:pt>
                <c:pt idx="299">
                  <c:v>0.05</c:v>
                </c:pt>
                <c:pt idx="300">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4979-43C9-8F53-668109EDF31B}"/>
              </c:ext>
            </c:extLst>
          </c:dPt>
          <c:dPt>
            <c:idx val="211"/>
            <c:invertIfNegative val="1"/>
            <c:bubble3D val="0"/>
            <c:spPr>
              <a:solidFill>
                <a:srgbClr val="AEABAB"/>
              </a:solidFill>
            </c:spPr>
            <c:extLst>
              <c:ext xmlns:c16="http://schemas.microsoft.com/office/drawing/2014/chart" uri="{C3380CC4-5D6E-409C-BE32-E72D297353CC}">
                <c16:uniqueId val="{000001A9-4979-43C9-8F53-668109EDF31B}"/>
              </c:ext>
            </c:extLst>
          </c:dPt>
          <c:dPt>
            <c:idx val="212"/>
            <c:invertIfNegative val="1"/>
            <c:bubble3D val="0"/>
            <c:spPr>
              <a:solidFill>
                <a:srgbClr val="AEABAB"/>
              </a:solidFill>
            </c:spPr>
            <c:extLst>
              <c:ext xmlns:c16="http://schemas.microsoft.com/office/drawing/2014/chart" uri="{C3380CC4-5D6E-409C-BE32-E72D297353CC}">
                <c16:uniqueId val="{000001AB-4979-43C9-8F53-668109EDF31B}"/>
              </c:ext>
            </c:extLst>
          </c:dPt>
          <c:dPt>
            <c:idx val="213"/>
            <c:invertIfNegative val="1"/>
            <c:bubble3D val="0"/>
            <c:spPr>
              <a:solidFill>
                <a:srgbClr val="AEABAB"/>
              </a:solidFill>
            </c:spPr>
            <c:extLst>
              <c:ext xmlns:c16="http://schemas.microsoft.com/office/drawing/2014/chart" uri="{C3380CC4-5D6E-409C-BE32-E72D297353CC}">
                <c16:uniqueId val="{000001AD-4979-43C9-8F53-668109EDF31B}"/>
              </c:ext>
            </c:extLst>
          </c:dPt>
          <c:dPt>
            <c:idx val="214"/>
            <c:invertIfNegative val="1"/>
            <c:bubble3D val="0"/>
            <c:spPr>
              <a:solidFill>
                <a:srgbClr val="AEABAB"/>
              </a:solidFill>
            </c:spPr>
            <c:extLst>
              <c:ext xmlns:c16="http://schemas.microsoft.com/office/drawing/2014/chart" uri="{C3380CC4-5D6E-409C-BE32-E72D297353CC}">
                <c16:uniqueId val="{000001AF-4979-43C9-8F53-668109EDF31B}"/>
              </c:ext>
            </c:extLst>
          </c:dPt>
          <c:dPt>
            <c:idx val="215"/>
            <c:invertIfNegative val="1"/>
            <c:bubble3D val="0"/>
            <c:spPr>
              <a:solidFill>
                <a:srgbClr val="AEABAB"/>
              </a:solidFill>
            </c:spPr>
            <c:extLst>
              <c:ext xmlns:c16="http://schemas.microsoft.com/office/drawing/2014/chart" uri="{C3380CC4-5D6E-409C-BE32-E72D297353CC}">
                <c16:uniqueId val="{000001B1-4979-43C9-8F53-668109EDF31B}"/>
              </c:ext>
            </c:extLst>
          </c:dPt>
          <c:dPt>
            <c:idx val="216"/>
            <c:invertIfNegative val="1"/>
            <c:bubble3D val="0"/>
            <c:spPr>
              <a:solidFill>
                <a:srgbClr val="AEABAB"/>
              </a:solidFill>
            </c:spPr>
            <c:extLst>
              <c:ext xmlns:c16="http://schemas.microsoft.com/office/drawing/2014/chart" uri="{C3380CC4-5D6E-409C-BE32-E72D297353CC}">
                <c16:uniqueId val="{000001B3-4979-43C9-8F53-668109EDF31B}"/>
              </c:ext>
            </c:extLst>
          </c:dPt>
          <c:dPt>
            <c:idx val="217"/>
            <c:invertIfNegative val="1"/>
            <c:bubble3D val="0"/>
            <c:spPr>
              <a:solidFill>
                <a:srgbClr val="AEABAB"/>
              </a:solidFill>
            </c:spPr>
            <c:extLst>
              <c:ext xmlns:c16="http://schemas.microsoft.com/office/drawing/2014/chart" uri="{C3380CC4-5D6E-409C-BE32-E72D297353CC}">
                <c16:uniqueId val="{000001B5-4979-43C9-8F53-668109EDF31B}"/>
              </c:ext>
            </c:extLst>
          </c:dPt>
          <c:dPt>
            <c:idx val="218"/>
            <c:invertIfNegative val="1"/>
            <c:bubble3D val="0"/>
            <c:spPr>
              <a:solidFill>
                <a:srgbClr val="AEABAB"/>
              </a:solidFill>
            </c:spPr>
            <c:extLst>
              <c:ext xmlns:c16="http://schemas.microsoft.com/office/drawing/2014/chart" uri="{C3380CC4-5D6E-409C-BE32-E72D297353CC}">
                <c16:uniqueId val="{000001B7-4979-43C9-8F53-668109EDF31B}"/>
              </c:ext>
            </c:extLst>
          </c:dPt>
          <c:dPt>
            <c:idx val="219"/>
            <c:invertIfNegative val="1"/>
            <c:bubble3D val="0"/>
            <c:spPr>
              <a:solidFill>
                <a:srgbClr val="AEABAB"/>
              </a:solidFill>
            </c:spPr>
            <c:extLst>
              <c:ext xmlns:c16="http://schemas.microsoft.com/office/drawing/2014/chart" uri="{C3380CC4-5D6E-409C-BE32-E72D297353CC}">
                <c16:uniqueId val="{000001B9-4979-43C9-8F53-668109EDF31B}"/>
              </c:ext>
            </c:extLst>
          </c:dPt>
          <c:dPt>
            <c:idx val="220"/>
            <c:invertIfNegative val="1"/>
            <c:bubble3D val="0"/>
            <c:spPr>
              <a:solidFill>
                <a:srgbClr val="AEABAB"/>
              </a:solidFill>
            </c:spPr>
            <c:extLst>
              <c:ext xmlns:c16="http://schemas.microsoft.com/office/drawing/2014/chart" uri="{C3380CC4-5D6E-409C-BE32-E72D297353CC}">
                <c16:uniqueId val="{000001BB-4979-43C9-8F53-668109EDF31B}"/>
              </c:ext>
            </c:extLst>
          </c:dPt>
          <c:dPt>
            <c:idx val="221"/>
            <c:invertIfNegative val="1"/>
            <c:bubble3D val="0"/>
            <c:spPr>
              <a:solidFill>
                <a:srgbClr val="AEABAB"/>
              </a:solidFill>
            </c:spPr>
            <c:extLst>
              <c:ext xmlns:c16="http://schemas.microsoft.com/office/drawing/2014/chart" uri="{C3380CC4-5D6E-409C-BE32-E72D297353CC}">
                <c16:uniqueId val="{000001BD-4979-43C9-8F53-668109EDF31B}"/>
              </c:ext>
            </c:extLst>
          </c:dPt>
          <c:dPt>
            <c:idx val="222"/>
            <c:invertIfNegative val="1"/>
            <c:bubble3D val="0"/>
            <c:spPr>
              <a:solidFill>
                <a:srgbClr val="AEABAB"/>
              </a:solidFill>
            </c:spPr>
            <c:extLst>
              <c:ext xmlns:c16="http://schemas.microsoft.com/office/drawing/2014/chart" uri="{C3380CC4-5D6E-409C-BE32-E72D297353CC}">
                <c16:uniqueId val="{000001BF-4979-43C9-8F53-668109EDF31B}"/>
              </c:ext>
            </c:extLst>
          </c:dPt>
          <c:dPt>
            <c:idx val="223"/>
            <c:invertIfNegative val="1"/>
            <c:bubble3D val="0"/>
            <c:spPr>
              <a:solidFill>
                <a:srgbClr val="AEABAB"/>
              </a:solidFill>
            </c:spPr>
            <c:extLst>
              <c:ext xmlns:c16="http://schemas.microsoft.com/office/drawing/2014/chart" uri="{C3380CC4-5D6E-409C-BE32-E72D297353CC}">
                <c16:uniqueId val="{000001C1-4979-43C9-8F53-668109EDF31B}"/>
              </c:ext>
            </c:extLst>
          </c:dPt>
          <c:dPt>
            <c:idx val="224"/>
            <c:invertIfNegative val="1"/>
            <c:bubble3D val="0"/>
            <c:spPr>
              <a:solidFill>
                <a:srgbClr val="AEABAB"/>
              </a:solidFill>
            </c:spPr>
            <c:extLst>
              <c:ext xmlns:c16="http://schemas.microsoft.com/office/drawing/2014/chart" uri="{C3380CC4-5D6E-409C-BE32-E72D297353CC}">
                <c16:uniqueId val="{000001C3-4979-43C9-8F53-668109EDF31B}"/>
              </c:ext>
            </c:extLst>
          </c:dPt>
          <c:dPt>
            <c:idx val="225"/>
            <c:invertIfNegative val="1"/>
            <c:bubble3D val="0"/>
            <c:spPr>
              <a:solidFill>
                <a:srgbClr val="AEABAB"/>
              </a:solidFill>
            </c:spPr>
            <c:extLst>
              <c:ext xmlns:c16="http://schemas.microsoft.com/office/drawing/2014/chart" uri="{C3380CC4-5D6E-409C-BE32-E72D297353CC}">
                <c16:uniqueId val="{000001C5-4979-43C9-8F53-668109EDF31B}"/>
              </c:ext>
            </c:extLst>
          </c:dPt>
          <c:dPt>
            <c:idx val="226"/>
            <c:invertIfNegative val="1"/>
            <c:bubble3D val="0"/>
            <c:spPr>
              <a:solidFill>
                <a:srgbClr val="AEABAB"/>
              </a:solidFill>
            </c:spPr>
            <c:extLst>
              <c:ext xmlns:c16="http://schemas.microsoft.com/office/drawing/2014/chart" uri="{C3380CC4-5D6E-409C-BE32-E72D297353CC}">
                <c16:uniqueId val="{000001C7-4979-43C9-8F53-668109EDF31B}"/>
              </c:ext>
            </c:extLst>
          </c:dPt>
          <c:dPt>
            <c:idx val="227"/>
            <c:invertIfNegative val="1"/>
            <c:bubble3D val="0"/>
            <c:spPr>
              <a:solidFill>
                <a:srgbClr val="AEABAB"/>
              </a:solidFill>
            </c:spPr>
            <c:extLst>
              <c:ext xmlns:c16="http://schemas.microsoft.com/office/drawing/2014/chart" uri="{C3380CC4-5D6E-409C-BE32-E72D297353CC}">
                <c16:uniqueId val="{000001C9-4979-43C9-8F53-668109EDF31B}"/>
              </c:ext>
            </c:extLst>
          </c:dPt>
          <c:dPt>
            <c:idx val="228"/>
            <c:invertIfNegative val="1"/>
            <c:bubble3D val="0"/>
            <c:spPr>
              <a:solidFill>
                <a:srgbClr val="AEABAB"/>
              </a:solidFill>
            </c:spPr>
            <c:extLst>
              <c:ext xmlns:c16="http://schemas.microsoft.com/office/drawing/2014/chart" uri="{C3380CC4-5D6E-409C-BE32-E72D297353CC}">
                <c16:uniqueId val="{000001CB-4979-43C9-8F53-668109EDF31B}"/>
              </c:ext>
            </c:extLst>
          </c:dPt>
          <c:dPt>
            <c:idx val="229"/>
            <c:invertIfNegative val="1"/>
            <c:bubble3D val="0"/>
            <c:spPr>
              <a:solidFill>
                <a:srgbClr val="AEABAB"/>
              </a:solidFill>
            </c:spPr>
            <c:extLst>
              <c:ext xmlns:c16="http://schemas.microsoft.com/office/drawing/2014/chart" uri="{C3380CC4-5D6E-409C-BE32-E72D297353CC}">
                <c16:uniqueId val="{000001CD-4979-43C9-8F53-668109EDF31B}"/>
              </c:ext>
            </c:extLst>
          </c:dPt>
          <c:dPt>
            <c:idx val="230"/>
            <c:invertIfNegative val="1"/>
            <c:bubble3D val="0"/>
            <c:spPr>
              <a:solidFill>
                <a:srgbClr val="AEABAB"/>
              </a:solidFill>
            </c:spPr>
            <c:extLst>
              <c:ext xmlns:c16="http://schemas.microsoft.com/office/drawing/2014/chart" uri="{C3380CC4-5D6E-409C-BE32-E72D297353CC}">
                <c16:uniqueId val="{000001CF-4979-43C9-8F53-668109EDF31B}"/>
              </c:ext>
            </c:extLst>
          </c:dPt>
          <c:dPt>
            <c:idx val="231"/>
            <c:invertIfNegative val="1"/>
            <c:bubble3D val="0"/>
            <c:spPr>
              <a:solidFill>
                <a:srgbClr val="AEABAB"/>
              </a:solidFill>
            </c:spPr>
            <c:extLst>
              <c:ext xmlns:c16="http://schemas.microsoft.com/office/drawing/2014/chart" uri="{C3380CC4-5D6E-409C-BE32-E72D297353CC}">
                <c16:uniqueId val="{000001D1-4979-43C9-8F53-668109EDF31B}"/>
              </c:ext>
            </c:extLst>
          </c:dPt>
          <c:dPt>
            <c:idx val="232"/>
            <c:invertIfNegative val="1"/>
            <c:bubble3D val="0"/>
            <c:spPr>
              <a:solidFill>
                <a:srgbClr val="AEABAB"/>
              </a:solidFill>
            </c:spPr>
            <c:extLst>
              <c:ext xmlns:c16="http://schemas.microsoft.com/office/drawing/2014/chart" uri="{C3380CC4-5D6E-409C-BE32-E72D297353CC}">
                <c16:uniqueId val="{000001D3-4979-43C9-8F53-668109EDF31B}"/>
              </c:ext>
            </c:extLst>
          </c:dPt>
          <c:dPt>
            <c:idx val="233"/>
            <c:invertIfNegative val="1"/>
            <c:bubble3D val="0"/>
            <c:spPr>
              <a:solidFill>
                <a:srgbClr val="AEABAB"/>
              </a:solidFill>
            </c:spPr>
            <c:extLst>
              <c:ext xmlns:c16="http://schemas.microsoft.com/office/drawing/2014/chart" uri="{C3380CC4-5D6E-409C-BE32-E72D297353CC}">
                <c16:uniqueId val="{000001D5-4979-43C9-8F53-668109EDF31B}"/>
              </c:ext>
            </c:extLst>
          </c:dPt>
          <c:dPt>
            <c:idx val="234"/>
            <c:invertIfNegative val="1"/>
            <c:bubble3D val="0"/>
            <c:spPr>
              <a:solidFill>
                <a:srgbClr val="AEABAB"/>
              </a:solidFill>
            </c:spPr>
            <c:extLst>
              <c:ext xmlns:c16="http://schemas.microsoft.com/office/drawing/2014/chart" uri="{C3380CC4-5D6E-409C-BE32-E72D297353CC}">
                <c16:uniqueId val="{000001D7-4979-43C9-8F53-668109EDF31B}"/>
              </c:ext>
            </c:extLst>
          </c:dPt>
          <c:dPt>
            <c:idx val="235"/>
            <c:invertIfNegative val="1"/>
            <c:bubble3D val="0"/>
            <c:spPr>
              <a:solidFill>
                <a:srgbClr val="AEABAB"/>
              </a:solidFill>
            </c:spPr>
            <c:extLst>
              <c:ext xmlns:c16="http://schemas.microsoft.com/office/drawing/2014/chart" uri="{C3380CC4-5D6E-409C-BE32-E72D297353CC}">
                <c16:uniqueId val="{000001D9-4979-43C9-8F53-668109EDF31B}"/>
              </c:ext>
            </c:extLst>
          </c:dPt>
          <c:dPt>
            <c:idx val="236"/>
            <c:invertIfNegative val="1"/>
            <c:bubble3D val="0"/>
            <c:spPr>
              <a:solidFill>
                <a:srgbClr val="AEABAB"/>
              </a:solidFill>
            </c:spPr>
            <c:extLst>
              <c:ext xmlns:c16="http://schemas.microsoft.com/office/drawing/2014/chart" uri="{C3380CC4-5D6E-409C-BE32-E72D297353CC}">
                <c16:uniqueId val="{000001DB-4979-43C9-8F53-668109EDF31B}"/>
              </c:ext>
            </c:extLst>
          </c:dPt>
          <c:dPt>
            <c:idx val="237"/>
            <c:invertIfNegative val="1"/>
            <c:bubble3D val="0"/>
            <c:spPr>
              <a:solidFill>
                <a:srgbClr val="AEABAB"/>
              </a:solidFill>
            </c:spPr>
            <c:extLst>
              <c:ext xmlns:c16="http://schemas.microsoft.com/office/drawing/2014/chart" uri="{C3380CC4-5D6E-409C-BE32-E72D297353CC}">
                <c16:uniqueId val="{000001DD-4979-43C9-8F53-668109EDF31B}"/>
              </c:ext>
            </c:extLst>
          </c:dPt>
          <c:dPt>
            <c:idx val="238"/>
            <c:invertIfNegative val="1"/>
            <c:bubble3D val="0"/>
            <c:spPr>
              <a:solidFill>
                <a:srgbClr val="AEABAB"/>
              </a:solidFill>
            </c:spPr>
            <c:extLst>
              <c:ext xmlns:c16="http://schemas.microsoft.com/office/drawing/2014/chart" uri="{C3380CC4-5D6E-409C-BE32-E72D297353CC}">
                <c16:uniqueId val="{000001DF-4979-43C9-8F53-668109EDF31B}"/>
              </c:ext>
            </c:extLst>
          </c:dPt>
          <c:dPt>
            <c:idx val="239"/>
            <c:invertIfNegative val="1"/>
            <c:bubble3D val="0"/>
            <c:spPr>
              <a:solidFill>
                <a:srgbClr val="AEABAB"/>
              </a:solidFill>
            </c:spPr>
            <c:extLst>
              <c:ext xmlns:c16="http://schemas.microsoft.com/office/drawing/2014/chart" uri="{C3380CC4-5D6E-409C-BE32-E72D297353CC}">
                <c16:uniqueId val="{000001E1-4979-43C9-8F53-668109EDF31B}"/>
              </c:ext>
            </c:extLst>
          </c:dPt>
          <c:dPt>
            <c:idx val="240"/>
            <c:invertIfNegative val="1"/>
            <c:bubble3D val="0"/>
            <c:spPr>
              <a:solidFill>
                <a:srgbClr val="AEABAB"/>
              </a:solidFill>
            </c:spPr>
            <c:extLst>
              <c:ext xmlns:c16="http://schemas.microsoft.com/office/drawing/2014/chart" uri="{C3380CC4-5D6E-409C-BE32-E72D297353CC}">
                <c16:uniqueId val="{000001E3-4979-43C9-8F53-668109EDF31B}"/>
              </c:ext>
            </c:extLst>
          </c:dPt>
          <c:dPt>
            <c:idx val="241"/>
            <c:invertIfNegative val="1"/>
            <c:bubble3D val="0"/>
            <c:spPr>
              <a:solidFill>
                <a:srgbClr val="AEABAB"/>
              </a:solidFill>
            </c:spPr>
            <c:extLst>
              <c:ext xmlns:c16="http://schemas.microsoft.com/office/drawing/2014/chart" uri="{C3380CC4-5D6E-409C-BE32-E72D297353CC}">
                <c16:uniqueId val="{000001E5-4979-43C9-8F53-668109EDF31B}"/>
              </c:ext>
            </c:extLst>
          </c:dPt>
          <c:dPt>
            <c:idx val="242"/>
            <c:invertIfNegative val="1"/>
            <c:bubble3D val="0"/>
            <c:spPr>
              <a:solidFill>
                <a:srgbClr val="AEABAB"/>
              </a:solidFill>
            </c:spPr>
            <c:extLst>
              <c:ext xmlns:c16="http://schemas.microsoft.com/office/drawing/2014/chart" uri="{C3380CC4-5D6E-409C-BE32-E72D297353CC}">
                <c16:uniqueId val="{000001E7-4979-43C9-8F53-668109EDF31B}"/>
              </c:ext>
            </c:extLst>
          </c:dPt>
          <c:dPt>
            <c:idx val="243"/>
            <c:invertIfNegative val="1"/>
            <c:bubble3D val="0"/>
            <c:spPr>
              <a:solidFill>
                <a:srgbClr val="AEABAB"/>
              </a:solidFill>
            </c:spPr>
            <c:extLst>
              <c:ext xmlns:c16="http://schemas.microsoft.com/office/drawing/2014/chart" uri="{C3380CC4-5D6E-409C-BE32-E72D297353CC}">
                <c16:uniqueId val="{000001E9-4979-43C9-8F53-668109EDF31B}"/>
              </c:ext>
            </c:extLst>
          </c:dPt>
          <c:dPt>
            <c:idx val="244"/>
            <c:invertIfNegative val="1"/>
            <c:bubble3D val="0"/>
            <c:spPr>
              <a:solidFill>
                <a:srgbClr val="AEABAB"/>
              </a:solidFill>
            </c:spPr>
            <c:extLst>
              <c:ext xmlns:c16="http://schemas.microsoft.com/office/drawing/2014/chart" uri="{C3380CC4-5D6E-409C-BE32-E72D297353CC}">
                <c16:uniqueId val="{000001EB-4979-43C9-8F53-668109EDF31B}"/>
              </c:ext>
            </c:extLst>
          </c:dPt>
          <c:dPt>
            <c:idx val="245"/>
            <c:invertIfNegative val="1"/>
            <c:bubble3D val="0"/>
            <c:spPr>
              <a:solidFill>
                <a:srgbClr val="AEABAB"/>
              </a:solidFill>
            </c:spPr>
            <c:extLst>
              <c:ext xmlns:c16="http://schemas.microsoft.com/office/drawing/2014/chart" uri="{C3380CC4-5D6E-409C-BE32-E72D297353CC}">
                <c16:uniqueId val="{000001ED-4979-43C9-8F53-668109EDF31B}"/>
              </c:ext>
            </c:extLst>
          </c:dPt>
          <c:dPt>
            <c:idx val="246"/>
            <c:invertIfNegative val="1"/>
            <c:bubble3D val="0"/>
            <c:spPr>
              <a:solidFill>
                <a:srgbClr val="AEABAB"/>
              </a:solidFill>
            </c:spPr>
            <c:extLst>
              <c:ext xmlns:c16="http://schemas.microsoft.com/office/drawing/2014/chart" uri="{C3380CC4-5D6E-409C-BE32-E72D297353CC}">
                <c16:uniqueId val="{000001EF-4979-43C9-8F53-668109EDF31B}"/>
              </c:ext>
            </c:extLst>
          </c:dPt>
          <c:dPt>
            <c:idx val="247"/>
            <c:invertIfNegative val="1"/>
            <c:bubble3D val="0"/>
            <c:spPr>
              <a:solidFill>
                <a:srgbClr val="AEABAB"/>
              </a:solidFill>
            </c:spPr>
            <c:extLst>
              <c:ext xmlns:c16="http://schemas.microsoft.com/office/drawing/2014/chart" uri="{C3380CC4-5D6E-409C-BE32-E72D297353CC}">
                <c16:uniqueId val="{000001F1-4979-43C9-8F53-668109EDF31B}"/>
              </c:ext>
            </c:extLst>
          </c:dPt>
          <c:dPt>
            <c:idx val="248"/>
            <c:invertIfNegative val="1"/>
            <c:bubble3D val="0"/>
            <c:spPr>
              <a:solidFill>
                <a:srgbClr val="AEABAB"/>
              </a:solidFill>
            </c:spPr>
            <c:extLst>
              <c:ext xmlns:c16="http://schemas.microsoft.com/office/drawing/2014/chart" uri="{C3380CC4-5D6E-409C-BE32-E72D297353CC}">
                <c16:uniqueId val="{000001F3-4979-43C9-8F53-668109EDF31B}"/>
              </c:ext>
            </c:extLst>
          </c:dPt>
          <c:dPt>
            <c:idx val="249"/>
            <c:invertIfNegative val="1"/>
            <c:bubble3D val="0"/>
            <c:spPr>
              <a:solidFill>
                <a:srgbClr val="AEABAB"/>
              </a:solidFill>
            </c:spPr>
            <c:extLst>
              <c:ext xmlns:c16="http://schemas.microsoft.com/office/drawing/2014/chart" uri="{C3380CC4-5D6E-409C-BE32-E72D297353CC}">
                <c16:uniqueId val="{000001F5-4979-43C9-8F53-668109EDF31B}"/>
              </c:ext>
            </c:extLst>
          </c:dPt>
          <c:dPt>
            <c:idx val="250"/>
            <c:invertIfNegative val="1"/>
            <c:bubble3D val="0"/>
            <c:spPr>
              <a:solidFill>
                <a:srgbClr val="AEABAB"/>
              </a:solidFill>
            </c:spPr>
            <c:extLst>
              <c:ext xmlns:c16="http://schemas.microsoft.com/office/drawing/2014/chart" uri="{C3380CC4-5D6E-409C-BE32-E72D297353CC}">
                <c16:uniqueId val="{000001F7-4979-43C9-8F53-668109EDF31B}"/>
              </c:ext>
            </c:extLst>
          </c:dPt>
          <c:dPt>
            <c:idx val="251"/>
            <c:invertIfNegative val="1"/>
            <c:bubble3D val="0"/>
            <c:spPr>
              <a:solidFill>
                <a:srgbClr val="AEABAB"/>
              </a:solidFill>
            </c:spPr>
            <c:extLst>
              <c:ext xmlns:c16="http://schemas.microsoft.com/office/drawing/2014/chart" uri="{C3380CC4-5D6E-409C-BE32-E72D297353CC}">
                <c16:uniqueId val="{000001F9-4979-43C9-8F53-668109EDF31B}"/>
              </c:ext>
            </c:extLst>
          </c:dPt>
          <c:dPt>
            <c:idx val="252"/>
            <c:invertIfNegative val="1"/>
            <c:bubble3D val="0"/>
            <c:spPr>
              <a:solidFill>
                <a:srgbClr val="AEABAB"/>
              </a:solidFill>
            </c:spPr>
            <c:extLst>
              <c:ext xmlns:c16="http://schemas.microsoft.com/office/drawing/2014/chart" uri="{C3380CC4-5D6E-409C-BE32-E72D297353CC}">
                <c16:uniqueId val="{000001FB-4979-43C9-8F53-668109EDF31B}"/>
              </c:ext>
            </c:extLst>
          </c:dPt>
          <c:dPt>
            <c:idx val="253"/>
            <c:invertIfNegative val="1"/>
            <c:bubble3D val="0"/>
            <c:spPr>
              <a:solidFill>
                <a:srgbClr val="AEABAB"/>
              </a:solidFill>
            </c:spPr>
            <c:extLst>
              <c:ext xmlns:c16="http://schemas.microsoft.com/office/drawing/2014/chart" uri="{C3380CC4-5D6E-409C-BE32-E72D297353CC}">
                <c16:uniqueId val="{000001FD-4979-43C9-8F53-668109EDF31B}"/>
              </c:ext>
            </c:extLst>
          </c:dPt>
          <c:dPt>
            <c:idx val="254"/>
            <c:invertIfNegative val="1"/>
            <c:bubble3D val="0"/>
            <c:spPr>
              <a:solidFill>
                <a:srgbClr val="AEABAB"/>
              </a:solidFill>
            </c:spPr>
            <c:extLst>
              <c:ext xmlns:c16="http://schemas.microsoft.com/office/drawing/2014/chart" uri="{C3380CC4-5D6E-409C-BE32-E72D297353CC}">
                <c16:uniqueId val="{000001FF-4979-43C9-8F53-668109EDF31B}"/>
              </c:ext>
            </c:extLst>
          </c:dPt>
          <c:dPt>
            <c:idx val="255"/>
            <c:invertIfNegative val="1"/>
            <c:bubble3D val="0"/>
            <c:spPr>
              <a:solidFill>
                <a:srgbClr val="AEABAB"/>
              </a:solidFill>
            </c:spPr>
            <c:extLst>
              <c:ext xmlns:c16="http://schemas.microsoft.com/office/drawing/2014/chart" uri="{C3380CC4-5D6E-409C-BE32-E72D297353CC}">
                <c16:uniqueId val="{00000201-4979-43C9-8F53-668109EDF31B}"/>
              </c:ext>
            </c:extLst>
          </c:dPt>
          <c:dPt>
            <c:idx val="256"/>
            <c:invertIfNegative val="1"/>
            <c:bubble3D val="0"/>
            <c:spPr>
              <a:solidFill>
                <a:srgbClr val="AEABAB"/>
              </a:solidFill>
            </c:spPr>
            <c:extLst>
              <c:ext xmlns:c16="http://schemas.microsoft.com/office/drawing/2014/chart" uri="{C3380CC4-5D6E-409C-BE32-E72D297353CC}">
                <c16:uniqueId val="{00000203-4979-43C9-8F53-668109EDF31B}"/>
              </c:ext>
            </c:extLst>
          </c:dPt>
          <c:dPt>
            <c:idx val="257"/>
            <c:invertIfNegative val="1"/>
            <c:bubble3D val="0"/>
            <c:spPr>
              <a:solidFill>
                <a:srgbClr val="AEABAB"/>
              </a:solidFill>
            </c:spPr>
            <c:extLst>
              <c:ext xmlns:c16="http://schemas.microsoft.com/office/drawing/2014/chart" uri="{C3380CC4-5D6E-409C-BE32-E72D297353CC}">
                <c16:uniqueId val="{00000205-4979-43C9-8F53-668109EDF31B}"/>
              </c:ext>
            </c:extLst>
          </c:dPt>
          <c:dPt>
            <c:idx val="258"/>
            <c:invertIfNegative val="1"/>
            <c:bubble3D val="0"/>
            <c:spPr>
              <a:solidFill>
                <a:srgbClr val="AEABAB"/>
              </a:solidFill>
            </c:spPr>
            <c:extLst>
              <c:ext xmlns:c16="http://schemas.microsoft.com/office/drawing/2014/chart" uri="{C3380CC4-5D6E-409C-BE32-E72D297353CC}">
                <c16:uniqueId val="{00000207-4979-43C9-8F53-668109EDF31B}"/>
              </c:ext>
            </c:extLst>
          </c:dPt>
          <c:dPt>
            <c:idx val="259"/>
            <c:invertIfNegative val="1"/>
            <c:bubble3D val="0"/>
            <c:spPr>
              <a:solidFill>
                <a:srgbClr val="AEABAB"/>
              </a:solidFill>
            </c:spPr>
            <c:extLst>
              <c:ext xmlns:c16="http://schemas.microsoft.com/office/drawing/2014/chart" uri="{C3380CC4-5D6E-409C-BE32-E72D297353CC}">
                <c16:uniqueId val="{00000209-4979-43C9-8F53-668109EDF31B}"/>
              </c:ext>
            </c:extLst>
          </c:dPt>
          <c:dPt>
            <c:idx val="260"/>
            <c:invertIfNegative val="1"/>
            <c:bubble3D val="0"/>
            <c:spPr>
              <a:solidFill>
                <a:srgbClr val="AEABAB"/>
              </a:solidFill>
            </c:spPr>
            <c:extLst>
              <c:ext xmlns:c16="http://schemas.microsoft.com/office/drawing/2014/chart" uri="{C3380CC4-5D6E-409C-BE32-E72D297353CC}">
                <c16:uniqueId val="{0000020B-4979-43C9-8F53-668109EDF31B}"/>
              </c:ext>
            </c:extLst>
          </c:dPt>
          <c:dPt>
            <c:idx val="261"/>
            <c:invertIfNegative val="1"/>
            <c:bubble3D val="0"/>
            <c:spPr>
              <a:solidFill>
                <a:srgbClr val="AEABAB"/>
              </a:solidFill>
            </c:spPr>
            <c:extLst>
              <c:ext xmlns:c16="http://schemas.microsoft.com/office/drawing/2014/chart" uri="{C3380CC4-5D6E-409C-BE32-E72D297353CC}">
                <c16:uniqueId val="{0000020D-4979-43C9-8F53-668109EDF31B}"/>
              </c:ext>
            </c:extLst>
          </c:dPt>
          <c:dPt>
            <c:idx val="262"/>
            <c:invertIfNegative val="1"/>
            <c:bubble3D val="0"/>
            <c:spPr>
              <a:solidFill>
                <a:srgbClr val="AEABAB"/>
              </a:solidFill>
            </c:spPr>
            <c:extLst>
              <c:ext xmlns:c16="http://schemas.microsoft.com/office/drawing/2014/chart" uri="{C3380CC4-5D6E-409C-BE32-E72D297353CC}">
                <c16:uniqueId val="{0000020F-4979-43C9-8F53-668109EDF31B}"/>
              </c:ext>
            </c:extLst>
          </c:dPt>
          <c:dPt>
            <c:idx val="263"/>
            <c:invertIfNegative val="1"/>
            <c:bubble3D val="0"/>
            <c:spPr>
              <a:solidFill>
                <a:srgbClr val="AEABAB"/>
              </a:solidFill>
            </c:spPr>
            <c:extLst>
              <c:ext xmlns:c16="http://schemas.microsoft.com/office/drawing/2014/chart" uri="{C3380CC4-5D6E-409C-BE32-E72D297353CC}">
                <c16:uniqueId val="{00000211-4979-43C9-8F53-668109EDF31B}"/>
              </c:ext>
            </c:extLst>
          </c:dPt>
          <c:dPt>
            <c:idx val="264"/>
            <c:invertIfNegative val="1"/>
            <c:bubble3D val="0"/>
            <c:spPr>
              <a:solidFill>
                <a:srgbClr val="AEABAB"/>
              </a:solidFill>
            </c:spPr>
            <c:extLst>
              <c:ext xmlns:c16="http://schemas.microsoft.com/office/drawing/2014/chart" uri="{C3380CC4-5D6E-409C-BE32-E72D297353CC}">
                <c16:uniqueId val="{00000213-4979-43C9-8F53-668109EDF31B}"/>
              </c:ext>
            </c:extLst>
          </c:dPt>
          <c:dPt>
            <c:idx val="265"/>
            <c:invertIfNegative val="1"/>
            <c:bubble3D val="0"/>
            <c:spPr>
              <a:solidFill>
                <a:srgbClr val="AEABAB"/>
              </a:solidFill>
            </c:spPr>
            <c:extLst>
              <c:ext xmlns:c16="http://schemas.microsoft.com/office/drawing/2014/chart" uri="{C3380CC4-5D6E-409C-BE32-E72D297353CC}">
                <c16:uniqueId val="{00000215-4979-43C9-8F53-668109EDF31B}"/>
              </c:ext>
            </c:extLst>
          </c:dPt>
          <c:dPt>
            <c:idx val="266"/>
            <c:invertIfNegative val="1"/>
            <c:bubble3D val="0"/>
            <c:spPr>
              <a:solidFill>
                <a:srgbClr val="AEABAB"/>
              </a:solidFill>
            </c:spPr>
            <c:extLst>
              <c:ext xmlns:c16="http://schemas.microsoft.com/office/drawing/2014/chart" uri="{C3380CC4-5D6E-409C-BE32-E72D297353CC}">
                <c16:uniqueId val="{00000217-4979-43C9-8F53-668109EDF31B}"/>
              </c:ext>
            </c:extLst>
          </c:dPt>
          <c:dPt>
            <c:idx val="267"/>
            <c:invertIfNegative val="1"/>
            <c:bubble3D val="0"/>
            <c:spPr>
              <a:solidFill>
                <a:srgbClr val="AEABAB"/>
              </a:solidFill>
            </c:spPr>
            <c:extLst>
              <c:ext xmlns:c16="http://schemas.microsoft.com/office/drawing/2014/chart" uri="{C3380CC4-5D6E-409C-BE32-E72D297353CC}">
                <c16:uniqueId val="{00000219-4979-43C9-8F53-668109EDF31B}"/>
              </c:ext>
            </c:extLst>
          </c:dPt>
          <c:dPt>
            <c:idx val="268"/>
            <c:invertIfNegative val="1"/>
            <c:bubble3D val="0"/>
            <c:spPr>
              <a:solidFill>
                <a:srgbClr val="AEABAB"/>
              </a:solidFill>
            </c:spPr>
            <c:extLst>
              <c:ext xmlns:c16="http://schemas.microsoft.com/office/drawing/2014/chart" uri="{C3380CC4-5D6E-409C-BE32-E72D297353CC}">
                <c16:uniqueId val="{0000021B-4979-43C9-8F53-668109EDF31B}"/>
              </c:ext>
            </c:extLst>
          </c:dPt>
          <c:dPt>
            <c:idx val="269"/>
            <c:invertIfNegative val="1"/>
            <c:bubble3D val="0"/>
            <c:spPr>
              <a:solidFill>
                <a:srgbClr val="AEABAB"/>
              </a:solidFill>
            </c:spPr>
            <c:extLst>
              <c:ext xmlns:c16="http://schemas.microsoft.com/office/drawing/2014/chart" uri="{C3380CC4-5D6E-409C-BE32-E72D297353CC}">
                <c16:uniqueId val="{0000021D-4979-43C9-8F53-668109EDF31B}"/>
              </c:ext>
            </c:extLst>
          </c:dPt>
          <c:dPt>
            <c:idx val="270"/>
            <c:invertIfNegative val="1"/>
            <c:bubble3D val="0"/>
            <c:spPr>
              <a:solidFill>
                <a:srgbClr val="AEABAB"/>
              </a:solidFill>
            </c:spPr>
            <c:extLst>
              <c:ext xmlns:c16="http://schemas.microsoft.com/office/drawing/2014/chart" uri="{C3380CC4-5D6E-409C-BE32-E72D297353CC}">
                <c16:uniqueId val="{0000021F-4979-43C9-8F53-668109EDF31B}"/>
              </c:ext>
            </c:extLst>
          </c:dPt>
          <c:dPt>
            <c:idx val="271"/>
            <c:invertIfNegative val="1"/>
            <c:bubble3D val="0"/>
            <c:spPr>
              <a:solidFill>
                <a:srgbClr val="AEABAB"/>
              </a:solidFill>
            </c:spPr>
            <c:extLst>
              <c:ext xmlns:c16="http://schemas.microsoft.com/office/drawing/2014/chart" uri="{C3380CC4-5D6E-409C-BE32-E72D297353CC}">
                <c16:uniqueId val="{00000221-4979-43C9-8F53-668109EDF31B}"/>
              </c:ext>
            </c:extLst>
          </c:dPt>
          <c:dPt>
            <c:idx val="272"/>
            <c:invertIfNegative val="1"/>
            <c:bubble3D val="0"/>
            <c:spPr>
              <a:solidFill>
                <a:srgbClr val="AEABAB"/>
              </a:solidFill>
            </c:spPr>
            <c:extLst>
              <c:ext xmlns:c16="http://schemas.microsoft.com/office/drawing/2014/chart" uri="{C3380CC4-5D6E-409C-BE32-E72D297353CC}">
                <c16:uniqueId val="{00000223-4979-43C9-8F53-668109EDF31B}"/>
              </c:ext>
            </c:extLst>
          </c:dPt>
          <c:dPt>
            <c:idx val="273"/>
            <c:invertIfNegative val="1"/>
            <c:bubble3D val="0"/>
            <c:spPr>
              <a:solidFill>
                <a:srgbClr val="AEABAB"/>
              </a:solidFill>
            </c:spPr>
            <c:extLst>
              <c:ext xmlns:c16="http://schemas.microsoft.com/office/drawing/2014/chart" uri="{C3380CC4-5D6E-409C-BE32-E72D297353CC}">
                <c16:uniqueId val="{00000225-4979-43C9-8F53-668109EDF31B}"/>
              </c:ext>
            </c:extLst>
          </c:dPt>
          <c:dPt>
            <c:idx val="274"/>
            <c:invertIfNegative val="1"/>
            <c:bubble3D val="0"/>
            <c:spPr>
              <a:solidFill>
                <a:srgbClr val="AEABAB"/>
              </a:solidFill>
            </c:spPr>
            <c:extLst>
              <c:ext xmlns:c16="http://schemas.microsoft.com/office/drawing/2014/chart" uri="{C3380CC4-5D6E-409C-BE32-E72D297353CC}">
                <c16:uniqueId val="{00000227-4979-43C9-8F53-668109EDF31B}"/>
              </c:ext>
            </c:extLst>
          </c:dPt>
          <c:dPt>
            <c:idx val="275"/>
            <c:invertIfNegative val="1"/>
            <c:bubble3D val="0"/>
            <c:spPr>
              <a:solidFill>
                <a:srgbClr val="AEABAB"/>
              </a:solidFill>
            </c:spPr>
            <c:extLst>
              <c:ext xmlns:c16="http://schemas.microsoft.com/office/drawing/2014/chart" uri="{C3380CC4-5D6E-409C-BE32-E72D297353CC}">
                <c16:uniqueId val="{00000229-4979-43C9-8F53-668109EDF31B}"/>
              </c:ext>
            </c:extLst>
          </c:dPt>
          <c:dPt>
            <c:idx val="276"/>
            <c:invertIfNegative val="1"/>
            <c:bubble3D val="0"/>
            <c:spPr>
              <a:solidFill>
                <a:srgbClr val="AEABAB"/>
              </a:solidFill>
            </c:spPr>
            <c:extLst>
              <c:ext xmlns:c16="http://schemas.microsoft.com/office/drawing/2014/chart" uri="{C3380CC4-5D6E-409C-BE32-E72D297353CC}">
                <c16:uniqueId val="{0000022B-4979-43C9-8F53-668109EDF31B}"/>
              </c:ext>
            </c:extLst>
          </c:dPt>
          <c:dPt>
            <c:idx val="277"/>
            <c:invertIfNegative val="1"/>
            <c:bubble3D val="0"/>
            <c:spPr>
              <a:solidFill>
                <a:srgbClr val="AEABAB"/>
              </a:solidFill>
            </c:spPr>
            <c:extLst>
              <c:ext xmlns:c16="http://schemas.microsoft.com/office/drawing/2014/chart" uri="{C3380CC4-5D6E-409C-BE32-E72D297353CC}">
                <c16:uniqueId val="{0000022D-4979-43C9-8F53-668109EDF31B}"/>
              </c:ext>
            </c:extLst>
          </c:dPt>
          <c:dPt>
            <c:idx val="278"/>
            <c:invertIfNegative val="1"/>
            <c:bubble3D val="0"/>
            <c:spPr>
              <a:solidFill>
                <a:srgbClr val="AEABAB"/>
              </a:solidFill>
            </c:spPr>
            <c:extLst>
              <c:ext xmlns:c16="http://schemas.microsoft.com/office/drawing/2014/chart" uri="{C3380CC4-5D6E-409C-BE32-E72D297353CC}">
                <c16:uniqueId val="{0000022F-4979-43C9-8F53-668109EDF31B}"/>
              </c:ext>
            </c:extLst>
          </c:dPt>
          <c:dPt>
            <c:idx val="279"/>
            <c:invertIfNegative val="1"/>
            <c:bubble3D val="0"/>
            <c:spPr>
              <a:solidFill>
                <a:srgbClr val="AEABAB"/>
              </a:solidFill>
            </c:spPr>
            <c:extLst>
              <c:ext xmlns:c16="http://schemas.microsoft.com/office/drawing/2014/chart" uri="{C3380CC4-5D6E-409C-BE32-E72D297353CC}">
                <c16:uniqueId val="{00000231-4979-43C9-8F53-668109EDF31B}"/>
              </c:ext>
            </c:extLst>
          </c:dPt>
          <c:dPt>
            <c:idx val="280"/>
            <c:invertIfNegative val="1"/>
            <c:bubble3D val="0"/>
            <c:spPr>
              <a:solidFill>
                <a:srgbClr val="AEABAB"/>
              </a:solidFill>
            </c:spPr>
            <c:extLst>
              <c:ext xmlns:c16="http://schemas.microsoft.com/office/drawing/2014/chart" uri="{C3380CC4-5D6E-409C-BE32-E72D297353CC}">
                <c16:uniqueId val="{00000233-4979-43C9-8F53-668109EDF31B}"/>
              </c:ext>
            </c:extLst>
          </c:dPt>
          <c:dPt>
            <c:idx val="281"/>
            <c:invertIfNegative val="1"/>
            <c:bubble3D val="0"/>
            <c:spPr>
              <a:solidFill>
                <a:srgbClr val="AEABAB"/>
              </a:solidFill>
            </c:spPr>
            <c:extLst>
              <c:ext xmlns:c16="http://schemas.microsoft.com/office/drawing/2014/chart" uri="{C3380CC4-5D6E-409C-BE32-E72D297353CC}">
                <c16:uniqueId val="{00000235-4979-43C9-8F53-668109EDF31B}"/>
              </c:ext>
            </c:extLst>
          </c:dPt>
          <c:dPt>
            <c:idx val="282"/>
            <c:invertIfNegative val="1"/>
            <c:bubble3D val="0"/>
            <c:spPr>
              <a:solidFill>
                <a:srgbClr val="AEABAB"/>
              </a:solidFill>
            </c:spPr>
            <c:extLst>
              <c:ext xmlns:c16="http://schemas.microsoft.com/office/drawing/2014/chart" uri="{C3380CC4-5D6E-409C-BE32-E72D297353CC}">
                <c16:uniqueId val="{00000237-4979-43C9-8F53-668109EDF31B}"/>
              </c:ext>
            </c:extLst>
          </c:dPt>
          <c:dPt>
            <c:idx val="283"/>
            <c:invertIfNegative val="1"/>
            <c:bubble3D val="0"/>
            <c:spPr>
              <a:solidFill>
                <a:srgbClr val="AEABAB"/>
              </a:solidFill>
            </c:spPr>
            <c:extLst>
              <c:ext xmlns:c16="http://schemas.microsoft.com/office/drawing/2014/chart" uri="{C3380CC4-5D6E-409C-BE32-E72D297353CC}">
                <c16:uniqueId val="{00000239-4979-43C9-8F53-668109EDF31B}"/>
              </c:ext>
            </c:extLst>
          </c:dPt>
          <c:dPt>
            <c:idx val="284"/>
            <c:invertIfNegative val="1"/>
            <c:bubble3D val="0"/>
            <c:spPr>
              <a:solidFill>
                <a:srgbClr val="AEABAB"/>
              </a:solidFill>
            </c:spPr>
            <c:extLst>
              <c:ext xmlns:c16="http://schemas.microsoft.com/office/drawing/2014/chart" uri="{C3380CC4-5D6E-409C-BE32-E72D297353CC}">
                <c16:uniqueId val="{0000023B-4979-43C9-8F53-668109EDF31B}"/>
              </c:ext>
            </c:extLst>
          </c:dPt>
          <c:dPt>
            <c:idx val="285"/>
            <c:invertIfNegative val="1"/>
            <c:bubble3D val="0"/>
            <c:spPr>
              <a:solidFill>
                <a:srgbClr val="AEABAB"/>
              </a:solidFill>
            </c:spPr>
            <c:extLst>
              <c:ext xmlns:c16="http://schemas.microsoft.com/office/drawing/2014/chart" uri="{C3380CC4-5D6E-409C-BE32-E72D297353CC}">
                <c16:uniqueId val="{0000023D-4979-43C9-8F53-668109EDF31B}"/>
              </c:ext>
            </c:extLst>
          </c:dPt>
          <c:dPt>
            <c:idx val="286"/>
            <c:invertIfNegative val="1"/>
            <c:bubble3D val="0"/>
            <c:spPr>
              <a:solidFill>
                <a:srgbClr val="AEABAB"/>
              </a:solidFill>
            </c:spPr>
            <c:extLst>
              <c:ext xmlns:c16="http://schemas.microsoft.com/office/drawing/2014/chart" uri="{C3380CC4-5D6E-409C-BE32-E72D297353CC}">
                <c16:uniqueId val="{0000023F-4979-43C9-8F53-668109EDF31B}"/>
              </c:ext>
            </c:extLst>
          </c:dPt>
          <c:dPt>
            <c:idx val="287"/>
            <c:invertIfNegative val="1"/>
            <c:bubble3D val="0"/>
            <c:spPr>
              <a:solidFill>
                <a:srgbClr val="AEABAB"/>
              </a:solidFill>
            </c:spPr>
            <c:extLst>
              <c:ext xmlns:c16="http://schemas.microsoft.com/office/drawing/2014/chart" uri="{C3380CC4-5D6E-409C-BE32-E72D297353CC}">
                <c16:uniqueId val="{00000241-4979-43C9-8F53-668109EDF31B}"/>
              </c:ext>
            </c:extLst>
          </c:dPt>
          <c:dPt>
            <c:idx val="288"/>
            <c:invertIfNegative val="1"/>
            <c:bubble3D val="0"/>
            <c:spPr>
              <a:solidFill>
                <a:srgbClr val="AEABAB"/>
              </a:solidFill>
            </c:spPr>
            <c:extLst>
              <c:ext xmlns:c16="http://schemas.microsoft.com/office/drawing/2014/chart" uri="{C3380CC4-5D6E-409C-BE32-E72D297353CC}">
                <c16:uniqueId val="{00000243-4979-43C9-8F53-668109EDF31B}"/>
              </c:ext>
            </c:extLst>
          </c:dPt>
          <c:dPt>
            <c:idx val="289"/>
            <c:invertIfNegative val="1"/>
            <c:bubble3D val="0"/>
            <c:spPr>
              <a:solidFill>
                <a:srgbClr val="AEABAB"/>
              </a:solidFill>
            </c:spPr>
            <c:extLst>
              <c:ext xmlns:c16="http://schemas.microsoft.com/office/drawing/2014/chart" uri="{C3380CC4-5D6E-409C-BE32-E72D297353CC}">
                <c16:uniqueId val="{00000245-4979-43C9-8F53-668109EDF31B}"/>
              </c:ext>
            </c:extLst>
          </c:dPt>
          <c:dPt>
            <c:idx val="290"/>
            <c:invertIfNegative val="1"/>
            <c:bubble3D val="0"/>
            <c:spPr>
              <a:solidFill>
                <a:srgbClr val="AEABAB"/>
              </a:solidFill>
            </c:spPr>
            <c:extLst>
              <c:ext xmlns:c16="http://schemas.microsoft.com/office/drawing/2014/chart" uri="{C3380CC4-5D6E-409C-BE32-E72D297353CC}">
                <c16:uniqueId val="{00000247-4979-43C9-8F53-668109EDF31B}"/>
              </c:ext>
            </c:extLst>
          </c:dPt>
          <c:dPt>
            <c:idx val="291"/>
            <c:invertIfNegative val="1"/>
            <c:bubble3D val="0"/>
            <c:spPr>
              <a:solidFill>
                <a:srgbClr val="AEABAB"/>
              </a:solidFill>
            </c:spPr>
            <c:extLst>
              <c:ext xmlns:c16="http://schemas.microsoft.com/office/drawing/2014/chart" uri="{C3380CC4-5D6E-409C-BE32-E72D297353CC}">
                <c16:uniqueId val="{00000249-4979-43C9-8F53-668109EDF31B}"/>
              </c:ext>
            </c:extLst>
          </c:dPt>
          <c:dPt>
            <c:idx val="292"/>
            <c:invertIfNegative val="1"/>
            <c:bubble3D val="0"/>
            <c:spPr>
              <a:solidFill>
                <a:srgbClr val="AEABAB"/>
              </a:solidFill>
            </c:spPr>
            <c:extLst>
              <c:ext xmlns:c16="http://schemas.microsoft.com/office/drawing/2014/chart" uri="{C3380CC4-5D6E-409C-BE32-E72D297353CC}">
                <c16:uniqueId val="{0000024B-4979-43C9-8F53-668109EDF31B}"/>
              </c:ext>
            </c:extLst>
          </c:dPt>
          <c:dPt>
            <c:idx val="293"/>
            <c:invertIfNegative val="1"/>
            <c:bubble3D val="0"/>
            <c:spPr>
              <a:solidFill>
                <a:srgbClr val="AEABAB"/>
              </a:solidFill>
            </c:spPr>
            <c:extLst>
              <c:ext xmlns:c16="http://schemas.microsoft.com/office/drawing/2014/chart" uri="{C3380CC4-5D6E-409C-BE32-E72D297353CC}">
                <c16:uniqueId val="{0000024D-4979-43C9-8F53-668109EDF31B}"/>
              </c:ext>
            </c:extLst>
          </c:dPt>
          <c:dPt>
            <c:idx val="294"/>
            <c:invertIfNegative val="1"/>
            <c:bubble3D val="0"/>
            <c:spPr>
              <a:solidFill>
                <a:srgbClr val="AEABAB"/>
              </a:solidFill>
            </c:spPr>
            <c:extLst>
              <c:ext xmlns:c16="http://schemas.microsoft.com/office/drawing/2014/chart" uri="{C3380CC4-5D6E-409C-BE32-E72D297353CC}">
                <c16:uniqueId val="{0000024F-4979-43C9-8F53-668109EDF31B}"/>
              </c:ext>
            </c:extLst>
          </c:dPt>
          <c:dPt>
            <c:idx val="295"/>
            <c:invertIfNegative val="1"/>
            <c:bubble3D val="0"/>
            <c:spPr>
              <a:solidFill>
                <a:srgbClr val="AEABAB"/>
              </a:solidFill>
            </c:spPr>
            <c:extLst>
              <c:ext xmlns:c16="http://schemas.microsoft.com/office/drawing/2014/chart" uri="{C3380CC4-5D6E-409C-BE32-E72D297353CC}">
                <c16:uniqueId val="{00000251-4979-43C9-8F53-668109EDF31B}"/>
              </c:ext>
            </c:extLst>
          </c:dPt>
          <c:dPt>
            <c:idx val="296"/>
            <c:invertIfNegative val="1"/>
            <c:bubble3D val="0"/>
            <c:spPr>
              <a:solidFill>
                <a:srgbClr val="AEABAB"/>
              </a:solidFill>
            </c:spPr>
            <c:extLst>
              <c:ext xmlns:c16="http://schemas.microsoft.com/office/drawing/2014/chart" uri="{C3380CC4-5D6E-409C-BE32-E72D297353CC}">
                <c16:uniqueId val="{00000253-4979-43C9-8F53-668109EDF31B}"/>
              </c:ext>
            </c:extLst>
          </c:dPt>
          <c:dPt>
            <c:idx val="297"/>
            <c:invertIfNegative val="1"/>
            <c:bubble3D val="0"/>
            <c:spPr>
              <a:solidFill>
                <a:srgbClr val="AEABAB"/>
              </a:solidFill>
            </c:spPr>
            <c:extLst>
              <c:ext xmlns:c16="http://schemas.microsoft.com/office/drawing/2014/chart" uri="{C3380CC4-5D6E-409C-BE32-E72D297353CC}">
                <c16:uniqueId val="{00000255-4979-43C9-8F53-668109EDF31B}"/>
              </c:ext>
            </c:extLst>
          </c:dPt>
          <c:dPt>
            <c:idx val="298"/>
            <c:invertIfNegative val="1"/>
            <c:bubble3D val="0"/>
            <c:spPr>
              <a:solidFill>
                <a:srgbClr val="AEABAB"/>
              </a:solidFill>
            </c:spPr>
            <c:extLst>
              <c:ext xmlns:c16="http://schemas.microsoft.com/office/drawing/2014/chart" uri="{C3380CC4-5D6E-409C-BE32-E72D297353CC}">
                <c16:uniqueId val="{00000257-4979-43C9-8F53-668109EDF31B}"/>
              </c:ext>
            </c:extLst>
          </c:dPt>
          <c:dPt>
            <c:idx val="299"/>
            <c:invertIfNegative val="1"/>
            <c:bubble3D val="0"/>
            <c:spPr>
              <a:solidFill>
                <a:srgbClr val="AEABAB"/>
              </a:solidFill>
            </c:spPr>
            <c:extLst>
              <c:ext xmlns:c16="http://schemas.microsoft.com/office/drawing/2014/chart" uri="{C3380CC4-5D6E-409C-BE32-E72D297353CC}">
                <c16:uniqueId val="{00000259-4979-43C9-8F53-668109EDF31B}"/>
              </c:ext>
            </c:extLst>
          </c:dPt>
          <c:dPt>
            <c:idx val="300"/>
            <c:invertIfNegative val="1"/>
            <c:bubble3D val="0"/>
            <c:spPr>
              <a:solidFill>
                <a:srgbClr val="AEABAB"/>
              </a:solidFill>
            </c:spPr>
            <c:extLst>
              <c:ext xmlns:c16="http://schemas.microsoft.com/office/drawing/2014/chart" uri="{C3380CC4-5D6E-409C-BE32-E72D297353CC}">
                <c16:uniqueId val="{0000025B-4979-43C9-8F53-668109EDF31B}"/>
              </c:ext>
            </c:extLst>
          </c:dPt>
          <c:cat>
            <c:strRef>
              <c:f>Sheet1!$A$2:$A$302</c:f>
              <c:strCache>
                <c:ptCount val="301"/>
                <c:pt idx="0">
                  <c:v>Ruinart</c:v>
                </c:pt>
                <c:pt idx="1">
                  <c:v>Ruinart</c:v>
                </c:pt>
                <c:pt idx="2">
                  <c:v>Nicolas</c:v>
                </c:pt>
                <c:pt idx="3">
                  <c:v>Deutz</c:v>
                </c:pt>
                <c:pt idx="4">
                  <c:v>Heidsieck &amp;</c:v>
                </c:pt>
                <c:pt idx="5">
                  <c:v>Malard</c:v>
                </c:pt>
                <c:pt idx="6">
                  <c:v>De Bligny</c:v>
                </c:pt>
                <c:pt idx="7">
                  <c:v>Laurent Per</c:v>
                </c:pt>
                <c:pt idx="8">
                  <c:v>Ayala</c:v>
                </c:pt>
                <c:pt idx="9">
                  <c:v>Canard Duch</c:v>
                </c:pt>
                <c:pt idx="10">
                  <c:v>Nicolas Feu</c:v>
                </c:pt>
                <c:pt idx="11">
                  <c:v>Bollinger</c:v>
                </c:pt>
                <c:pt idx="12">
                  <c:v>Besserat De</c:v>
                </c:pt>
                <c:pt idx="13">
                  <c:v>Taittinger</c:v>
                </c:pt>
                <c:pt idx="14">
                  <c:v>Ruinart</c:v>
                </c:pt>
                <c:pt idx="15">
                  <c:v>Ruinart</c:v>
                </c:pt>
                <c:pt idx="16">
                  <c:v>Ruinart</c:v>
                </c:pt>
                <c:pt idx="17">
                  <c:v>Ruinart</c:v>
                </c:pt>
                <c:pt idx="18">
                  <c:v>Deutz</c:v>
                </c:pt>
                <c:pt idx="19">
                  <c:v>Demoiselle</c:v>
                </c:pt>
                <c:pt idx="20">
                  <c:v>Ruinart</c:v>
                </c:pt>
                <c:pt idx="21">
                  <c:v>Dom Perigno</c:v>
                </c:pt>
                <c:pt idx="22">
                  <c:v>All Others</c:v>
                </c:pt>
                <c:pt idx="23">
                  <c:v>All Others</c:v>
                </c:pt>
                <c:pt idx="24">
                  <c:v>Perrier Jou</c:v>
                </c:pt>
                <c:pt idx="25">
                  <c:v>Savian</c:v>
                </c:pt>
                <c:pt idx="26">
                  <c:v>Nicolas</c:v>
                </c:pt>
                <c:pt idx="27">
                  <c:v>Besserat De</c:v>
                </c:pt>
                <c:pt idx="28">
                  <c:v>Laurent Per</c:v>
                </c:pt>
                <c:pt idx="29">
                  <c:v>Dom Perigno</c:v>
                </c:pt>
                <c:pt idx="30">
                  <c:v>Moët &amp; Chan</c:v>
                </c:pt>
                <c:pt idx="31">
                  <c:v>Taittinger</c:v>
                </c:pt>
                <c:pt idx="32">
                  <c:v>Roederer</c:v>
                </c:pt>
                <c:pt idx="33">
                  <c:v>Laurent Per</c:v>
                </c:pt>
                <c:pt idx="34">
                  <c:v>Bottega</c:v>
                </c:pt>
                <c:pt idx="35">
                  <c:v>Campari: Al</c:v>
                </c:pt>
                <c:pt idx="36">
                  <c:v>Demoiselle</c:v>
                </c:pt>
                <c:pt idx="37">
                  <c:v>Deutz</c:v>
                </c:pt>
                <c:pt idx="38">
                  <c:v>Roederer</c:v>
                </c:pt>
                <c:pt idx="39">
                  <c:v>Pommery</c:v>
                </c:pt>
                <c:pt idx="40">
                  <c:v>Malard</c:v>
                </c:pt>
                <c:pt idx="41">
                  <c:v>Patriarche</c:v>
                </c:pt>
                <c:pt idx="42">
                  <c:v>Veuve Clicq</c:v>
                </c:pt>
                <c:pt idx="43">
                  <c:v>Nicolas</c:v>
                </c:pt>
                <c:pt idx="44">
                  <c:v>Veuve Clicq</c:v>
                </c:pt>
                <c:pt idx="45">
                  <c:v>Nicolas</c:v>
                </c:pt>
                <c:pt idx="46">
                  <c:v>Roederer</c:v>
                </c:pt>
                <c:pt idx="47">
                  <c:v>Bouvet-Ladu</c:v>
                </c:pt>
                <c:pt idx="48">
                  <c:v>All Others</c:v>
                </c:pt>
                <c:pt idx="49">
                  <c:v>Ruinart</c:v>
                </c:pt>
                <c:pt idx="50">
                  <c:v>All Others</c:v>
                </c:pt>
                <c:pt idx="51">
                  <c:v>Henriot</c:v>
                </c:pt>
                <c:pt idx="52">
                  <c:v>Moët &amp; Chan</c:v>
                </c:pt>
                <c:pt idx="53">
                  <c:v>Vesselle</c:v>
                </c:pt>
                <c:pt idx="54">
                  <c:v>De Chanceny</c:v>
                </c:pt>
                <c:pt idx="55">
                  <c:v>Bollinger</c:v>
                </c:pt>
                <c:pt idx="56">
                  <c:v>Moët &amp; Chan</c:v>
                </c:pt>
                <c:pt idx="57">
                  <c:v>Nicolas</c:v>
                </c:pt>
                <c:pt idx="58">
                  <c:v>Mure</c:v>
                </c:pt>
                <c:pt idx="59">
                  <c:v>Malard</c:v>
                </c:pt>
                <c:pt idx="60">
                  <c:v>Ruinart</c:v>
                </c:pt>
                <c:pt idx="61">
                  <c:v>De Bligny</c:v>
                </c:pt>
                <c:pt idx="62">
                  <c:v>Campari: Al</c:v>
                </c:pt>
                <c:pt idx="63">
                  <c:v>Roederer</c:v>
                </c:pt>
                <c:pt idx="64">
                  <c:v>Nicolas Feu</c:v>
                </c:pt>
                <c:pt idx="65">
                  <c:v>Nicolas Feu</c:v>
                </c:pt>
                <c:pt idx="66">
                  <c:v>Besserat De</c:v>
                </c:pt>
                <c:pt idx="67">
                  <c:v>Ayala</c:v>
                </c:pt>
                <c:pt idx="68">
                  <c:v>Lanson</c:v>
                </c:pt>
                <c:pt idx="69">
                  <c:v>Lyre's</c:v>
                </c:pt>
                <c:pt idx="70">
                  <c:v>Pommery</c:v>
                </c:pt>
                <c:pt idx="71">
                  <c:v>Savian</c:v>
                </c:pt>
                <c:pt idx="72">
                  <c:v>Krug</c:v>
                </c:pt>
                <c:pt idx="73">
                  <c:v>Ruinart</c:v>
                </c:pt>
                <c:pt idx="74">
                  <c:v>Roederer</c:v>
                </c:pt>
                <c:pt idx="75">
                  <c:v>Veuve Clicq</c:v>
                </c:pt>
                <c:pt idx="76">
                  <c:v>Canard Duch</c:v>
                </c:pt>
                <c:pt idx="77">
                  <c:v>Malard</c:v>
                </c:pt>
                <c:pt idx="78">
                  <c:v>Delamotte</c:v>
                </c:pt>
                <c:pt idx="79">
                  <c:v>Chateau Mon</c:v>
                </c:pt>
                <c:pt idx="80">
                  <c:v>De Venoge</c:v>
                </c:pt>
                <c:pt idx="81">
                  <c:v>Ruinart</c:v>
                </c:pt>
                <c:pt idx="82">
                  <c:v>Louis Marti</c:v>
                </c:pt>
                <c:pt idx="83">
                  <c:v>Henriot</c:v>
                </c:pt>
                <c:pt idx="84">
                  <c:v>Vranken</c:v>
                </c:pt>
                <c:pt idx="85">
                  <c:v>Piper Heids</c:v>
                </c:pt>
                <c:pt idx="86">
                  <c:v>Deutz</c:v>
                </c:pt>
                <c:pt idx="87">
                  <c:v>Canard Duch</c:v>
                </c:pt>
                <c:pt idx="88">
                  <c:v>De Venoge</c:v>
                </c:pt>
                <c:pt idx="89">
                  <c:v>Nicolas Feu</c:v>
                </c:pt>
                <c:pt idx="90">
                  <c:v>All Others</c:v>
                </c:pt>
                <c:pt idx="91">
                  <c:v>Malard</c:v>
                </c:pt>
                <c:pt idx="92">
                  <c:v>Deutz</c:v>
                </c:pt>
                <c:pt idx="93">
                  <c:v>Vranken</c:v>
                </c:pt>
                <c:pt idx="94">
                  <c:v>Canard Duch</c:v>
                </c:pt>
                <c:pt idx="95">
                  <c:v>Ruinart</c:v>
                </c:pt>
                <c:pt idx="96">
                  <c:v>Roederer</c:v>
                </c:pt>
                <c:pt idx="97">
                  <c:v>De Venoge</c:v>
                </c:pt>
                <c:pt idx="98">
                  <c:v>Ruinart</c:v>
                </c:pt>
                <c:pt idx="99">
                  <c:v>Dom Perigno</c:v>
                </c:pt>
                <c:pt idx="100">
                  <c:v>Laurent Per</c:v>
                </c:pt>
                <c:pt idx="101">
                  <c:v>Kriter</c:v>
                </c:pt>
                <c:pt idx="102">
                  <c:v>Nicolas</c:v>
                </c:pt>
                <c:pt idx="103">
                  <c:v>All Others</c:v>
                </c:pt>
                <c:pt idx="104">
                  <c:v>Canard Duch</c:v>
                </c:pt>
                <c:pt idx="105">
                  <c:v>Ruinart</c:v>
                </c:pt>
                <c:pt idx="106">
                  <c:v>Roederer</c:v>
                </c:pt>
                <c:pt idx="107">
                  <c:v>All Others</c:v>
                </c:pt>
                <c:pt idx="108">
                  <c:v>Nicolas</c:v>
                </c:pt>
                <c:pt idx="109">
                  <c:v>Contarini</c:v>
                </c:pt>
                <c:pt idx="110">
                  <c:v>Patriarche</c:v>
                </c:pt>
                <c:pt idx="111">
                  <c:v>Pommery</c:v>
                </c:pt>
                <c:pt idx="112">
                  <c:v>All Others</c:v>
                </c:pt>
                <c:pt idx="113">
                  <c:v>All Others</c:v>
                </c:pt>
                <c:pt idx="114">
                  <c:v>All Others</c:v>
                </c:pt>
                <c:pt idx="115">
                  <c:v>De Chanceny</c:v>
                </c:pt>
                <c:pt idx="116">
                  <c:v>Ruinart</c:v>
                </c:pt>
                <c:pt idx="117">
                  <c:v>Bollinger</c:v>
                </c:pt>
                <c:pt idx="118">
                  <c:v>All Others</c:v>
                </c:pt>
                <c:pt idx="119">
                  <c:v>Veuve Clicq</c:v>
                </c:pt>
                <c:pt idx="120">
                  <c:v>Henriot</c:v>
                </c:pt>
                <c:pt idx="121">
                  <c:v>Roederer</c:v>
                </c:pt>
                <c:pt idx="122">
                  <c:v>Nicolas</c:v>
                </c:pt>
                <c:pt idx="123">
                  <c:v>Laurent Per</c:v>
                </c:pt>
                <c:pt idx="124">
                  <c:v>Perrier Jou</c:v>
                </c:pt>
                <c:pt idx="125">
                  <c:v>Piper Heids</c:v>
                </c:pt>
                <c:pt idx="126">
                  <c:v>Nicolas</c:v>
                </c:pt>
                <c:pt idx="127">
                  <c:v>Nicolas</c:v>
                </c:pt>
                <c:pt idx="128">
                  <c:v>Bottega</c:v>
                </c:pt>
                <c:pt idx="129">
                  <c:v>Canard Duch</c:v>
                </c:pt>
                <c:pt idx="130">
                  <c:v>All Others</c:v>
                </c:pt>
                <c:pt idx="131">
                  <c:v>Louis Marti</c:v>
                </c:pt>
                <c:pt idx="132">
                  <c:v>Deutz</c:v>
                </c:pt>
                <c:pt idx="133">
                  <c:v>Moët &amp; Chan</c:v>
                </c:pt>
                <c:pt idx="134">
                  <c:v>All Others</c:v>
                </c:pt>
                <c:pt idx="135">
                  <c:v>All Others</c:v>
                </c:pt>
                <c:pt idx="136">
                  <c:v>Moët &amp; Chan</c:v>
                </c:pt>
                <c:pt idx="137">
                  <c:v>All Others</c:v>
                </c:pt>
                <c:pt idx="138">
                  <c:v>All Others</c:v>
                </c:pt>
                <c:pt idx="139">
                  <c:v>All Others</c:v>
                </c:pt>
                <c:pt idx="140">
                  <c:v>Bollinger</c:v>
                </c:pt>
                <c:pt idx="141">
                  <c:v>Perrier Jou</c:v>
                </c:pt>
                <c:pt idx="142">
                  <c:v>All Others</c:v>
                </c:pt>
                <c:pt idx="143">
                  <c:v>Malard</c:v>
                </c:pt>
                <c:pt idx="144">
                  <c:v>Laurent Per</c:v>
                </c:pt>
                <c:pt idx="145">
                  <c:v>Deutz</c:v>
                </c:pt>
                <c:pt idx="146">
                  <c:v>Nicolas</c:v>
                </c:pt>
                <c:pt idx="147">
                  <c:v>Roederer</c:v>
                </c:pt>
                <c:pt idx="148">
                  <c:v>Ruinart</c:v>
                </c:pt>
                <c:pt idx="149">
                  <c:v>Nicolas</c:v>
                </c:pt>
                <c:pt idx="150">
                  <c:v>Bouvet-Ladu</c:v>
                </c:pt>
                <c:pt idx="151">
                  <c:v>Nicolas</c:v>
                </c:pt>
                <c:pt idx="152">
                  <c:v>Ruinart</c:v>
                </c:pt>
                <c:pt idx="153">
                  <c:v>Henriot</c:v>
                </c:pt>
                <c:pt idx="154">
                  <c:v>Ruinart</c:v>
                </c:pt>
                <c:pt idx="155">
                  <c:v>Taittinger</c:v>
                </c:pt>
                <c:pt idx="156">
                  <c:v>All Others</c:v>
                </c:pt>
                <c:pt idx="157">
                  <c:v>Laurent Per</c:v>
                </c:pt>
                <c:pt idx="158">
                  <c:v>Ruinart</c:v>
                </c:pt>
                <c:pt idx="159">
                  <c:v>All Others</c:v>
                </c:pt>
                <c:pt idx="160">
                  <c:v>All Others</c:v>
                </c:pt>
                <c:pt idx="161">
                  <c:v>All Others</c:v>
                </c:pt>
                <c:pt idx="162">
                  <c:v>Cru La Maqu</c:v>
                </c:pt>
                <c:pt idx="163">
                  <c:v>Besserat De</c:v>
                </c:pt>
                <c:pt idx="164">
                  <c:v>Demoiselle</c:v>
                </c:pt>
                <c:pt idx="165">
                  <c:v>Ayala</c:v>
                </c:pt>
                <c:pt idx="166">
                  <c:v>De Venoge</c:v>
                </c:pt>
                <c:pt idx="167">
                  <c:v>Nicolas</c:v>
                </c:pt>
                <c:pt idx="168">
                  <c:v>Vesselle</c:v>
                </c:pt>
                <c:pt idx="169">
                  <c:v>Ruinart</c:v>
                </c:pt>
                <c:pt idx="170">
                  <c:v>Roederer</c:v>
                </c:pt>
                <c:pt idx="171">
                  <c:v>Delamotte</c:v>
                </c:pt>
                <c:pt idx="172">
                  <c:v>Taittinger</c:v>
                </c:pt>
                <c:pt idx="173">
                  <c:v>Nicolas</c:v>
                </c:pt>
                <c:pt idx="174">
                  <c:v>Bollinger</c:v>
                </c:pt>
                <c:pt idx="175">
                  <c:v>Nicolas</c:v>
                </c:pt>
                <c:pt idx="176">
                  <c:v>Moët &amp; Chan</c:v>
                </c:pt>
                <c:pt idx="177">
                  <c:v>Demoiselle</c:v>
                </c:pt>
                <c:pt idx="178">
                  <c:v>Contarini</c:v>
                </c:pt>
                <c:pt idx="179">
                  <c:v>All Others</c:v>
                </c:pt>
                <c:pt idx="180">
                  <c:v>All Others</c:v>
                </c:pt>
                <c:pt idx="181">
                  <c:v>Nicolas</c:v>
                </c:pt>
                <c:pt idx="182">
                  <c:v>Lanson</c:v>
                </c:pt>
                <c:pt idx="183">
                  <c:v>De Venoge</c:v>
                </c:pt>
                <c:pt idx="184">
                  <c:v>Vesselle</c:v>
                </c:pt>
                <c:pt idx="185">
                  <c:v>Pommery</c:v>
                </c:pt>
                <c:pt idx="186">
                  <c:v>All Others</c:v>
                </c:pt>
                <c:pt idx="187">
                  <c:v>All Others</c:v>
                </c:pt>
                <c:pt idx="188">
                  <c:v>Pommery</c:v>
                </c:pt>
                <c:pt idx="189">
                  <c:v>Bollinger</c:v>
                </c:pt>
                <c:pt idx="190">
                  <c:v>All Others</c:v>
                </c:pt>
                <c:pt idx="191">
                  <c:v>Vranken</c:v>
                </c:pt>
                <c:pt idx="192">
                  <c:v>Pommery</c:v>
                </c:pt>
                <c:pt idx="193">
                  <c:v>De Venoge</c:v>
                </c:pt>
                <c:pt idx="194">
                  <c:v>Deutz</c:v>
                </c:pt>
                <c:pt idx="195">
                  <c:v>Deutz</c:v>
                </c:pt>
                <c:pt idx="196">
                  <c:v>Roederer</c:v>
                </c:pt>
                <c:pt idx="197">
                  <c:v>Deutz</c:v>
                </c:pt>
                <c:pt idx="198">
                  <c:v>Ruinart</c:v>
                </c:pt>
                <c:pt idx="199">
                  <c:v>Besserat De</c:v>
                </c:pt>
                <c:pt idx="200">
                  <c:v>Dom Perigno</c:v>
                </c:pt>
                <c:pt idx="201">
                  <c:v>All Others</c:v>
                </c:pt>
                <c:pt idx="202">
                  <c:v>Roederer</c:v>
                </c:pt>
                <c:pt idx="203">
                  <c:v>All Others</c:v>
                </c:pt>
                <c:pt idx="204">
                  <c:v>Pommery</c:v>
                </c:pt>
                <c:pt idx="205">
                  <c:v>All Others</c:v>
                </c:pt>
                <c:pt idx="206">
                  <c:v>Bottega</c:v>
                </c:pt>
                <c:pt idx="207">
                  <c:v>Piper Heids</c:v>
                </c:pt>
                <c:pt idx="208">
                  <c:v>Taittinger</c:v>
                </c:pt>
                <c:pt idx="209">
                  <c:v>Canard Duch</c:v>
                </c:pt>
                <c:pt idx="210">
                  <c:v>Pommery</c:v>
                </c:pt>
                <c:pt idx="211">
                  <c:v>De Venoge</c:v>
                </c:pt>
                <c:pt idx="212">
                  <c:v>De Venoge</c:v>
                </c:pt>
                <c:pt idx="213">
                  <c:v>Demoiselle</c:v>
                </c:pt>
                <c:pt idx="214">
                  <c:v>Roederer</c:v>
                </c:pt>
                <c:pt idx="215">
                  <c:v>Roederer</c:v>
                </c:pt>
                <c:pt idx="216">
                  <c:v>Laurent Per</c:v>
                </c:pt>
                <c:pt idx="217">
                  <c:v>Roederer</c:v>
                </c:pt>
                <c:pt idx="218">
                  <c:v>All Others</c:v>
                </c:pt>
                <c:pt idx="219">
                  <c:v>Roederer</c:v>
                </c:pt>
                <c:pt idx="220">
                  <c:v>Laurent Per</c:v>
                </c:pt>
                <c:pt idx="221">
                  <c:v>Moët &amp; Chan</c:v>
                </c:pt>
                <c:pt idx="222">
                  <c:v>All Others</c:v>
                </c:pt>
                <c:pt idx="223">
                  <c:v>Henriot</c:v>
                </c:pt>
                <c:pt idx="224">
                  <c:v>Bouvet-Ladu</c:v>
                </c:pt>
                <c:pt idx="225">
                  <c:v>Piper Heids</c:v>
                </c:pt>
                <c:pt idx="226">
                  <c:v>Pommery</c:v>
                </c:pt>
                <c:pt idx="227">
                  <c:v>Nicolas</c:v>
                </c:pt>
                <c:pt idx="228">
                  <c:v>All Others</c:v>
                </c:pt>
                <c:pt idx="229">
                  <c:v>All Others</c:v>
                </c:pt>
                <c:pt idx="230">
                  <c:v>Martel</c:v>
                </c:pt>
                <c:pt idx="231">
                  <c:v>Roederer</c:v>
                </c:pt>
                <c:pt idx="232">
                  <c:v>Nicolas</c:v>
                </c:pt>
                <c:pt idx="233">
                  <c:v>Ruinart</c:v>
                </c:pt>
                <c:pt idx="234">
                  <c:v>All Others</c:v>
                </c:pt>
                <c:pt idx="235">
                  <c:v>Canard Duch</c:v>
                </c:pt>
                <c:pt idx="236">
                  <c:v>All Others</c:v>
                </c:pt>
                <c:pt idx="237">
                  <c:v>Perrier Jou</c:v>
                </c:pt>
                <c:pt idx="238">
                  <c:v>All Others</c:v>
                </c:pt>
                <c:pt idx="239">
                  <c:v>Ruinart</c:v>
                </c:pt>
                <c:pt idx="240">
                  <c:v>Bouvet-Ladu</c:v>
                </c:pt>
                <c:pt idx="241">
                  <c:v>All Others</c:v>
                </c:pt>
                <c:pt idx="242">
                  <c:v>Nicolas Feu</c:v>
                </c:pt>
                <c:pt idx="243">
                  <c:v>Celene</c:v>
                </c:pt>
                <c:pt idx="244">
                  <c:v>Deutz</c:v>
                </c:pt>
                <c:pt idx="245">
                  <c:v>Roederer</c:v>
                </c:pt>
                <c:pt idx="246">
                  <c:v>Jaillance</c:v>
                </c:pt>
                <c:pt idx="247">
                  <c:v>All Others</c:v>
                </c:pt>
                <c:pt idx="248">
                  <c:v>Henriot</c:v>
                </c:pt>
                <c:pt idx="249">
                  <c:v>Canard Duch</c:v>
                </c:pt>
                <c:pt idx="250">
                  <c:v>Bouvet-Ladu</c:v>
                </c:pt>
                <c:pt idx="251">
                  <c:v>Ruinart</c:v>
                </c:pt>
                <c:pt idx="252">
                  <c:v>Henriot</c:v>
                </c:pt>
                <c:pt idx="253">
                  <c:v>Nicolas</c:v>
                </c:pt>
                <c:pt idx="254">
                  <c:v>Celene</c:v>
                </c:pt>
                <c:pt idx="255">
                  <c:v>All Others</c:v>
                </c:pt>
                <c:pt idx="256">
                  <c:v>De Bligny</c:v>
                </c:pt>
                <c:pt idx="257">
                  <c:v>All Others</c:v>
                </c:pt>
                <c:pt idx="258">
                  <c:v>Nicolas Feu</c:v>
                </c:pt>
                <c:pt idx="259">
                  <c:v>All Others</c:v>
                </c:pt>
                <c:pt idx="260">
                  <c:v>Pommery</c:v>
                </c:pt>
                <c:pt idx="261">
                  <c:v>Bollinger</c:v>
                </c:pt>
                <c:pt idx="262">
                  <c:v>All Others</c:v>
                </c:pt>
                <c:pt idx="263">
                  <c:v>Demoiselle</c:v>
                </c:pt>
                <c:pt idx="264">
                  <c:v>Piper Heids</c:v>
                </c:pt>
                <c:pt idx="265">
                  <c:v>All Others</c:v>
                </c:pt>
                <c:pt idx="266">
                  <c:v>Laurent Per</c:v>
                </c:pt>
                <c:pt idx="267">
                  <c:v>Laurent Per</c:v>
                </c:pt>
                <c:pt idx="268">
                  <c:v>Laurent Per</c:v>
                </c:pt>
                <c:pt idx="269">
                  <c:v>All Others</c:v>
                </c:pt>
                <c:pt idx="270">
                  <c:v>Perrier Jou</c:v>
                </c:pt>
                <c:pt idx="271">
                  <c:v>Bottega</c:v>
                </c:pt>
                <c:pt idx="272">
                  <c:v>All Others</c:v>
                </c:pt>
                <c:pt idx="273">
                  <c:v>Roederer</c:v>
                </c:pt>
                <c:pt idx="274">
                  <c:v>Malard</c:v>
                </c:pt>
                <c:pt idx="275">
                  <c:v>Besserat De</c:v>
                </c:pt>
                <c:pt idx="276">
                  <c:v>Bouvet-Ladu</c:v>
                </c:pt>
                <c:pt idx="277">
                  <c:v>Demoiselle</c:v>
                </c:pt>
                <c:pt idx="278">
                  <c:v>All Others</c:v>
                </c:pt>
                <c:pt idx="279">
                  <c:v>Ayala</c:v>
                </c:pt>
                <c:pt idx="280">
                  <c:v>Nicolas Feu</c:v>
                </c:pt>
                <c:pt idx="281">
                  <c:v>Roederer</c:v>
                </c:pt>
                <c:pt idx="282">
                  <c:v>Laurent Per</c:v>
                </c:pt>
                <c:pt idx="283">
                  <c:v>Roederer</c:v>
                </c:pt>
                <c:pt idx="284">
                  <c:v>All Others</c:v>
                </c:pt>
                <c:pt idx="285">
                  <c:v>Roederer</c:v>
                </c:pt>
                <c:pt idx="286">
                  <c:v>Besserat De</c:v>
                </c:pt>
                <c:pt idx="287">
                  <c:v>All Others</c:v>
                </c:pt>
                <c:pt idx="288">
                  <c:v>All Others</c:v>
                </c:pt>
                <c:pt idx="289">
                  <c:v>Malard</c:v>
                </c:pt>
                <c:pt idx="290">
                  <c:v>Pommery</c:v>
                </c:pt>
                <c:pt idx="291">
                  <c:v>All Others</c:v>
                </c:pt>
                <c:pt idx="292">
                  <c:v>Roederer</c:v>
                </c:pt>
                <c:pt idx="293">
                  <c:v>Vesselle</c:v>
                </c:pt>
                <c:pt idx="294">
                  <c:v>Besserat De</c:v>
                </c:pt>
                <c:pt idx="295">
                  <c:v>Pommery</c:v>
                </c:pt>
                <c:pt idx="296">
                  <c:v>All Others</c:v>
                </c:pt>
                <c:pt idx="297">
                  <c:v>Vranken</c:v>
                </c:pt>
                <c:pt idx="298">
                  <c:v>Vesselle</c:v>
                </c:pt>
                <c:pt idx="299">
                  <c:v>All Others</c:v>
                </c:pt>
                <c:pt idx="300">
                  <c:v>All Others</c:v>
                </c:pt>
              </c:strCache>
            </c:strRef>
          </c:cat>
          <c:val>
            <c:numRef>
              <c:f>Sheet1!$C$2:$C$302</c:f>
              <c:numCache>
                <c:formatCode>General</c:formatCode>
                <c:ptCount val="301"/>
                <c:pt idx="0">
                  <c:v>0.11271230455277632</c:v>
                </c:pt>
                <c:pt idx="1">
                  <c:v>0.18633342150913859</c:v>
                </c:pt>
                <c:pt idx="2">
                  <c:v>0.25718184187767212</c:v>
                </c:pt>
                <c:pt idx="3">
                  <c:v>0.31264623079416703</c:v>
                </c:pt>
                <c:pt idx="4">
                  <c:v>0.34927301436929958</c:v>
                </c:pt>
                <c:pt idx="5">
                  <c:v>0.37548175554800739</c:v>
                </c:pt>
                <c:pt idx="6">
                  <c:v>0.39887248577923068</c:v>
                </c:pt>
                <c:pt idx="7">
                  <c:v>0.4201477712887442</c:v>
                </c:pt>
                <c:pt idx="8">
                  <c:v>0.44103381806788083</c:v>
                </c:pt>
                <c:pt idx="9">
                  <c:v>0.46148143873479203</c:v>
                </c:pt>
                <c:pt idx="10">
                  <c:v>0.47846580295689745</c:v>
                </c:pt>
                <c:pt idx="11">
                  <c:v>0.49506480147081883</c:v>
                </c:pt>
                <c:pt idx="12">
                  <c:v>0.5111955516016301</c:v>
                </c:pt>
                <c:pt idx="13">
                  <c:v>0.52707378068547062</c:v>
                </c:pt>
                <c:pt idx="14">
                  <c:v>0.54246323436857913</c:v>
                </c:pt>
                <c:pt idx="15">
                  <c:v>0.55749288428997612</c:v>
                </c:pt>
                <c:pt idx="16">
                  <c:v>0.57205583503714019</c:v>
                </c:pt>
                <c:pt idx="17">
                  <c:v>0.58617571204544738</c:v>
                </c:pt>
                <c:pt idx="18">
                  <c:v>0.60028242077829908</c:v>
                </c:pt>
                <c:pt idx="19">
                  <c:v>0.61352389635327831</c:v>
                </c:pt>
                <c:pt idx="20">
                  <c:v>0.62596907856541695</c:v>
                </c:pt>
                <c:pt idx="21">
                  <c:v>0.63608153951082946</c:v>
                </c:pt>
                <c:pt idx="22">
                  <c:v>0.64592714922715766</c:v>
                </c:pt>
                <c:pt idx="23">
                  <c:v>0.65541450439065152</c:v>
                </c:pt>
                <c:pt idx="24">
                  <c:v>0.66469039254241824</c:v>
                </c:pt>
                <c:pt idx="25">
                  <c:v>0.67322266043316648</c:v>
                </c:pt>
                <c:pt idx="26">
                  <c:v>0.68172316954193368</c:v>
                </c:pt>
                <c:pt idx="27">
                  <c:v>0.68992777975517061</c:v>
                </c:pt>
                <c:pt idx="28">
                  <c:v>0.69804911999126229</c:v>
                </c:pt>
                <c:pt idx="29">
                  <c:v>0.70560732280052019</c:v>
                </c:pt>
                <c:pt idx="30">
                  <c:v>0.71273523284415752</c:v>
                </c:pt>
                <c:pt idx="31">
                  <c:v>0.71974424110647572</c:v>
                </c:pt>
                <c:pt idx="32">
                  <c:v>0.72639770593149455</c:v>
                </c:pt>
                <c:pt idx="33">
                  <c:v>0.73288037047781063</c:v>
                </c:pt>
                <c:pt idx="34">
                  <c:v>0.73933205084658427</c:v>
                </c:pt>
                <c:pt idx="35">
                  <c:v>0.7457508105267191</c:v>
                </c:pt>
                <c:pt idx="36">
                  <c:v>0.75191395074212886</c:v>
                </c:pt>
                <c:pt idx="37">
                  <c:v>0.75802054483352366</c:v>
                </c:pt>
                <c:pt idx="38">
                  <c:v>0.76403651020560681</c:v>
                </c:pt>
                <c:pt idx="39">
                  <c:v>0.76948778894197911</c:v>
                </c:pt>
                <c:pt idx="40">
                  <c:v>0.77484379133240844</c:v>
                </c:pt>
                <c:pt idx="41">
                  <c:v>0.779602186398488</c:v>
                </c:pt>
                <c:pt idx="42">
                  <c:v>0.78416073351941884</c:v>
                </c:pt>
                <c:pt idx="43">
                  <c:v>0.78857559151699663</c:v>
                </c:pt>
                <c:pt idx="44">
                  <c:v>0.79292693195061248</c:v>
                </c:pt>
                <c:pt idx="45">
                  <c:v>0.79707881174129891</c:v>
                </c:pt>
                <c:pt idx="46">
                  <c:v>0.80111759928395543</c:v>
                </c:pt>
                <c:pt idx="47">
                  <c:v>0.805046005694117</c:v>
                </c:pt>
                <c:pt idx="48">
                  <c:v>0.80881058326552291</c:v>
                </c:pt>
                <c:pt idx="49">
                  <c:v>0.81247756067767019</c:v>
                </c:pt>
                <c:pt idx="50">
                  <c:v>0.81611858884112565</c:v>
                </c:pt>
                <c:pt idx="51">
                  <c:v>0.81973676617364355</c:v>
                </c:pt>
                <c:pt idx="52">
                  <c:v>0.82324649888476298</c:v>
                </c:pt>
                <c:pt idx="53">
                  <c:v>0.82672292360502431</c:v>
                </c:pt>
                <c:pt idx="54">
                  <c:v>0.83014473871236705</c:v>
                </c:pt>
                <c:pt idx="55">
                  <c:v>0.83352666169112388</c:v>
                </c:pt>
                <c:pt idx="56">
                  <c:v>0.83689851481217947</c:v>
                </c:pt>
                <c:pt idx="57">
                  <c:v>0.84023705994237696</c:v>
                </c:pt>
                <c:pt idx="58">
                  <c:v>0.84353687485064632</c:v>
                </c:pt>
                <c:pt idx="59">
                  <c:v>0.84683204213228436</c:v>
                </c:pt>
                <c:pt idx="60">
                  <c:v>0.85006330454774115</c:v>
                </c:pt>
                <c:pt idx="61">
                  <c:v>0.85317101755524749</c:v>
                </c:pt>
                <c:pt idx="62">
                  <c:v>0.85613078111498864</c:v>
                </c:pt>
                <c:pt idx="63">
                  <c:v>0.85902857631964491</c:v>
                </c:pt>
                <c:pt idx="64">
                  <c:v>0.86187679684023333</c:v>
                </c:pt>
                <c:pt idx="65">
                  <c:v>0.8646006933484327</c:v>
                </c:pt>
                <c:pt idx="66">
                  <c:v>0.8671963928220503</c:v>
                </c:pt>
                <c:pt idx="67">
                  <c:v>0.86978938118013294</c:v>
                </c:pt>
                <c:pt idx="68">
                  <c:v>0.87237191237829492</c:v>
                </c:pt>
                <c:pt idx="69">
                  <c:v>0.87491958637672174</c:v>
                </c:pt>
                <c:pt idx="70">
                  <c:v>0.87743743810426389</c:v>
                </c:pt>
                <c:pt idx="71">
                  <c:v>0.87990571514773819</c:v>
                </c:pt>
                <c:pt idx="72">
                  <c:v>0.88217530615272155</c:v>
                </c:pt>
                <c:pt idx="73">
                  <c:v>0.88435775415836682</c:v>
                </c:pt>
                <c:pt idx="74">
                  <c:v>0.88653090691074943</c:v>
                </c:pt>
                <c:pt idx="75">
                  <c:v>0.88868353264551014</c:v>
                </c:pt>
                <c:pt idx="76">
                  <c:v>0.89082144089593818</c:v>
                </c:pt>
                <c:pt idx="77">
                  <c:v>0.89295586342639277</c:v>
                </c:pt>
                <c:pt idx="78">
                  <c:v>0.89506394940593625</c:v>
                </c:pt>
                <c:pt idx="79">
                  <c:v>0.89714840995010359</c:v>
                </c:pt>
                <c:pt idx="80">
                  <c:v>0.89921195617442984</c:v>
                </c:pt>
                <c:pt idx="81">
                  <c:v>0.90120230227931208</c:v>
                </c:pt>
                <c:pt idx="82">
                  <c:v>0.90314888323341558</c:v>
                </c:pt>
                <c:pt idx="83">
                  <c:v>0.90500561007264602</c:v>
                </c:pt>
                <c:pt idx="84">
                  <c:v>0.90684684482310529</c:v>
                </c:pt>
                <c:pt idx="85">
                  <c:v>0.90866290492931134</c:v>
                </c:pt>
                <c:pt idx="86">
                  <c:v>0.91036354897417182</c:v>
                </c:pt>
                <c:pt idx="87">
                  <c:v>0.91203011042373561</c:v>
                </c:pt>
                <c:pt idx="88">
                  <c:v>0.9136223098471975</c:v>
                </c:pt>
                <c:pt idx="89">
                  <c:v>0.91513975994233832</c:v>
                </c:pt>
                <c:pt idx="90">
                  <c:v>0.91664481636646211</c:v>
                </c:pt>
                <c:pt idx="91">
                  <c:v>0.91814793627948954</c:v>
                </c:pt>
                <c:pt idx="92">
                  <c:v>0.9196421482414735</c:v>
                </c:pt>
                <c:pt idx="93">
                  <c:v>0.92111273476808131</c:v>
                </c:pt>
                <c:pt idx="94">
                  <c:v>0.92256047046375167</c:v>
                </c:pt>
                <c:pt idx="95">
                  <c:v>0.92398690453736154</c:v>
                </c:pt>
                <c:pt idx="96">
                  <c:v>0.92532813212272969</c:v>
                </c:pt>
                <c:pt idx="97">
                  <c:v>0.92665774064151951</c:v>
                </c:pt>
                <c:pt idx="98">
                  <c:v>0.92798347613811649</c:v>
                </c:pt>
                <c:pt idx="99">
                  <c:v>0.92929952907923141</c:v>
                </c:pt>
                <c:pt idx="100">
                  <c:v>0.9306039629537679</c:v>
                </c:pt>
                <c:pt idx="101">
                  <c:v>0.931874701535227</c:v>
                </c:pt>
                <c:pt idx="102">
                  <c:v>0.93313846867673911</c:v>
                </c:pt>
                <c:pt idx="103">
                  <c:v>0.93439836279605837</c:v>
                </c:pt>
                <c:pt idx="104">
                  <c:v>0.93565748231093915</c:v>
                </c:pt>
                <c:pt idx="105">
                  <c:v>0.93691350340806567</c:v>
                </c:pt>
                <c:pt idx="106">
                  <c:v>0.93814280065206179</c:v>
                </c:pt>
                <c:pt idx="107">
                  <c:v>0.93934808515846258</c:v>
                </c:pt>
                <c:pt idx="108">
                  <c:v>0.94053284264724146</c:v>
                </c:pt>
                <c:pt idx="109">
                  <c:v>0.94169862232727564</c:v>
                </c:pt>
                <c:pt idx="110">
                  <c:v>0.94284000196749507</c:v>
                </c:pt>
                <c:pt idx="111">
                  <c:v>0.94395853077677705</c:v>
                </c:pt>
                <c:pt idx="112">
                  <c:v>0.94504220238632375</c:v>
                </c:pt>
                <c:pt idx="113">
                  <c:v>0.94611309302263413</c:v>
                </c:pt>
                <c:pt idx="114">
                  <c:v>0.94713750739263092</c:v>
                </c:pt>
                <c:pt idx="115">
                  <c:v>0.94814836618495291</c:v>
                </c:pt>
                <c:pt idx="116">
                  <c:v>0.94915147893288931</c:v>
                </c:pt>
                <c:pt idx="117">
                  <c:v>0.95012322020106399</c:v>
                </c:pt>
                <c:pt idx="118">
                  <c:v>0.95109418686480007</c:v>
                </c:pt>
                <c:pt idx="119">
                  <c:v>0.9520554709730541</c:v>
                </c:pt>
                <c:pt idx="120">
                  <c:v>0.95300048838809837</c:v>
                </c:pt>
                <c:pt idx="121">
                  <c:v>0.9539145216256002</c:v>
                </c:pt>
                <c:pt idx="122">
                  <c:v>0.9548246818409093</c:v>
                </c:pt>
                <c:pt idx="123">
                  <c:v>0.95573213094068343</c:v>
                </c:pt>
                <c:pt idx="124">
                  <c:v>0.95659194186748597</c:v>
                </c:pt>
                <c:pt idx="125">
                  <c:v>0.95744594326099941</c:v>
                </c:pt>
                <c:pt idx="126">
                  <c:v>0.95828329065908369</c:v>
                </c:pt>
                <c:pt idx="127">
                  <c:v>0.95910359675951973</c:v>
                </c:pt>
                <c:pt idx="128">
                  <c:v>0.95988439803358916</c:v>
                </c:pt>
                <c:pt idx="129">
                  <c:v>0.96065629135661512</c:v>
                </c:pt>
                <c:pt idx="130">
                  <c:v>0.96141772751972043</c:v>
                </c:pt>
                <c:pt idx="131">
                  <c:v>0.9621760652650716</c:v>
                </c:pt>
                <c:pt idx="132">
                  <c:v>0.96291116487726591</c:v>
                </c:pt>
                <c:pt idx="133">
                  <c:v>0.96363232160956613</c:v>
                </c:pt>
                <c:pt idx="134">
                  <c:v>0.9643430211819457</c:v>
                </c:pt>
                <c:pt idx="135">
                  <c:v>0.96504791122103617</c:v>
                </c:pt>
                <c:pt idx="136">
                  <c:v>0.96574350600686387</c:v>
                </c:pt>
                <c:pt idx="137">
                  <c:v>0.96643832618825298</c:v>
                </c:pt>
                <c:pt idx="138">
                  <c:v>0.96712888604523006</c:v>
                </c:pt>
                <c:pt idx="139">
                  <c:v>0.96781441097335641</c:v>
                </c:pt>
                <c:pt idx="140">
                  <c:v>0.9684840565104923</c:v>
                </c:pt>
                <c:pt idx="141">
                  <c:v>0.96915060362987393</c:v>
                </c:pt>
                <c:pt idx="142">
                  <c:v>0.96980901740265069</c:v>
                </c:pt>
                <c:pt idx="143">
                  <c:v>0.97045813592216468</c:v>
                </c:pt>
                <c:pt idx="144">
                  <c:v>0.97110686713945937</c:v>
                </c:pt>
                <c:pt idx="145">
                  <c:v>0.97173700785022865</c:v>
                </c:pt>
                <c:pt idx="146">
                  <c:v>0.97235746600551598</c:v>
                </c:pt>
                <c:pt idx="147">
                  <c:v>0.97296940351197914</c:v>
                </c:pt>
                <c:pt idx="148">
                  <c:v>0.97356972195186386</c:v>
                </c:pt>
                <c:pt idx="149">
                  <c:v>0.97415842132517017</c:v>
                </c:pt>
                <c:pt idx="150">
                  <c:v>0.97474712069847647</c:v>
                </c:pt>
                <c:pt idx="151">
                  <c:v>0.97533427086290558</c:v>
                </c:pt>
                <c:pt idx="152">
                  <c:v>0.97589198605866945</c:v>
                </c:pt>
                <c:pt idx="153">
                  <c:v>0.97644079330338984</c:v>
                </c:pt>
                <c:pt idx="154">
                  <c:v>0.9769791433881897</c:v>
                </c:pt>
                <c:pt idx="155">
                  <c:v>0.97751594426411237</c:v>
                </c:pt>
                <c:pt idx="156">
                  <c:v>0.97803221812241325</c:v>
                </c:pt>
                <c:pt idx="157">
                  <c:v>0.97853454910081994</c:v>
                </c:pt>
                <c:pt idx="158">
                  <c:v>0.97903533087034955</c:v>
                </c:pt>
                <c:pt idx="159">
                  <c:v>0.97950319195124036</c:v>
                </c:pt>
                <c:pt idx="160">
                  <c:v>0.97996485619662266</c:v>
                </c:pt>
                <c:pt idx="161">
                  <c:v>0.98041916169983867</c:v>
                </c:pt>
                <c:pt idx="162">
                  <c:v>0.9808382227011001</c:v>
                </c:pt>
                <c:pt idx="163">
                  <c:v>0.98125457258682658</c:v>
                </c:pt>
                <c:pt idx="164">
                  <c:v>0.98166511293926384</c:v>
                </c:pt>
                <c:pt idx="165">
                  <c:v>0.98205783738961416</c:v>
                </c:pt>
                <c:pt idx="166">
                  <c:v>0.98244823802664882</c:v>
                </c:pt>
                <c:pt idx="167">
                  <c:v>0.9828308926192979</c:v>
                </c:pt>
                <c:pt idx="168">
                  <c:v>0.98321199800306991</c:v>
                </c:pt>
                <c:pt idx="169">
                  <c:v>0.98359000496908766</c:v>
                </c:pt>
                <c:pt idx="170">
                  <c:v>0.98395755477518476</c:v>
                </c:pt>
                <c:pt idx="171">
                  <c:v>0.98431890774577346</c:v>
                </c:pt>
                <c:pt idx="172">
                  <c:v>0.98467522578751143</c:v>
                </c:pt>
                <c:pt idx="173">
                  <c:v>0.98501566443825894</c:v>
                </c:pt>
                <c:pt idx="174">
                  <c:v>0.98535184276459442</c:v>
                </c:pt>
                <c:pt idx="175">
                  <c:v>0.98567872583766714</c:v>
                </c:pt>
                <c:pt idx="176">
                  <c:v>0.98600328509742419</c:v>
                </c:pt>
                <c:pt idx="177">
                  <c:v>0.98632203482389202</c:v>
                </c:pt>
                <c:pt idx="178">
                  <c:v>0.98662296864827292</c:v>
                </c:pt>
                <c:pt idx="179">
                  <c:v>0.98691848024158391</c:v>
                </c:pt>
                <c:pt idx="180">
                  <c:v>0.98721128071935993</c:v>
                </c:pt>
                <c:pt idx="181">
                  <c:v>0.98750291929047807</c:v>
                </c:pt>
                <c:pt idx="182">
                  <c:v>0.98778371339945636</c:v>
                </c:pt>
                <c:pt idx="183">
                  <c:v>0.98805869797514545</c:v>
                </c:pt>
                <c:pt idx="184">
                  <c:v>0.98833174603973817</c:v>
                </c:pt>
                <c:pt idx="185">
                  <c:v>0.98859937187326097</c:v>
                </c:pt>
                <c:pt idx="186">
                  <c:v>0.98886196277793315</c:v>
                </c:pt>
                <c:pt idx="187">
                  <c:v>0.98911448382490397</c:v>
                </c:pt>
                <c:pt idx="188">
                  <c:v>0.98936700487187479</c:v>
                </c:pt>
                <c:pt idx="189">
                  <c:v>0.98961797670996854</c:v>
                </c:pt>
                <c:pt idx="190">
                  <c:v>0.9898677866414044</c:v>
                </c:pt>
                <c:pt idx="191">
                  <c:v>0.99011682196840178</c:v>
                </c:pt>
                <c:pt idx="192">
                  <c:v>0.99036082236654843</c:v>
                </c:pt>
                <c:pt idx="193">
                  <c:v>0.9906036608580373</c:v>
                </c:pt>
                <c:pt idx="194">
                  <c:v>0.99084378823399122</c:v>
                </c:pt>
                <c:pt idx="195">
                  <c:v>0.99108391560994513</c:v>
                </c:pt>
                <c:pt idx="196">
                  <c:v>0.99132326838146045</c:v>
                </c:pt>
                <c:pt idx="197">
                  <c:v>0.99156145924631789</c:v>
                </c:pt>
                <c:pt idx="198">
                  <c:v>0.99179771360007896</c:v>
                </c:pt>
                <c:pt idx="199">
                  <c:v>0.99203280604718214</c:v>
                </c:pt>
                <c:pt idx="200">
                  <c:v>0.99224582226778635</c:v>
                </c:pt>
                <c:pt idx="201">
                  <c:v>0.99245380355953994</c:v>
                </c:pt>
                <c:pt idx="202">
                  <c:v>0.99265791182910068</c:v>
                </c:pt>
                <c:pt idx="203">
                  <c:v>0.99286124549422294</c:v>
                </c:pt>
                <c:pt idx="204">
                  <c:v>0.99306225534602954</c:v>
                </c:pt>
                <c:pt idx="205">
                  <c:v>0.993259004873424</c:v>
                </c:pt>
                <c:pt idx="206">
                  <c:v>0.99345536709859916</c:v>
                </c:pt>
                <c:pt idx="207">
                  <c:v>0.99364901820823937</c:v>
                </c:pt>
                <c:pt idx="208">
                  <c:v>0.99382795183354689</c:v>
                </c:pt>
                <c:pt idx="209">
                  <c:v>0.99398868225454828</c:v>
                </c:pt>
                <c:pt idx="210">
                  <c:v>0.99414902537333039</c:v>
                </c:pt>
                <c:pt idx="211">
                  <c:v>0.99430007323884972</c:v>
                </c:pt>
                <c:pt idx="212">
                  <c:v>0.99445112110436906</c:v>
                </c:pt>
                <c:pt idx="213">
                  <c:v>0.9946017816676691</c:v>
                </c:pt>
                <c:pt idx="214">
                  <c:v>0.99475128032431137</c:v>
                </c:pt>
                <c:pt idx="215">
                  <c:v>0.99489458214544513</c:v>
                </c:pt>
                <c:pt idx="216">
                  <c:v>0.99503710936214029</c:v>
                </c:pt>
                <c:pt idx="217">
                  <c:v>0.99517808736995839</c:v>
                </c:pt>
                <c:pt idx="218">
                  <c:v>0.99531596696002222</c:v>
                </c:pt>
                <c:pt idx="219">
                  <c:v>0.99545307194564747</c:v>
                </c:pt>
                <c:pt idx="220">
                  <c:v>0.99559017693127272</c:v>
                </c:pt>
                <c:pt idx="221">
                  <c:v>0.99572263429026664</c:v>
                </c:pt>
                <c:pt idx="222">
                  <c:v>0.99585470434704126</c:v>
                </c:pt>
                <c:pt idx="223">
                  <c:v>0.99598483789271952</c:v>
                </c:pt>
                <c:pt idx="224">
                  <c:v>0.99610993650954716</c:v>
                </c:pt>
                <c:pt idx="225">
                  <c:v>0.99623232401083983</c:v>
                </c:pt>
                <c:pt idx="226">
                  <c:v>0.99635432420991321</c:v>
                </c:pt>
                <c:pt idx="227">
                  <c:v>0.99647400059567082</c:v>
                </c:pt>
                <c:pt idx="228">
                  <c:v>0.99659251507477065</c:v>
                </c:pt>
                <c:pt idx="229">
                  <c:v>0.99670870574055481</c:v>
                </c:pt>
                <c:pt idx="230">
                  <c:v>0.99682373449968109</c:v>
                </c:pt>
                <c:pt idx="231">
                  <c:v>0.99693798865436878</c:v>
                </c:pt>
                <c:pt idx="232">
                  <c:v>0.99704488406689018</c:v>
                </c:pt>
                <c:pt idx="233">
                  <c:v>0.99714945566609592</c:v>
                </c:pt>
                <c:pt idx="234">
                  <c:v>0.99724473201203889</c:v>
                </c:pt>
                <c:pt idx="235">
                  <c:v>0.99733574803356984</c:v>
                </c:pt>
                <c:pt idx="236">
                  <c:v>0.9974248275440043</c:v>
                </c:pt>
                <c:pt idx="237">
                  <c:v>0.99750887212558814</c:v>
                </c:pt>
                <c:pt idx="238">
                  <c:v>0.99759252940495269</c:v>
                </c:pt>
                <c:pt idx="239">
                  <c:v>0.99767618668431723</c:v>
                </c:pt>
                <c:pt idx="240">
                  <c:v>0.99775519633705045</c:v>
                </c:pt>
                <c:pt idx="241">
                  <c:v>0.99783381868756438</c:v>
                </c:pt>
                <c:pt idx="242">
                  <c:v>0.99791166643363971</c:v>
                </c:pt>
                <c:pt idx="243">
                  <c:v>0.99798951417971504</c:v>
                </c:pt>
                <c:pt idx="244">
                  <c:v>0.99806310160137834</c:v>
                </c:pt>
                <c:pt idx="245">
                  <c:v>0.99813668902304165</c:v>
                </c:pt>
                <c:pt idx="246">
                  <c:v>0.99820407960919644</c:v>
                </c:pt>
                <c:pt idx="247">
                  <c:v>0.99827069559091264</c:v>
                </c:pt>
                <c:pt idx="248">
                  <c:v>0.99833653696819036</c:v>
                </c:pt>
                <c:pt idx="249">
                  <c:v>0.99840160374102949</c:v>
                </c:pt>
                <c:pt idx="250">
                  <c:v>0.99846628321164932</c:v>
                </c:pt>
                <c:pt idx="251">
                  <c:v>0.99853057538004986</c:v>
                </c:pt>
                <c:pt idx="252">
                  <c:v>0.99859176913069614</c:v>
                </c:pt>
                <c:pt idx="253">
                  <c:v>0.99865063906802676</c:v>
                </c:pt>
                <c:pt idx="254">
                  <c:v>0.99870950900535738</c:v>
                </c:pt>
                <c:pt idx="255">
                  <c:v>0.9987679916404687</c:v>
                </c:pt>
                <c:pt idx="256">
                  <c:v>0.99882221395116799</c:v>
                </c:pt>
                <c:pt idx="257">
                  <c:v>0.99887449975077081</c:v>
                </c:pt>
                <c:pt idx="258">
                  <c:v>0.99892523634149655</c:v>
                </c:pt>
                <c:pt idx="259">
                  <c:v>0.99897558563000299</c:v>
                </c:pt>
                <c:pt idx="260">
                  <c:v>0.99902593491850944</c:v>
                </c:pt>
                <c:pt idx="261">
                  <c:v>0.99907473499813881</c:v>
                </c:pt>
                <c:pt idx="262">
                  <c:v>0.999121985868891</c:v>
                </c:pt>
                <c:pt idx="263">
                  <c:v>0.99916691292632753</c:v>
                </c:pt>
                <c:pt idx="264">
                  <c:v>0.9992095161704484</c:v>
                </c:pt>
                <c:pt idx="265">
                  <c:v>0.99925173211234997</c:v>
                </c:pt>
                <c:pt idx="266">
                  <c:v>0.99929394805425154</c:v>
                </c:pt>
                <c:pt idx="267">
                  <c:v>0.99933461478727603</c:v>
                </c:pt>
                <c:pt idx="268">
                  <c:v>0.99937334500920405</c:v>
                </c:pt>
                <c:pt idx="269">
                  <c:v>0.99941091332447429</c:v>
                </c:pt>
                <c:pt idx="270">
                  <c:v>0.99944770703530594</c:v>
                </c:pt>
                <c:pt idx="271">
                  <c:v>0.99948450074613759</c:v>
                </c:pt>
                <c:pt idx="272">
                  <c:v>0.99951897064365358</c:v>
                </c:pt>
                <c:pt idx="273">
                  <c:v>0.99955072942563461</c:v>
                </c:pt>
                <c:pt idx="274">
                  <c:v>0.9995782278832035</c:v>
                </c:pt>
                <c:pt idx="275">
                  <c:v>0.99960533903855309</c:v>
                </c:pt>
                <c:pt idx="276">
                  <c:v>0.9996312882872449</c:v>
                </c:pt>
                <c:pt idx="277">
                  <c:v>0.99965685023371742</c:v>
                </c:pt>
                <c:pt idx="278">
                  <c:v>0.99968163757575135</c:v>
                </c:pt>
                <c:pt idx="279">
                  <c:v>0.99970410110446961</c:v>
                </c:pt>
                <c:pt idx="280">
                  <c:v>0.99972617733096858</c:v>
                </c:pt>
                <c:pt idx="281">
                  <c:v>0.99974786625524825</c:v>
                </c:pt>
                <c:pt idx="282">
                  <c:v>0.99976723136621226</c:v>
                </c:pt>
                <c:pt idx="283">
                  <c:v>0.9997850472682992</c:v>
                </c:pt>
                <c:pt idx="284">
                  <c:v>0.99980286317038614</c:v>
                </c:pt>
                <c:pt idx="285">
                  <c:v>0.99982067907247307</c:v>
                </c:pt>
                <c:pt idx="286">
                  <c:v>0.99983772037012142</c:v>
                </c:pt>
                <c:pt idx="287">
                  <c:v>0.99985476166776976</c:v>
                </c:pt>
                <c:pt idx="288">
                  <c:v>0.99986947915210245</c:v>
                </c:pt>
                <c:pt idx="289">
                  <c:v>0.99988419663643513</c:v>
                </c:pt>
                <c:pt idx="290">
                  <c:v>0.99989852681854852</c:v>
                </c:pt>
                <c:pt idx="291">
                  <c:v>0.9999128570006619</c:v>
                </c:pt>
                <c:pt idx="292">
                  <c:v>0.9999264125783367</c:v>
                </c:pt>
                <c:pt idx="293">
                  <c:v>0.99993841894713442</c:v>
                </c:pt>
                <c:pt idx="294">
                  <c:v>0.99995003801371285</c:v>
                </c:pt>
                <c:pt idx="295">
                  <c:v>0.99996165708029128</c:v>
                </c:pt>
                <c:pt idx="296">
                  <c:v>0.99997133963577334</c:v>
                </c:pt>
                <c:pt idx="297">
                  <c:v>0.9999806348890361</c:v>
                </c:pt>
                <c:pt idx="298">
                  <c:v>0.99998954284007957</c:v>
                </c:pt>
                <c:pt idx="299">
                  <c:v>0.99999767618668445</c:v>
                </c:pt>
                <c:pt idx="300">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1</c:f>
              <c:strCache>
                <c:ptCount val="260"/>
                <c:pt idx="0">
                  <c:v>Ruinart</c:v>
                </c:pt>
                <c:pt idx="1">
                  <c:v>Nicolas</c:v>
                </c:pt>
                <c:pt idx="2">
                  <c:v>Deutz</c:v>
                </c:pt>
                <c:pt idx="3">
                  <c:v>Ruinart</c:v>
                </c:pt>
                <c:pt idx="4">
                  <c:v>Heidsieck &amp;</c:v>
                </c:pt>
                <c:pt idx="5">
                  <c:v>De Bligny</c:v>
                </c:pt>
                <c:pt idx="6">
                  <c:v>Laurent Per</c:v>
                </c:pt>
                <c:pt idx="7">
                  <c:v>Malard</c:v>
                </c:pt>
                <c:pt idx="8">
                  <c:v>Ayala</c:v>
                </c:pt>
                <c:pt idx="9">
                  <c:v>Canard Duch</c:v>
                </c:pt>
                <c:pt idx="10">
                  <c:v>Nicolas Feu</c:v>
                </c:pt>
                <c:pt idx="11">
                  <c:v>Bollinger</c:v>
                </c:pt>
                <c:pt idx="12">
                  <c:v>Taittinger</c:v>
                </c:pt>
                <c:pt idx="13">
                  <c:v>Ruinart</c:v>
                </c:pt>
                <c:pt idx="14">
                  <c:v>Ruinart</c:v>
                </c:pt>
                <c:pt idx="15">
                  <c:v>Ruinart</c:v>
                </c:pt>
                <c:pt idx="16">
                  <c:v>Besserat De</c:v>
                </c:pt>
                <c:pt idx="17">
                  <c:v>Ruinart</c:v>
                </c:pt>
                <c:pt idx="18">
                  <c:v>Demoiselle</c:v>
                </c:pt>
                <c:pt idx="19">
                  <c:v>Deutz</c:v>
                </c:pt>
                <c:pt idx="20">
                  <c:v>Malard</c:v>
                </c:pt>
                <c:pt idx="21">
                  <c:v>Bottega</c:v>
                </c:pt>
                <c:pt idx="22">
                  <c:v>Laurent Per</c:v>
                </c:pt>
                <c:pt idx="23">
                  <c:v>Pommery</c:v>
                </c:pt>
                <c:pt idx="24">
                  <c:v>All Others</c:v>
                </c:pt>
                <c:pt idx="25">
                  <c:v>Savian</c:v>
                </c:pt>
                <c:pt idx="26">
                  <c:v>All Others</c:v>
                </c:pt>
                <c:pt idx="27">
                  <c:v>Deutz</c:v>
                </c:pt>
                <c:pt idx="28">
                  <c:v>Roederer</c:v>
                </c:pt>
                <c:pt idx="29">
                  <c:v>Laurent Per</c:v>
                </c:pt>
                <c:pt idx="30">
                  <c:v>Mure</c:v>
                </c:pt>
                <c:pt idx="31">
                  <c:v>Besserat De</c:v>
                </c:pt>
                <c:pt idx="32">
                  <c:v>Ruinart</c:v>
                </c:pt>
                <c:pt idx="33">
                  <c:v>Bouvet-Ladu</c:v>
                </c:pt>
                <c:pt idx="34">
                  <c:v>Campari: Al</c:v>
                </c:pt>
                <c:pt idx="35">
                  <c:v>Dom Perigno</c:v>
                </c:pt>
                <c:pt idx="36">
                  <c:v>Perrier Jou</c:v>
                </c:pt>
                <c:pt idx="37">
                  <c:v>Vesselle</c:v>
                </c:pt>
                <c:pt idx="38">
                  <c:v>Taittinger</c:v>
                </c:pt>
                <c:pt idx="39">
                  <c:v>All Others</c:v>
                </c:pt>
                <c:pt idx="40">
                  <c:v>Demoiselle</c:v>
                </c:pt>
                <c:pt idx="41">
                  <c:v>Veuve Clicq</c:v>
                </c:pt>
                <c:pt idx="42">
                  <c:v>Veuve Clicq</c:v>
                </c:pt>
                <c:pt idx="43">
                  <c:v>Nicolas</c:v>
                </c:pt>
                <c:pt idx="44">
                  <c:v>Henriot</c:v>
                </c:pt>
                <c:pt idx="45">
                  <c:v>Veuve Clicq</c:v>
                </c:pt>
                <c:pt idx="46">
                  <c:v>Dom Perigno</c:v>
                </c:pt>
                <c:pt idx="47">
                  <c:v>Laurent Per</c:v>
                </c:pt>
                <c:pt idx="48">
                  <c:v>Patriarche</c:v>
                </c:pt>
                <c:pt idx="49">
                  <c:v>Moët &amp; Chan</c:v>
                </c:pt>
                <c:pt idx="50">
                  <c:v>Roederer</c:v>
                </c:pt>
                <c:pt idx="51">
                  <c:v>Ruinart</c:v>
                </c:pt>
                <c:pt idx="52">
                  <c:v>Moët &amp; Chan</c:v>
                </c:pt>
                <c:pt idx="53">
                  <c:v>Nicolas</c:v>
                </c:pt>
                <c:pt idx="54">
                  <c:v>All Others</c:v>
                </c:pt>
                <c:pt idx="55">
                  <c:v>Nicolas Feu</c:v>
                </c:pt>
                <c:pt idx="56">
                  <c:v>Malard</c:v>
                </c:pt>
                <c:pt idx="57">
                  <c:v>All Others</c:v>
                </c:pt>
                <c:pt idx="58">
                  <c:v>Deutz</c:v>
                </c:pt>
                <c:pt idx="59">
                  <c:v>De Venoge</c:v>
                </c:pt>
                <c:pt idx="60">
                  <c:v>Canard Duch</c:v>
                </c:pt>
                <c:pt idx="61">
                  <c:v>Nicolas</c:v>
                </c:pt>
                <c:pt idx="62">
                  <c:v>Lyre's</c:v>
                </c:pt>
                <c:pt idx="63">
                  <c:v>Roederer</c:v>
                </c:pt>
                <c:pt idx="64">
                  <c:v>Bollinger</c:v>
                </c:pt>
                <c:pt idx="65">
                  <c:v>De Chanceny</c:v>
                </c:pt>
                <c:pt idx="66">
                  <c:v>Ruinart</c:v>
                </c:pt>
                <c:pt idx="67">
                  <c:v>Malard</c:v>
                </c:pt>
                <c:pt idx="68">
                  <c:v>Malard</c:v>
                </c:pt>
                <c:pt idx="69">
                  <c:v>Roederer</c:v>
                </c:pt>
                <c:pt idx="70">
                  <c:v>Nicolas Feu</c:v>
                </c:pt>
                <c:pt idx="71">
                  <c:v>Lanson</c:v>
                </c:pt>
                <c:pt idx="72">
                  <c:v>Savian</c:v>
                </c:pt>
                <c:pt idx="73">
                  <c:v>Nicolas Feu</c:v>
                </c:pt>
                <c:pt idx="74">
                  <c:v>De Venoge</c:v>
                </c:pt>
                <c:pt idx="75">
                  <c:v>Besserat De</c:v>
                </c:pt>
                <c:pt idx="76">
                  <c:v>Piper Heids</c:v>
                </c:pt>
                <c:pt idx="77">
                  <c:v>Chateau Mon</c:v>
                </c:pt>
                <c:pt idx="78">
                  <c:v>Delamotte</c:v>
                </c:pt>
                <c:pt idx="79">
                  <c:v>De Bligny</c:v>
                </c:pt>
                <c:pt idx="80">
                  <c:v>Henriot</c:v>
                </c:pt>
                <c:pt idx="81">
                  <c:v>Louis Marti</c:v>
                </c:pt>
                <c:pt idx="82">
                  <c:v>Canard Duch</c:v>
                </c:pt>
                <c:pt idx="83">
                  <c:v>Campari: Al</c:v>
                </c:pt>
                <c:pt idx="84">
                  <c:v>All Others</c:v>
                </c:pt>
                <c:pt idx="85">
                  <c:v>Ayala</c:v>
                </c:pt>
                <c:pt idx="86">
                  <c:v>Ruinart</c:v>
                </c:pt>
                <c:pt idx="87">
                  <c:v>Ruinart</c:v>
                </c:pt>
                <c:pt idx="88">
                  <c:v>Moët &amp; Chan</c:v>
                </c:pt>
                <c:pt idx="89">
                  <c:v>Kriter</c:v>
                </c:pt>
                <c:pt idx="90">
                  <c:v>Roederer</c:v>
                </c:pt>
                <c:pt idx="91">
                  <c:v>Nicolas</c:v>
                </c:pt>
                <c:pt idx="92">
                  <c:v>Pommery</c:v>
                </c:pt>
                <c:pt idx="93">
                  <c:v>Roederer</c:v>
                </c:pt>
                <c:pt idx="94">
                  <c:v>De Chanceny</c:v>
                </c:pt>
                <c:pt idx="95">
                  <c:v>Canard Duch</c:v>
                </c:pt>
                <c:pt idx="96">
                  <c:v>Laurent Per</c:v>
                </c:pt>
                <c:pt idx="97">
                  <c:v>Krug</c:v>
                </c:pt>
                <c:pt idx="98">
                  <c:v>Ruinart</c:v>
                </c:pt>
                <c:pt idx="99">
                  <c:v>Deutz</c:v>
                </c:pt>
                <c:pt idx="100">
                  <c:v>Patriarche</c:v>
                </c:pt>
                <c:pt idx="101">
                  <c:v>All Others</c:v>
                </c:pt>
                <c:pt idx="102">
                  <c:v>Ruinart</c:v>
                </c:pt>
                <c:pt idx="103">
                  <c:v>Henriot</c:v>
                </c:pt>
                <c:pt idx="104">
                  <c:v>Vranken</c:v>
                </c:pt>
                <c:pt idx="105">
                  <c:v>Moët &amp; Chan</c:v>
                </c:pt>
                <c:pt idx="106">
                  <c:v>Nicolas</c:v>
                </c:pt>
                <c:pt idx="107">
                  <c:v>All Others</c:v>
                </c:pt>
                <c:pt idx="108">
                  <c:v>De Venoge</c:v>
                </c:pt>
                <c:pt idx="109">
                  <c:v>Dom Perigno</c:v>
                </c:pt>
                <c:pt idx="110">
                  <c:v>Henriot</c:v>
                </c:pt>
                <c:pt idx="111">
                  <c:v>All Others</c:v>
                </c:pt>
                <c:pt idx="112">
                  <c:v>All Others</c:v>
                </c:pt>
                <c:pt idx="113">
                  <c:v>Roederer</c:v>
                </c:pt>
                <c:pt idx="114">
                  <c:v>Bottega</c:v>
                </c:pt>
                <c:pt idx="115">
                  <c:v>Canard Duch</c:v>
                </c:pt>
                <c:pt idx="116">
                  <c:v>Ruinart</c:v>
                </c:pt>
                <c:pt idx="117">
                  <c:v>Nicolas</c:v>
                </c:pt>
                <c:pt idx="118">
                  <c:v>De Venoge</c:v>
                </c:pt>
                <c:pt idx="119">
                  <c:v>All Others</c:v>
                </c:pt>
                <c:pt idx="120">
                  <c:v>Deutz</c:v>
                </c:pt>
                <c:pt idx="121">
                  <c:v>Bollinger</c:v>
                </c:pt>
                <c:pt idx="122">
                  <c:v>Roederer</c:v>
                </c:pt>
                <c:pt idx="123">
                  <c:v>Malard</c:v>
                </c:pt>
                <c:pt idx="124">
                  <c:v>All Others</c:v>
                </c:pt>
                <c:pt idx="125">
                  <c:v>All Others</c:v>
                </c:pt>
                <c:pt idx="126">
                  <c:v>Ruinart</c:v>
                </c:pt>
                <c:pt idx="127">
                  <c:v>Nicolas</c:v>
                </c:pt>
                <c:pt idx="128">
                  <c:v>All Others</c:v>
                </c:pt>
                <c:pt idx="129">
                  <c:v>Deutz</c:v>
                </c:pt>
                <c:pt idx="130">
                  <c:v>Contarini</c:v>
                </c:pt>
                <c:pt idx="131">
                  <c:v>Roederer</c:v>
                </c:pt>
                <c:pt idx="132">
                  <c:v>Nicolas</c:v>
                </c:pt>
                <c:pt idx="133">
                  <c:v>All Others</c:v>
                </c:pt>
                <c:pt idx="134">
                  <c:v>Roederer</c:v>
                </c:pt>
                <c:pt idx="135">
                  <c:v>Pommery</c:v>
                </c:pt>
                <c:pt idx="136">
                  <c:v>Nicolas</c:v>
                </c:pt>
                <c:pt idx="137">
                  <c:v>Pommery</c:v>
                </c:pt>
                <c:pt idx="138">
                  <c:v>Deutz</c:v>
                </c:pt>
                <c:pt idx="139">
                  <c:v>All Others</c:v>
                </c:pt>
                <c:pt idx="140">
                  <c:v>All Others</c:v>
                </c:pt>
                <c:pt idx="141">
                  <c:v>Cru La Maqu</c:v>
                </c:pt>
                <c:pt idx="142">
                  <c:v>Roederer</c:v>
                </c:pt>
                <c:pt idx="143">
                  <c:v>Louis Marti</c:v>
                </c:pt>
                <c:pt idx="144">
                  <c:v>Bollinger</c:v>
                </c:pt>
                <c:pt idx="145">
                  <c:v>All Others</c:v>
                </c:pt>
                <c:pt idx="146">
                  <c:v>Roederer</c:v>
                </c:pt>
                <c:pt idx="147">
                  <c:v>All Others</c:v>
                </c:pt>
                <c:pt idx="148">
                  <c:v>Roederer</c:v>
                </c:pt>
                <c:pt idx="149">
                  <c:v>Besserat De</c:v>
                </c:pt>
                <c:pt idx="150">
                  <c:v>Laurent Per</c:v>
                </c:pt>
                <c:pt idx="151">
                  <c:v>Nicolas</c:v>
                </c:pt>
                <c:pt idx="152">
                  <c:v>Vranken</c:v>
                </c:pt>
                <c:pt idx="153">
                  <c:v>Ruinart</c:v>
                </c:pt>
                <c:pt idx="154">
                  <c:v>Nicolas</c:v>
                </c:pt>
                <c:pt idx="155">
                  <c:v>Piper Heids</c:v>
                </c:pt>
                <c:pt idx="156">
                  <c:v>Laurent Per</c:v>
                </c:pt>
                <c:pt idx="157">
                  <c:v>Roederer</c:v>
                </c:pt>
                <c:pt idx="158">
                  <c:v>All Others</c:v>
                </c:pt>
                <c:pt idx="159">
                  <c:v>Canard Duch</c:v>
                </c:pt>
                <c:pt idx="160">
                  <c:v>All Others</c:v>
                </c:pt>
                <c:pt idx="161">
                  <c:v>Nicolas Feu</c:v>
                </c:pt>
                <c:pt idx="162">
                  <c:v>Veuve Clicq</c:v>
                </c:pt>
                <c:pt idx="163">
                  <c:v>All Others</c:v>
                </c:pt>
                <c:pt idx="164">
                  <c:v>All Others</c:v>
                </c:pt>
                <c:pt idx="165">
                  <c:v>All Others</c:v>
                </c:pt>
                <c:pt idx="166">
                  <c:v>Ruinart</c:v>
                </c:pt>
                <c:pt idx="167">
                  <c:v>Nicolas</c:v>
                </c:pt>
                <c:pt idx="168">
                  <c:v>Nicolas</c:v>
                </c:pt>
                <c:pt idx="169">
                  <c:v>Nicolas</c:v>
                </c:pt>
                <c:pt idx="170">
                  <c:v>Bouvet-Ladu</c:v>
                </c:pt>
                <c:pt idx="171">
                  <c:v>All Others</c:v>
                </c:pt>
                <c:pt idx="172">
                  <c:v>Demoiselle</c:v>
                </c:pt>
                <c:pt idx="173">
                  <c:v>Nicolas</c:v>
                </c:pt>
                <c:pt idx="174">
                  <c:v>Moët &amp; Chan</c:v>
                </c:pt>
                <c:pt idx="175">
                  <c:v>Henriot</c:v>
                </c:pt>
                <c:pt idx="176">
                  <c:v>Pommery</c:v>
                </c:pt>
                <c:pt idx="177">
                  <c:v>All Others</c:v>
                </c:pt>
                <c:pt idx="178">
                  <c:v>Bouvet-Ladu</c:v>
                </c:pt>
                <c:pt idx="179">
                  <c:v>Laurent Per</c:v>
                </c:pt>
                <c:pt idx="180">
                  <c:v>All Others</c:v>
                </c:pt>
                <c:pt idx="181">
                  <c:v>Henriot</c:v>
                </c:pt>
                <c:pt idx="182">
                  <c:v>Lanson</c:v>
                </c:pt>
                <c:pt idx="183">
                  <c:v>Besserat De</c:v>
                </c:pt>
                <c:pt idx="184">
                  <c:v>Canard Duch</c:v>
                </c:pt>
                <c:pt idx="185">
                  <c:v>All Others</c:v>
                </c:pt>
                <c:pt idx="186">
                  <c:v>All Others</c:v>
                </c:pt>
                <c:pt idx="187">
                  <c:v>Pommery</c:v>
                </c:pt>
                <c:pt idx="188">
                  <c:v>Demoiselle</c:v>
                </c:pt>
                <c:pt idx="189">
                  <c:v>Pommery</c:v>
                </c:pt>
                <c:pt idx="190">
                  <c:v>Delamotte</c:v>
                </c:pt>
                <c:pt idx="191">
                  <c:v>Dom Perigno</c:v>
                </c:pt>
                <c:pt idx="192">
                  <c:v>All Others</c:v>
                </c:pt>
                <c:pt idx="193">
                  <c:v>Nicolas</c:v>
                </c:pt>
                <c:pt idx="194">
                  <c:v>Roederer</c:v>
                </c:pt>
                <c:pt idx="195">
                  <c:v>All Others</c:v>
                </c:pt>
                <c:pt idx="196">
                  <c:v>Perrier Jou</c:v>
                </c:pt>
                <c:pt idx="197">
                  <c:v>All Others</c:v>
                </c:pt>
                <c:pt idx="198">
                  <c:v>Nicolas</c:v>
                </c:pt>
                <c:pt idx="199">
                  <c:v>Ruinart</c:v>
                </c:pt>
                <c:pt idx="200">
                  <c:v>Taittinger</c:v>
                </c:pt>
                <c:pt idx="201">
                  <c:v>Taittinger</c:v>
                </c:pt>
                <c:pt idx="202">
                  <c:v>Contarini</c:v>
                </c:pt>
                <c:pt idx="203">
                  <c:v>Ruinart</c:v>
                </c:pt>
                <c:pt idx="204">
                  <c:v>Ruinart</c:v>
                </c:pt>
                <c:pt idx="205">
                  <c:v>Bollinger</c:v>
                </c:pt>
                <c:pt idx="206">
                  <c:v>Bouvet-Ladu</c:v>
                </c:pt>
                <c:pt idx="207">
                  <c:v>Martel</c:v>
                </c:pt>
                <c:pt idx="208">
                  <c:v>Perrier Jou</c:v>
                </c:pt>
                <c:pt idx="209">
                  <c:v>Vesselle</c:v>
                </c:pt>
                <c:pt idx="210">
                  <c:v>Taittinger</c:v>
                </c:pt>
                <c:pt idx="211">
                  <c:v>Lanson</c:v>
                </c:pt>
                <c:pt idx="212">
                  <c:v>All Others</c:v>
                </c:pt>
                <c:pt idx="213">
                  <c:v>Roederer</c:v>
                </c:pt>
                <c:pt idx="214">
                  <c:v>Vesselle</c:v>
                </c:pt>
                <c:pt idx="215">
                  <c:v>All Others</c:v>
                </c:pt>
                <c:pt idx="216">
                  <c:v>Piper Heids</c:v>
                </c:pt>
                <c:pt idx="217">
                  <c:v>Pommery</c:v>
                </c:pt>
                <c:pt idx="218">
                  <c:v>All Others</c:v>
                </c:pt>
                <c:pt idx="219">
                  <c:v>All Others</c:v>
                </c:pt>
                <c:pt idx="220">
                  <c:v>All Others</c:v>
                </c:pt>
                <c:pt idx="221">
                  <c:v>All Others</c:v>
                </c:pt>
                <c:pt idx="222">
                  <c:v>De Venoge</c:v>
                </c:pt>
                <c:pt idx="223">
                  <c:v>All Others</c:v>
                </c:pt>
                <c:pt idx="224">
                  <c:v>Laurent Per</c:v>
                </c:pt>
                <c:pt idx="225">
                  <c:v>De Venoge</c:v>
                </c:pt>
                <c:pt idx="226">
                  <c:v>All Others</c:v>
                </c:pt>
                <c:pt idx="227">
                  <c:v>All Others</c:v>
                </c:pt>
                <c:pt idx="228">
                  <c:v>Moët &amp; Chan</c:v>
                </c:pt>
                <c:pt idx="229">
                  <c:v>Laurent Per</c:v>
                </c:pt>
                <c:pt idx="230">
                  <c:v>Vranken</c:v>
                </c:pt>
                <c:pt idx="231">
                  <c:v>All Others</c:v>
                </c:pt>
                <c:pt idx="232">
                  <c:v>All Others</c:v>
                </c:pt>
                <c:pt idx="233">
                  <c:v>Nicolas Feu</c:v>
                </c:pt>
                <c:pt idx="234">
                  <c:v>Nicolas</c:v>
                </c:pt>
                <c:pt idx="235">
                  <c:v>Roederer</c:v>
                </c:pt>
                <c:pt idx="236">
                  <c:v>Perrier Jou</c:v>
                </c:pt>
                <c:pt idx="237">
                  <c:v>All Others</c:v>
                </c:pt>
                <c:pt idx="238">
                  <c:v>Nicolas</c:v>
                </c:pt>
                <c:pt idx="239">
                  <c:v>Malard</c:v>
                </c:pt>
                <c:pt idx="240">
                  <c:v>Nicolas</c:v>
                </c:pt>
                <c:pt idx="241">
                  <c:v>De Venoge</c:v>
                </c:pt>
                <c:pt idx="242">
                  <c:v>Ayala</c:v>
                </c:pt>
                <c:pt idx="243">
                  <c:v>Jaillance</c:v>
                </c:pt>
                <c:pt idx="244">
                  <c:v>Ayala</c:v>
                </c:pt>
                <c:pt idx="245">
                  <c:v>Celene</c:v>
                </c:pt>
                <c:pt idx="246">
                  <c:v>Laurent Per</c:v>
                </c:pt>
                <c:pt idx="247">
                  <c:v>All Others</c:v>
                </c:pt>
                <c:pt idx="248">
                  <c:v>Celene</c:v>
                </c:pt>
                <c:pt idx="249">
                  <c:v>Canard Duch</c:v>
                </c:pt>
                <c:pt idx="250">
                  <c:v>Bollinger</c:v>
                </c:pt>
                <c:pt idx="251">
                  <c:v>All Others</c:v>
                </c:pt>
                <c:pt idx="252">
                  <c:v>Nicolas</c:v>
                </c:pt>
                <c:pt idx="253">
                  <c:v>All Others</c:v>
                </c:pt>
                <c:pt idx="254">
                  <c:v>Vranken</c:v>
                </c:pt>
                <c:pt idx="255">
                  <c:v>All Others</c:v>
                </c:pt>
                <c:pt idx="256">
                  <c:v>Bollinger</c:v>
                </c:pt>
                <c:pt idx="257">
                  <c:v>All Others</c:v>
                </c:pt>
                <c:pt idx="258">
                  <c:v>All Others</c:v>
                </c:pt>
                <c:pt idx="259">
                  <c:v>All Others</c:v>
                </c:pt>
              </c:strCache>
            </c:strRef>
          </c:cat>
          <c:val>
            <c:numRef>
              <c:f>Sheet1!$B$2:$B$261</c:f>
              <c:numCache>
                <c:formatCode>General</c:formatCode>
                <c:ptCount val="260"/>
                <c:pt idx="0">
                  <c:v>1</c:v>
                </c:pt>
                <c:pt idx="1">
                  <c:v>1</c:v>
                </c:pt>
                <c:pt idx="2">
                  <c:v>1</c:v>
                </c:pt>
                <c:pt idx="3">
                  <c:v>0.97</c:v>
                </c:pt>
                <c:pt idx="4">
                  <c:v>1</c:v>
                </c:pt>
                <c:pt idx="5">
                  <c:v>1</c:v>
                </c:pt>
                <c:pt idx="6">
                  <c:v>0.98</c:v>
                </c:pt>
                <c:pt idx="7">
                  <c:v>1</c:v>
                </c:pt>
                <c:pt idx="8">
                  <c:v>1</c:v>
                </c:pt>
                <c:pt idx="9">
                  <c:v>1</c:v>
                </c:pt>
                <c:pt idx="10">
                  <c:v>1</c:v>
                </c:pt>
                <c:pt idx="11">
                  <c:v>0.96</c:v>
                </c:pt>
                <c:pt idx="12">
                  <c:v>0.9</c:v>
                </c:pt>
                <c:pt idx="13">
                  <c:v>0.79</c:v>
                </c:pt>
                <c:pt idx="14">
                  <c:v>0.73</c:v>
                </c:pt>
                <c:pt idx="15">
                  <c:v>0.73</c:v>
                </c:pt>
                <c:pt idx="16">
                  <c:v>0.92</c:v>
                </c:pt>
                <c:pt idx="17">
                  <c:v>0.84</c:v>
                </c:pt>
                <c:pt idx="18">
                  <c:v>0.91</c:v>
                </c:pt>
                <c:pt idx="19">
                  <c:v>0.81</c:v>
                </c:pt>
                <c:pt idx="20">
                  <c:v>0.73</c:v>
                </c:pt>
                <c:pt idx="21">
                  <c:v>0.93</c:v>
                </c:pt>
                <c:pt idx="22">
                  <c:v>0.69</c:v>
                </c:pt>
                <c:pt idx="23">
                  <c:v>0.84</c:v>
                </c:pt>
                <c:pt idx="24">
                  <c:v>1</c:v>
                </c:pt>
                <c:pt idx="25">
                  <c:v>0.79</c:v>
                </c:pt>
                <c:pt idx="26">
                  <c:v>0.65</c:v>
                </c:pt>
                <c:pt idx="27">
                  <c:v>0.74</c:v>
                </c:pt>
                <c:pt idx="28">
                  <c:v>0.84</c:v>
                </c:pt>
                <c:pt idx="29">
                  <c:v>0.62</c:v>
                </c:pt>
                <c:pt idx="30">
                  <c:v>0.77</c:v>
                </c:pt>
                <c:pt idx="31">
                  <c:v>0.56999999999999995</c:v>
                </c:pt>
                <c:pt idx="32">
                  <c:v>0.42</c:v>
                </c:pt>
                <c:pt idx="33">
                  <c:v>0.62</c:v>
                </c:pt>
                <c:pt idx="34">
                  <c:v>0.65</c:v>
                </c:pt>
                <c:pt idx="35">
                  <c:v>0.52</c:v>
                </c:pt>
                <c:pt idx="36">
                  <c:v>0.86</c:v>
                </c:pt>
                <c:pt idx="37">
                  <c:v>0.84</c:v>
                </c:pt>
                <c:pt idx="38">
                  <c:v>0.44</c:v>
                </c:pt>
                <c:pt idx="39">
                  <c:v>0.11</c:v>
                </c:pt>
                <c:pt idx="40">
                  <c:v>0.98</c:v>
                </c:pt>
                <c:pt idx="41">
                  <c:v>0.64</c:v>
                </c:pt>
                <c:pt idx="42">
                  <c:v>0.72</c:v>
                </c:pt>
                <c:pt idx="43">
                  <c:v>0.67</c:v>
                </c:pt>
                <c:pt idx="44">
                  <c:v>0.81</c:v>
                </c:pt>
                <c:pt idx="45">
                  <c:v>0.72</c:v>
                </c:pt>
                <c:pt idx="46">
                  <c:v>0.3</c:v>
                </c:pt>
                <c:pt idx="47">
                  <c:v>0.66</c:v>
                </c:pt>
                <c:pt idx="48">
                  <c:v>0.84</c:v>
                </c:pt>
                <c:pt idx="49">
                  <c:v>0.54</c:v>
                </c:pt>
                <c:pt idx="50">
                  <c:v>0.47</c:v>
                </c:pt>
                <c:pt idx="51">
                  <c:v>0.56999999999999995</c:v>
                </c:pt>
                <c:pt idx="52">
                  <c:v>0.56999999999999995</c:v>
                </c:pt>
                <c:pt idx="53">
                  <c:v>0.9</c:v>
                </c:pt>
                <c:pt idx="54">
                  <c:v>0.75</c:v>
                </c:pt>
                <c:pt idx="55">
                  <c:v>0.6</c:v>
                </c:pt>
                <c:pt idx="56">
                  <c:v>0.63</c:v>
                </c:pt>
                <c:pt idx="57">
                  <c:v>0.52</c:v>
                </c:pt>
                <c:pt idx="58">
                  <c:v>0.83</c:v>
                </c:pt>
                <c:pt idx="59">
                  <c:v>0.62</c:v>
                </c:pt>
                <c:pt idx="60">
                  <c:v>0.66</c:v>
                </c:pt>
                <c:pt idx="61">
                  <c:v>0.68</c:v>
                </c:pt>
                <c:pt idx="62">
                  <c:v>0.98</c:v>
                </c:pt>
                <c:pt idx="63">
                  <c:v>0.37</c:v>
                </c:pt>
                <c:pt idx="64">
                  <c:v>0.3</c:v>
                </c:pt>
                <c:pt idx="65">
                  <c:v>0.75</c:v>
                </c:pt>
                <c:pt idx="66">
                  <c:v>0.38</c:v>
                </c:pt>
                <c:pt idx="67">
                  <c:v>0.46</c:v>
                </c:pt>
                <c:pt idx="68">
                  <c:v>0.76</c:v>
                </c:pt>
                <c:pt idx="69">
                  <c:v>0.4</c:v>
                </c:pt>
                <c:pt idx="70">
                  <c:v>0.51</c:v>
                </c:pt>
                <c:pt idx="71">
                  <c:v>0.61</c:v>
                </c:pt>
                <c:pt idx="72">
                  <c:v>0.91</c:v>
                </c:pt>
                <c:pt idx="73">
                  <c:v>0.56000000000000005</c:v>
                </c:pt>
                <c:pt idx="74">
                  <c:v>0.55000000000000004</c:v>
                </c:pt>
                <c:pt idx="75">
                  <c:v>0.45</c:v>
                </c:pt>
                <c:pt idx="76">
                  <c:v>0.54</c:v>
                </c:pt>
                <c:pt idx="77">
                  <c:v>0.87</c:v>
                </c:pt>
                <c:pt idx="78">
                  <c:v>0.32</c:v>
                </c:pt>
                <c:pt idx="79">
                  <c:v>0.67</c:v>
                </c:pt>
                <c:pt idx="80">
                  <c:v>0.72</c:v>
                </c:pt>
                <c:pt idx="81">
                  <c:v>0.5</c:v>
                </c:pt>
                <c:pt idx="82">
                  <c:v>0.47</c:v>
                </c:pt>
                <c:pt idx="83">
                  <c:v>0.41</c:v>
                </c:pt>
                <c:pt idx="84">
                  <c:v>0.31</c:v>
                </c:pt>
                <c:pt idx="85">
                  <c:v>0.62</c:v>
                </c:pt>
                <c:pt idx="86">
                  <c:v>0.62</c:v>
                </c:pt>
                <c:pt idx="87">
                  <c:v>0.38</c:v>
                </c:pt>
                <c:pt idx="88">
                  <c:v>0.61</c:v>
                </c:pt>
                <c:pt idx="89">
                  <c:v>0.63</c:v>
                </c:pt>
                <c:pt idx="90">
                  <c:v>0.19</c:v>
                </c:pt>
                <c:pt idx="91">
                  <c:v>0.61</c:v>
                </c:pt>
                <c:pt idx="92">
                  <c:v>0.6</c:v>
                </c:pt>
                <c:pt idx="93">
                  <c:v>0.3</c:v>
                </c:pt>
                <c:pt idx="94">
                  <c:v>0.52</c:v>
                </c:pt>
                <c:pt idx="95">
                  <c:v>0.34</c:v>
                </c:pt>
                <c:pt idx="96">
                  <c:v>0.23</c:v>
                </c:pt>
                <c:pt idx="97">
                  <c:v>0.19</c:v>
                </c:pt>
                <c:pt idx="98">
                  <c:v>0.23</c:v>
                </c:pt>
                <c:pt idx="99">
                  <c:v>0.23</c:v>
                </c:pt>
                <c:pt idx="100">
                  <c:v>0.8</c:v>
                </c:pt>
                <c:pt idx="101">
                  <c:v>0.22</c:v>
                </c:pt>
                <c:pt idx="102">
                  <c:v>0.34</c:v>
                </c:pt>
                <c:pt idx="103">
                  <c:v>0.47</c:v>
                </c:pt>
                <c:pt idx="104">
                  <c:v>0.51</c:v>
                </c:pt>
                <c:pt idx="105">
                  <c:v>0.38</c:v>
                </c:pt>
                <c:pt idx="106">
                  <c:v>0.52</c:v>
                </c:pt>
                <c:pt idx="107">
                  <c:v>0.2</c:v>
                </c:pt>
                <c:pt idx="108">
                  <c:v>0.4</c:v>
                </c:pt>
                <c:pt idx="109">
                  <c:v>0.12</c:v>
                </c:pt>
                <c:pt idx="110">
                  <c:v>0.37</c:v>
                </c:pt>
                <c:pt idx="111">
                  <c:v>0.3</c:v>
                </c:pt>
                <c:pt idx="112">
                  <c:v>0.42</c:v>
                </c:pt>
                <c:pt idx="113">
                  <c:v>0.23</c:v>
                </c:pt>
                <c:pt idx="114">
                  <c:v>0.43</c:v>
                </c:pt>
                <c:pt idx="115">
                  <c:v>0.41</c:v>
                </c:pt>
                <c:pt idx="116">
                  <c:v>0.21</c:v>
                </c:pt>
                <c:pt idx="117">
                  <c:v>0.34</c:v>
                </c:pt>
                <c:pt idx="118">
                  <c:v>0.23</c:v>
                </c:pt>
                <c:pt idx="119">
                  <c:v>0.19</c:v>
                </c:pt>
                <c:pt idx="120">
                  <c:v>0.28000000000000003</c:v>
                </c:pt>
                <c:pt idx="121">
                  <c:v>0.27</c:v>
                </c:pt>
                <c:pt idx="122">
                  <c:v>0.2</c:v>
                </c:pt>
                <c:pt idx="123">
                  <c:v>0.3</c:v>
                </c:pt>
                <c:pt idx="124">
                  <c:v>0.45</c:v>
                </c:pt>
                <c:pt idx="125">
                  <c:v>0.28000000000000003</c:v>
                </c:pt>
                <c:pt idx="126">
                  <c:v>0.25</c:v>
                </c:pt>
                <c:pt idx="127">
                  <c:v>0.38</c:v>
                </c:pt>
                <c:pt idx="128">
                  <c:v>0.42</c:v>
                </c:pt>
                <c:pt idx="129">
                  <c:v>0.48</c:v>
                </c:pt>
                <c:pt idx="130">
                  <c:v>0.79</c:v>
                </c:pt>
                <c:pt idx="131">
                  <c:v>0.3</c:v>
                </c:pt>
                <c:pt idx="132">
                  <c:v>0.3</c:v>
                </c:pt>
                <c:pt idx="133">
                  <c:v>0.59</c:v>
                </c:pt>
                <c:pt idx="134">
                  <c:v>0.33</c:v>
                </c:pt>
                <c:pt idx="135">
                  <c:v>0.28000000000000003</c:v>
                </c:pt>
                <c:pt idx="136">
                  <c:v>0.65</c:v>
                </c:pt>
                <c:pt idx="137">
                  <c:v>0.38</c:v>
                </c:pt>
                <c:pt idx="138">
                  <c:v>0.1</c:v>
                </c:pt>
                <c:pt idx="139">
                  <c:v>0.2</c:v>
                </c:pt>
                <c:pt idx="140">
                  <c:v>0.31</c:v>
                </c:pt>
                <c:pt idx="141">
                  <c:v>0.3</c:v>
                </c:pt>
                <c:pt idx="142">
                  <c:v>0.25</c:v>
                </c:pt>
                <c:pt idx="143">
                  <c:v>0.16</c:v>
                </c:pt>
                <c:pt idx="144">
                  <c:v>0.15</c:v>
                </c:pt>
                <c:pt idx="145">
                  <c:v>0.2</c:v>
                </c:pt>
                <c:pt idx="146">
                  <c:v>0.18</c:v>
                </c:pt>
                <c:pt idx="147">
                  <c:v>0.11</c:v>
                </c:pt>
                <c:pt idx="148">
                  <c:v>0.16</c:v>
                </c:pt>
                <c:pt idx="149">
                  <c:v>0.45</c:v>
                </c:pt>
                <c:pt idx="150">
                  <c:v>0.18</c:v>
                </c:pt>
                <c:pt idx="151">
                  <c:v>0.22</c:v>
                </c:pt>
                <c:pt idx="152">
                  <c:v>0.28000000000000003</c:v>
                </c:pt>
                <c:pt idx="153">
                  <c:v>0.19</c:v>
                </c:pt>
                <c:pt idx="154">
                  <c:v>0.28000000000000003</c:v>
                </c:pt>
                <c:pt idx="155">
                  <c:v>0.18</c:v>
                </c:pt>
                <c:pt idx="156">
                  <c:v>0.31</c:v>
                </c:pt>
                <c:pt idx="157">
                  <c:v>0.13</c:v>
                </c:pt>
                <c:pt idx="158">
                  <c:v>0.26</c:v>
                </c:pt>
                <c:pt idx="159">
                  <c:v>0.39</c:v>
                </c:pt>
                <c:pt idx="160">
                  <c:v>0.26</c:v>
                </c:pt>
                <c:pt idx="161">
                  <c:v>0.17</c:v>
                </c:pt>
                <c:pt idx="162">
                  <c:v>0.17</c:v>
                </c:pt>
                <c:pt idx="163">
                  <c:v>0.26</c:v>
                </c:pt>
                <c:pt idx="164">
                  <c:v>0.26</c:v>
                </c:pt>
                <c:pt idx="165">
                  <c:v>0.31</c:v>
                </c:pt>
                <c:pt idx="166">
                  <c:v>0.14000000000000001</c:v>
                </c:pt>
                <c:pt idx="167">
                  <c:v>0.3</c:v>
                </c:pt>
                <c:pt idx="168">
                  <c:v>0.15</c:v>
                </c:pt>
                <c:pt idx="169">
                  <c:v>0.36</c:v>
                </c:pt>
                <c:pt idx="170">
                  <c:v>0.28000000000000003</c:v>
                </c:pt>
                <c:pt idx="171">
                  <c:v>0.22</c:v>
                </c:pt>
                <c:pt idx="172">
                  <c:v>0.24</c:v>
                </c:pt>
                <c:pt idx="173">
                  <c:v>0.35</c:v>
                </c:pt>
                <c:pt idx="174">
                  <c:v>0.17</c:v>
                </c:pt>
                <c:pt idx="175">
                  <c:v>0.12</c:v>
                </c:pt>
                <c:pt idx="176">
                  <c:v>0.1</c:v>
                </c:pt>
                <c:pt idx="177">
                  <c:v>0.22</c:v>
                </c:pt>
                <c:pt idx="178">
                  <c:v>0.26</c:v>
                </c:pt>
                <c:pt idx="179">
                  <c:v>0.12</c:v>
                </c:pt>
                <c:pt idx="180">
                  <c:v>0.22</c:v>
                </c:pt>
                <c:pt idx="181">
                  <c:v>0.16</c:v>
                </c:pt>
                <c:pt idx="182">
                  <c:v>7.0000000000000007E-2</c:v>
                </c:pt>
                <c:pt idx="183">
                  <c:v>0.23</c:v>
                </c:pt>
                <c:pt idx="184">
                  <c:v>0.13</c:v>
                </c:pt>
                <c:pt idx="185">
                  <c:v>0.12</c:v>
                </c:pt>
                <c:pt idx="186">
                  <c:v>0.22</c:v>
                </c:pt>
                <c:pt idx="187">
                  <c:v>0.16</c:v>
                </c:pt>
                <c:pt idx="188">
                  <c:v>0.13</c:v>
                </c:pt>
                <c:pt idx="189">
                  <c:v>0.12</c:v>
                </c:pt>
                <c:pt idx="190">
                  <c:v>0.2</c:v>
                </c:pt>
                <c:pt idx="191">
                  <c:v>7.0000000000000007E-2</c:v>
                </c:pt>
                <c:pt idx="192">
                  <c:v>0.27</c:v>
                </c:pt>
                <c:pt idx="193">
                  <c:v>0.12</c:v>
                </c:pt>
                <c:pt idx="194">
                  <c:v>0.14000000000000001</c:v>
                </c:pt>
                <c:pt idx="195">
                  <c:v>0.09</c:v>
                </c:pt>
                <c:pt idx="196">
                  <c:v>0.11</c:v>
                </c:pt>
                <c:pt idx="197">
                  <c:v>0.3</c:v>
                </c:pt>
                <c:pt idx="198">
                  <c:v>0.22</c:v>
                </c:pt>
                <c:pt idx="199">
                  <c:v>0.12</c:v>
                </c:pt>
                <c:pt idx="200">
                  <c:v>0.19</c:v>
                </c:pt>
                <c:pt idx="201">
                  <c:v>0.09</c:v>
                </c:pt>
                <c:pt idx="202">
                  <c:v>0.18</c:v>
                </c:pt>
                <c:pt idx="203">
                  <c:v>0.12</c:v>
                </c:pt>
                <c:pt idx="204">
                  <c:v>0.12</c:v>
                </c:pt>
                <c:pt idx="205">
                  <c:v>0.17</c:v>
                </c:pt>
                <c:pt idx="206">
                  <c:v>0.24</c:v>
                </c:pt>
                <c:pt idx="207">
                  <c:v>0.14000000000000001</c:v>
                </c:pt>
                <c:pt idx="208">
                  <c:v>0.09</c:v>
                </c:pt>
                <c:pt idx="209">
                  <c:v>0.08</c:v>
                </c:pt>
                <c:pt idx="210">
                  <c:v>0.11</c:v>
                </c:pt>
                <c:pt idx="211">
                  <c:v>0.12</c:v>
                </c:pt>
                <c:pt idx="212">
                  <c:v>0.1</c:v>
                </c:pt>
                <c:pt idx="213">
                  <c:v>0.05</c:v>
                </c:pt>
                <c:pt idx="214">
                  <c:v>0.08</c:v>
                </c:pt>
                <c:pt idx="215">
                  <c:v>0.21</c:v>
                </c:pt>
                <c:pt idx="216">
                  <c:v>0.12</c:v>
                </c:pt>
                <c:pt idx="217">
                  <c:v>0.14000000000000001</c:v>
                </c:pt>
                <c:pt idx="218">
                  <c:v>0.14000000000000001</c:v>
                </c:pt>
                <c:pt idx="219">
                  <c:v>0.1</c:v>
                </c:pt>
                <c:pt idx="220">
                  <c:v>0.08</c:v>
                </c:pt>
                <c:pt idx="221">
                  <c:v>0.15</c:v>
                </c:pt>
                <c:pt idx="222">
                  <c:v>0.05</c:v>
                </c:pt>
                <c:pt idx="223">
                  <c:v>0.14000000000000001</c:v>
                </c:pt>
                <c:pt idx="224">
                  <c:v>0.03</c:v>
                </c:pt>
                <c:pt idx="225">
                  <c:v>0.06</c:v>
                </c:pt>
                <c:pt idx="226">
                  <c:v>0.09</c:v>
                </c:pt>
                <c:pt idx="227">
                  <c:v>0.11</c:v>
                </c:pt>
                <c:pt idx="228">
                  <c:v>0.06</c:v>
                </c:pt>
                <c:pt idx="229">
                  <c:v>0.1</c:v>
                </c:pt>
                <c:pt idx="230">
                  <c:v>0.11</c:v>
                </c:pt>
                <c:pt idx="231">
                  <c:v>0.16</c:v>
                </c:pt>
                <c:pt idx="232">
                  <c:v>0.11</c:v>
                </c:pt>
                <c:pt idx="233">
                  <c:v>0.15</c:v>
                </c:pt>
                <c:pt idx="234">
                  <c:v>0.2</c:v>
                </c:pt>
                <c:pt idx="235">
                  <c:v>0.1</c:v>
                </c:pt>
                <c:pt idx="236">
                  <c:v>0.08</c:v>
                </c:pt>
                <c:pt idx="237">
                  <c:v>7.0000000000000007E-2</c:v>
                </c:pt>
                <c:pt idx="238">
                  <c:v>0.03</c:v>
                </c:pt>
                <c:pt idx="239">
                  <c:v>0.14000000000000001</c:v>
                </c:pt>
                <c:pt idx="240">
                  <c:v>0.03</c:v>
                </c:pt>
                <c:pt idx="241">
                  <c:v>0.06</c:v>
                </c:pt>
                <c:pt idx="242">
                  <c:v>0.02</c:v>
                </c:pt>
                <c:pt idx="243">
                  <c:v>0.08</c:v>
                </c:pt>
                <c:pt idx="244">
                  <c:v>0.15</c:v>
                </c:pt>
                <c:pt idx="245">
                  <c:v>0.2</c:v>
                </c:pt>
                <c:pt idx="246">
                  <c:v>0.03</c:v>
                </c:pt>
                <c:pt idx="247">
                  <c:v>0.09</c:v>
                </c:pt>
                <c:pt idx="248">
                  <c:v>0.13</c:v>
                </c:pt>
                <c:pt idx="249">
                  <c:v>7.0000000000000007E-2</c:v>
                </c:pt>
                <c:pt idx="250">
                  <c:v>0.13</c:v>
                </c:pt>
                <c:pt idx="251">
                  <c:v>0.13</c:v>
                </c:pt>
                <c:pt idx="252">
                  <c:v>7.0000000000000007E-2</c:v>
                </c:pt>
                <c:pt idx="253">
                  <c:v>0.12</c:v>
                </c:pt>
                <c:pt idx="254">
                  <c:v>0.09</c:v>
                </c:pt>
                <c:pt idx="255">
                  <c:v>0.09</c:v>
                </c:pt>
                <c:pt idx="256">
                  <c:v>0.06</c:v>
                </c:pt>
                <c:pt idx="257">
                  <c:v>0.13</c:v>
                </c:pt>
                <c:pt idx="258">
                  <c:v>0.09</c:v>
                </c:pt>
                <c:pt idx="259">
                  <c:v>0.1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9AF-4F6A-BE28-99AC8AA5F093}"/>
              </c:ext>
            </c:extLst>
          </c:dPt>
          <c:dPt>
            <c:idx val="211"/>
            <c:invertIfNegative val="1"/>
            <c:bubble3D val="0"/>
            <c:spPr>
              <a:solidFill>
                <a:srgbClr val="AEABAB"/>
              </a:solidFill>
            </c:spPr>
            <c:extLst>
              <c:ext xmlns:c16="http://schemas.microsoft.com/office/drawing/2014/chart" uri="{C3380CC4-5D6E-409C-BE32-E72D297353CC}">
                <c16:uniqueId val="{000001A9-79AF-4F6A-BE28-99AC8AA5F093}"/>
              </c:ext>
            </c:extLst>
          </c:dPt>
          <c:dPt>
            <c:idx val="212"/>
            <c:invertIfNegative val="1"/>
            <c:bubble3D val="0"/>
            <c:spPr>
              <a:solidFill>
                <a:srgbClr val="AEABAB"/>
              </a:solidFill>
            </c:spPr>
            <c:extLst>
              <c:ext xmlns:c16="http://schemas.microsoft.com/office/drawing/2014/chart" uri="{C3380CC4-5D6E-409C-BE32-E72D297353CC}">
                <c16:uniqueId val="{000001AB-79AF-4F6A-BE28-99AC8AA5F093}"/>
              </c:ext>
            </c:extLst>
          </c:dPt>
          <c:dPt>
            <c:idx val="213"/>
            <c:invertIfNegative val="1"/>
            <c:bubble3D val="0"/>
            <c:spPr>
              <a:solidFill>
                <a:srgbClr val="AEABAB"/>
              </a:solidFill>
            </c:spPr>
            <c:extLst>
              <c:ext xmlns:c16="http://schemas.microsoft.com/office/drawing/2014/chart" uri="{C3380CC4-5D6E-409C-BE32-E72D297353CC}">
                <c16:uniqueId val="{000001AD-79AF-4F6A-BE28-99AC8AA5F093}"/>
              </c:ext>
            </c:extLst>
          </c:dPt>
          <c:dPt>
            <c:idx val="214"/>
            <c:invertIfNegative val="1"/>
            <c:bubble3D val="0"/>
            <c:spPr>
              <a:solidFill>
                <a:srgbClr val="AEABAB"/>
              </a:solidFill>
            </c:spPr>
            <c:extLst>
              <c:ext xmlns:c16="http://schemas.microsoft.com/office/drawing/2014/chart" uri="{C3380CC4-5D6E-409C-BE32-E72D297353CC}">
                <c16:uniqueId val="{000001AF-79AF-4F6A-BE28-99AC8AA5F093}"/>
              </c:ext>
            </c:extLst>
          </c:dPt>
          <c:dPt>
            <c:idx val="215"/>
            <c:invertIfNegative val="1"/>
            <c:bubble3D val="0"/>
            <c:spPr>
              <a:solidFill>
                <a:srgbClr val="AEABAB"/>
              </a:solidFill>
            </c:spPr>
            <c:extLst>
              <c:ext xmlns:c16="http://schemas.microsoft.com/office/drawing/2014/chart" uri="{C3380CC4-5D6E-409C-BE32-E72D297353CC}">
                <c16:uniqueId val="{000001B1-79AF-4F6A-BE28-99AC8AA5F093}"/>
              </c:ext>
            </c:extLst>
          </c:dPt>
          <c:dPt>
            <c:idx val="216"/>
            <c:invertIfNegative val="1"/>
            <c:bubble3D val="0"/>
            <c:spPr>
              <a:solidFill>
                <a:srgbClr val="AEABAB"/>
              </a:solidFill>
            </c:spPr>
            <c:extLst>
              <c:ext xmlns:c16="http://schemas.microsoft.com/office/drawing/2014/chart" uri="{C3380CC4-5D6E-409C-BE32-E72D297353CC}">
                <c16:uniqueId val="{000001B3-79AF-4F6A-BE28-99AC8AA5F093}"/>
              </c:ext>
            </c:extLst>
          </c:dPt>
          <c:dPt>
            <c:idx val="217"/>
            <c:invertIfNegative val="1"/>
            <c:bubble3D val="0"/>
            <c:spPr>
              <a:solidFill>
                <a:srgbClr val="AEABAB"/>
              </a:solidFill>
            </c:spPr>
            <c:extLst>
              <c:ext xmlns:c16="http://schemas.microsoft.com/office/drawing/2014/chart" uri="{C3380CC4-5D6E-409C-BE32-E72D297353CC}">
                <c16:uniqueId val="{000001B5-79AF-4F6A-BE28-99AC8AA5F093}"/>
              </c:ext>
            </c:extLst>
          </c:dPt>
          <c:dPt>
            <c:idx val="218"/>
            <c:invertIfNegative val="1"/>
            <c:bubble3D val="0"/>
            <c:spPr>
              <a:solidFill>
                <a:srgbClr val="AEABAB"/>
              </a:solidFill>
            </c:spPr>
            <c:extLst>
              <c:ext xmlns:c16="http://schemas.microsoft.com/office/drawing/2014/chart" uri="{C3380CC4-5D6E-409C-BE32-E72D297353CC}">
                <c16:uniqueId val="{000001B7-79AF-4F6A-BE28-99AC8AA5F093}"/>
              </c:ext>
            </c:extLst>
          </c:dPt>
          <c:dPt>
            <c:idx val="219"/>
            <c:invertIfNegative val="1"/>
            <c:bubble3D val="0"/>
            <c:spPr>
              <a:solidFill>
                <a:srgbClr val="AEABAB"/>
              </a:solidFill>
            </c:spPr>
            <c:extLst>
              <c:ext xmlns:c16="http://schemas.microsoft.com/office/drawing/2014/chart" uri="{C3380CC4-5D6E-409C-BE32-E72D297353CC}">
                <c16:uniqueId val="{000001B9-79AF-4F6A-BE28-99AC8AA5F093}"/>
              </c:ext>
            </c:extLst>
          </c:dPt>
          <c:dPt>
            <c:idx val="220"/>
            <c:invertIfNegative val="1"/>
            <c:bubble3D val="0"/>
            <c:spPr>
              <a:solidFill>
                <a:srgbClr val="AEABAB"/>
              </a:solidFill>
            </c:spPr>
            <c:extLst>
              <c:ext xmlns:c16="http://schemas.microsoft.com/office/drawing/2014/chart" uri="{C3380CC4-5D6E-409C-BE32-E72D297353CC}">
                <c16:uniqueId val="{000001BB-79AF-4F6A-BE28-99AC8AA5F093}"/>
              </c:ext>
            </c:extLst>
          </c:dPt>
          <c:dPt>
            <c:idx val="221"/>
            <c:invertIfNegative val="1"/>
            <c:bubble3D val="0"/>
            <c:spPr>
              <a:solidFill>
                <a:srgbClr val="AEABAB"/>
              </a:solidFill>
            </c:spPr>
            <c:extLst>
              <c:ext xmlns:c16="http://schemas.microsoft.com/office/drawing/2014/chart" uri="{C3380CC4-5D6E-409C-BE32-E72D297353CC}">
                <c16:uniqueId val="{000001BD-79AF-4F6A-BE28-99AC8AA5F093}"/>
              </c:ext>
            </c:extLst>
          </c:dPt>
          <c:dPt>
            <c:idx val="222"/>
            <c:invertIfNegative val="1"/>
            <c:bubble3D val="0"/>
            <c:spPr>
              <a:solidFill>
                <a:srgbClr val="AEABAB"/>
              </a:solidFill>
            </c:spPr>
            <c:extLst>
              <c:ext xmlns:c16="http://schemas.microsoft.com/office/drawing/2014/chart" uri="{C3380CC4-5D6E-409C-BE32-E72D297353CC}">
                <c16:uniqueId val="{000001BF-79AF-4F6A-BE28-99AC8AA5F093}"/>
              </c:ext>
            </c:extLst>
          </c:dPt>
          <c:dPt>
            <c:idx val="223"/>
            <c:invertIfNegative val="1"/>
            <c:bubble3D val="0"/>
            <c:spPr>
              <a:solidFill>
                <a:srgbClr val="AEABAB"/>
              </a:solidFill>
            </c:spPr>
            <c:extLst>
              <c:ext xmlns:c16="http://schemas.microsoft.com/office/drawing/2014/chart" uri="{C3380CC4-5D6E-409C-BE32-E72D297353CC}">
                <c16:uniqueId val="{000001C1-79AF-4F6A-BE28-99AC8AA5F093}"/>
              </c:ext>
            </c:extLst>
          </c:dPt>
          <c:dPt>
            <c:idx val="224"/>
            <c:invertIfNegative val="1"/>
            <c:bubble3D val="0"/>
            <c:spPr>
              <a:solidFill>
                <a:srgbClr val="AEABAB"/>
              </a:solidFill>
            </c:spPr>
            <c:extLst>
              <c:ext xmlns:c16="http://schemas.microsoft.com/office/drawing/2014/chart" uri="{C3380CC4-5D6E-409C-BE32-E72D297353CC}">
                <c16:uniqueId val="{000001C3-79AF-4F6A-BE28-99AC8AA5F093}"/>
              </c:ext>
            </c:extLst>
          </c:dPt>
          <c:dPt>
            <c:idx val="225"/>
            <c:invertIfNegative val="1"/>
            <c:bubble3D val="0"/>
            <c:spPr>
              <a:solidFill>
                <a:srgbClr val="AEABAB"/>
              </a:solidFill>
            </c:spPr>
            <c:extLst>
              <c:ext xmlns:c16="http://schemas.microsoft.com/office/drawing/2014/chart" uri="{C3380CC4-5D6E-409C-BE32-E72D297353CC}">
                <c16:uniqueId val="{000001C5-79AF-4F6A-BE28-99AC8AA5F093}"/>
              </c:ext>
            </c:extLst>
          </c:dPt>
          <c:dPt>
            <c:idx val="226"/>
            <c:invertIfNegative val="1"/>
            <c:bubble3D val="0"/>
            <c:spPr>
              <a:solidFill>
                <a:srgbClr val="AEABAB"/>
              </a:solidFill>
            </c:spPr>
            <c:extLst>
              <c:ext xmlns:c16="http://schemas.microsoft.com/office/drawing/2014/chart" uri="{C3380CC4-5D6E-409C-BE32-E72D297353CC}">
                <c16:uniqueId val="{000001C7-79AF-4F6A-BE28-99AC8AA5F093}"/>
              </c:ext>
            </c:extLst>
          </c:dPt>
          <c:dPt>
            <c:idx val="227"/>
            <c:invertIfNegative val="1"/>
            <c:bubble3D val="0"/>
            <c:spPr>
              <a:solidFill>
                <a:srgbClr val="AEABAB"/>
              </a:solidFill>
            </c:spPr>
            <c:extLst>
              <c:ext xmlns:c16="http://schemas.microsoft.com/office/drawing/2014/chart" uri="{C3380CC4-5D6E-409C-BE32-E72D297353CC}">
                <c16:uniqueId val="{000001C9-79AF-4F6A-BE28-99AC8AA5F093}"/>
              </c:ext>
            </c:extLst>
          </c:dPt>
          <c:dPt>
            <c:idx val="228"/>
            <c:invertIfNegative val="1"/>
            <c:bubble3D val="0"/>
            <c:spPr>
              <a:solidFill>
                <a:srgbClr val="AEABAB"/>
              </a:solidFill>
            </c:spPr>
            <c:extLst>
              <c:ext xmlns:c16="http://schemas.microsoft.com/office/drawing/2014/chart" uri="{C3380CC4-5D6E-409C-BE32-E72D297353CC}">
                <c16:uniqueId val="{000001CB-79AF-4F6A-BE28-99AC8AA5F093}"/>
              </c:ext>
            </c:extLst>
          </c:dPt>
          <c:dPt>
            <c:idx val="229"/>
            <c:invertIfNegative val="1"/>
            <c:bubble3D val="0"/>
            <c:spPr>
              <a:solidFill>
                <a:srgbClr val="AEABAB"/>
              </a:solidFill>
            </c:spPr>
            <c:extLst>
              <c:ext xmlns:c16="http://schemas.microsoft.com/office/drawing/2014/chart" uri="{C3380CC4-5D6E-409C-BE32-E72D297353CC}">
                <c16:uniqueId val="{000001CD-79AF-4F6A-BE28-99AC8AA5F093}"/>
              </c:ext>
            </c:extLst>
          </c:dPt>
          <c:dPt>
            <c:idx val="230"/>
            <c:invertIfNegative val="1"/>
            <c:bubble3D val="0"/>
            <c:spPr>
              <a:solidFill>
                <a:srgbClr val="AEABAB"/>
              </a:solidFill>
            </c:spPr>
            <c:extLst>
              <c:ext xmlns:c16="http://schemas.microsoft.com/office/drawing/2014/chart" uri="{C3380CC4-5D6E-409C-BE32-E72D297353CC}">
                <c16:uniqueId val="{000001CF-79AF-4F6A-BE28-99AC8AA5F093}"/>
              </c:ext>
            </c:extLst>
          </c:dPt>
          <c:dPt>
            <c:idx val="231"/>
            <c:invertIfNegative val="1"/>
            <c:bubble3D val="0"/>
            <c:spPr>
              <a:solidFill>
                <a:srgbClr val="AEABAB"/>
              </a:solidFill>
            </c:spPr>
            <c:extLst>
              <c:ext xmlns:c16="http://schemas.microsoft.com/office/drawing/2014/chart" uri="{C3380CC4-5D6E-409C-BE32-E72D297353CC}">
                <c16:uniqueId val="{000001D1-79AF-4F6A-BE28-99AC8AA5F093}"/>
              </c:ext>
            </c:extLst>
          </c:dPt>
          <c:dPt>
            <c:idx val="232"/>
            <c:invertIfNegative val="1"/>
            <c:bubble3D val="0"/>
            <c:spPr>
              <a:solidFill>
                <a:srgbClr val="AEABAB"/>
              </a:solidFill>
            </c:spPr>
            <c:extLst>
              <c:ext xmlns:c16="http://schemas.microsoft.com/office/drawing/2014/chart" uri="{C3380CC4-5D6E-409C-BE32-E72D297353CC}">
                <c16:uniqueId val="{000001D3-79AF-4F6A-BE28-99AC8AA5F093}"/>
              </c:ext>
            </c:extLst>
          </c:dPt>
          <c:dPt>
            <c:idx val="233"/>
            <c:invertIfNegative val="1"/>
            <c:bubble3D val="0"/>
            <c:spPr>
              <a:solidFill>
                <a:srgbClr val="AEABAB"/>
              </a:solidFill>
            </c:spPr>
            <c:extLst>
              <c:ext xmlns:c16="http://schemas.microsoft.com/office/drawing/2014/chart" uri="{C3380CC4-5D6E-409C-BE32-E72D297353CC}">
                <c16:uniqueId val="{000001D5-79AF-4F6A-BE28-99AC8AA5F093}"/>
              </c:ext>
            </c:extLst>
          </c:dPt>
          <c:dPt>
            <c:idx val="234"/>
            <c:invertIfNegative val="1"/>
            <c:bubble3D val="0"/>
            <c:spPr>
              <a:solidFill>
                <a:srgbClr val="AEABAB"/>
              </a:solidFill>
            </c:spPr>
            <c:extLst>
              <c:ext xmlns:c16="http://schemas.microsoft.com/office/drawing/2014/chart" uri="{C3380CC4-5D6E-409C-BE32-E72D297353CC}">
                <c16:uniqueId val="{000001D7-79AF-4F6A-BE28-99AC8AA5F093}"/>
              </c:ext>
            </c:extLst>
          </c:dPt>
          <c:dPt>
            <c:idx val="235"/>
            <c:invertIfNegative val="1"/>
            <c:bubble3D val="0"/>
            <c:spPr>
              <a:solidFill>
                <a:srgbClr val="AEABAB"/>
              </a:solidFill>
            </c:spPr>
            <c:extLst>
              <c:ext xmlns:c16="http://schemas.microsoft.com/office/drawing/2014/chart" uri="{C3380CC4-5D6E-409C-BE32-E72D297353CC}">
                <c16:uniqueId val="{000001D9-79AF-4F6A-BE28-99AC8AA5F093}"/>
              </c:ext>
            </c:extLst>
          </c:dPt>
          <c:dPt>
            <c:idx val="236"/>
            <c:invertIfNegative val="1"/>
            <c:bubble3D val="0"/>
            <c:spPr>
              <a:solidFill>
                <a:srgbClr val="AEABAB"/>
              </a:solidFill>
            </c:spPr>
            <c:extLst>
              <c:ext xmlns:c16="http://schemas.microsoft.com/office/drawing/2014/chart" uri="{C3380CC4-5D6E-409C-BE32-E72D297353CC}">
                <c16:uniqueId val="{000001DB-79AF-4F6A-BE28-99AC8AA5F093}"/>
              </c:ext>
            </c:extLst>
          </c:dPt>
          <c:dPt>
            <c:idx val="237"/>
            <c:invertIfNegative val="1"/>
            <c:bubble3D val="0"/>
            <c:spPr>
              <a:solidFill>
                <a:srgbClr val="AEABAB"/>
              </a:solidFill>
            </c:spPr>
            <c:extLst>
              <c:ext xmlns:c16="http://schemas.microsoft.com/office/drawing/2014/chart" uri="{C3380CC4-5D6E-409C-BE32-E72D297353CC}">
                <c16:uniqueId val="{000001DD-79AF-4F6A-BE28-99AC8AA5F093}"/>
              </c:ext>
            </c:extLst>
          </c:dPt>
          <c:dPt>
            <c:idx val="238"/>
            <c:invertIfNegative val="1"/>
            <c:bubble3D val="0"/>
            <c:spPr>
              <a:solidFill>
                <a:srgbClr val="AEABAB"/>
              </a:solidFill>
            </c:spPr>
            <c:extLst>
              <c:ext xmlns:c16="http://schemas.microsoft.com/office/drawing/2014/chart" uri="{C3380CC4-5D6E-409C-BE32-E72D297353CC}">
                <c16:uniqueId val="{000001DF-79AF-4F6A-BE28-99AC8AA5F093}"/>
              </c:ext>
            </c:extLst>
          </c:dPt>
          <c:dPt>
            <c:idx val="239"/>
            <c:invertIfNegative val="1"/>
            <c:bubble3D val="0"/>
            <c:spPr>
              <a:solidFill>
                <a:srgbClr val="AEABAB"/>
              </a:solidFill>
            </c:spPr>
            <c:extLst>
              <c:ext xmlns:c16="http://schemas.microsoft.com/office/drawing/2014/chart" uri="{C3380CC4-5D6E-409C-BE32-E72D297353CC}">
                <c16:uniqueId val="{000001E1-79AF-4F6A-BE28-99AC8AA5F093}"/>
              </c:ext>
            </c:extLst>
          </c:dPt>
          <c:dPt>
            <c:idx val="240"/>
            <c:invertIfNegative val="1"/>
            <c:bubble3D val="0"/>
            <c:spPr>
              <a:solidFill>
                <a:srgbClr val="AEABAB"/>
              </a:solidFill>
            </c:spPr>
            <c:extLst>
              <c:ext xmlns:c16="http://schemas.microsoft.com/office/drawing/2014/chart" uri="{C3380CC4-5D6E-409C-BE32-E72D297353CC}">
                <c16:uniqueId val="{000001E3-79AF-4F6A-BE28-99AC8AA5F093}"/>
              </c:ext>
            </c:extLst>
          </c:dPt>
          <c:dPt>
            <c:idx val="241"/>
            <c:invertIfNegative val="1"/>
            <c:bubble3D val="0"/>
            <c:spPr>
              <a:solidFill>
                <a:srgbClr val="AEABAB"/>
              </a:solidFill>
            </c:spPr>
            <c:extLst>
              <c:ext xmlns:c16="http://schemas.microsoft.com/office/drawing/2014/chart" uri="{C3380CC4-5D6E-409C-BE32-E72D297353CC}">
                <c16:uniqueId val="{000001E5-79AF-4F6A-BE28-99AC8AA5F093}"/>
              </c:ext>
            </c:extLst>
          </c:dPt>
          <c:dPt>
            <c:idx val="242"/>
            <c:invertIfNegative val="1"/>
            <c:bubble3D val="0"/>
            <c:spPr>
              <a:solidFill>
                <a:srgbClr val="AEABAB"/>
              </a:solidFill>
            </c:spPr>
            <c:extLst>
              <c:ext xmlns:c16="http://schemas.microsoft.com/office/drawing/2014/chart" uri="{C3380CC4-5D6E-409C-BE32-E72D297353CC}">
                <c16:uniqueId val="{000001E7-79AF-4F6A-BE28-99AC8AA5F093}"/>
              </c:ext>
            </c:extLst>
          </c:dPt>
          <c:dPt>
            <c:idx val="243"/>
            <c:invertIfNegative val="1"/>
            <c:bubble3D val="0"/>
            <c:spPr>
              <a:solidFill>
                <a:srgbClr val="AEABAB"/>
              </a:solidFill>
            </c:spPr>
            <c:extLst>
              <c:ext xmlns:c16="http://schemas.microsoft.com/office/drawing/2014/chart" uri="{C3380CC4-5D6E-409C-BE32-E72D297353CC}">
                <c16:uniqueId val="{000001E9-79AF-4F6A-BE28-99AC8AA5F093}"/>
              </c:ext>
            </c:extLst>
          </c:dPt>
          <c:dPt>
            <c:idx val="244"/>
            <c:invertIfNegative val="1"/>
            <c:bubble3D val="0"/>
            <c:spPr>
              <a:solidFill>
                <a:srgbClr val="AEABAB"/>
              </a:solidFill>
            </c:spPr>
            <c:extLst>
              <c:ext xmlns:c16="http://schemas.microsoft.com/office/drawing/2014/chart" uri="{C3380CC4-5D6E-409C-BE32-E72D297353CC}">
                <c16:uniqueId val="{000001EB-79AF-4F6A-BE28-99AC8AA5F093}"/>
              </c:ext>
            </c:extLst>
          </c:dPt>
          <c:dPt>
            <c:idx val="245"/>
            <c:invertIfNegative val="1"/>
            <c:bubble3D val="0"/>
            <c:spPr>
              <a:solidFill>
                <a:srgbClr val="AEABAB"/>
              </a:solidFill>
            </c:spPr>
            <c:extLst>
              <c:ext xmlns:c16="http://schemas.microsoft.com/office/drawing/2014/chart" uri="{C3380CC4-5D6E-409C-BE32-E72D297353CC}">
                <c16:uniqueId val="{000001ED-79AF-4F6A-BE28-99AC8AA5F093}"/>
              </c:ext>
            </c:extLst>
          </c:dPt>
          <c:dPt>
            <c:idx val="246"/>
            <c:invertIfNegative val="1"/>
            <c:bubble3D val="0"/>
            <c:spPr>
              <a:solidFill>
                <a:srgbClr val="AEABAB"/>
              </a:solidFill>
            </c:spPr>
            <c:extLst>
              <c:ext xmlns:c16="http://schemas.microsoft.com/office/drawing/2014/chart" uri="{C3380CC4-5D6E-409C-BE32-E72D297353CC}">
                <c16:uniqueId val="{000001EF-79AF-4F6A-BE28-99AC8AA5F093}"/>
              </c:ext>
            </c:extLst>
          </c:dPt>
          <c:dPt>
            <c:idx val="247"/>
            <c:invertIfNegative val="1"/>
            <c:bubble3D val="0"/>
            <c:spPr>
              <a:solidFill>
                <a:srgbClr val="AEABAB"/>
              </a:solidFill>
            </c:spPr>
            <c:extLst>
              <c:ext xmlns:c16="http://schemas.microsoft.com/office/drawing/2014/chart" uri="{C3380CC4-5D6E-409C-BE32-E72D297353CC}">
                <c16:uniqueId val="{000001F1-79AF-4F6A-BE28-99AC8AA5F093}"/>
              </c:ext>
            </c:extLst>
          </c:dPt>
          <c:dPt>
            <c:idx val="248"/>
            <c:invertIfNegative val="1"/>
            <c:bubble3D val="0"/>
            <c:spPr>
              <a:solidFill>
                <a:srgbClr val="AEABAB"/>
              </a:solidFill>
            </c:spPr>
            <c:extLst>
              <c:ext xmlns:c16="http://schemas.microsoft.com/office/drawing/2014/chart" uri="{C3380CC4-5D6E-409C-BE32-E72D297353CC}">
                <c16:uniqueId val="{000001F3-79AF-4F6A-BE28-99AC8AA5F093}"/>
              </c:ext>
            </c:extLst>
          </c:dPt>
          <c:dPt>
            <c:idx val="249"/>
            <c:invertIfNegative val="1"/>
            <c:bubble3D val="0"/>
            <c:spPr>
              <a:solidFill>
                <a:srgbClr val="AEABAB"/>
              </a:solidFill>
            </c:spPr>
            <c:extLst>
              <c:ext xmlns:c16="http://schemas.microsoft.com/office/drawing/2014/chart" uri="{C3380CC4-5D6E-409C-BE32-E72D297353CC}">
                <c16:uniqueId val="{000001F5-79AF-4F6A-BE28-99AC8AA5F093}"/>
              </c:ext>
            </c:extLst>
          </c:dPt>
          <c:dPt>
            <c:idx val="250"/>
            <c:invertIfNegative val="1"/>
            <c:bubble3D val="0"/>
            <c:spPr>
              <a:solidFill>
                <a:srgbClr val="AEABAB"/>
              </a:solidFill>
            </c:spPr>
            <c:extLst>
              <c:ext xmlns:c16="http://schemas.microsoft.com/office/drawing/2014/chart" uri="{C3380CC4-5D6E-409C-BE32-E72D297353CC}">
                <c16:uniqueId val="{000001F7-79AF-4F6A-BE28-99AC8AA5F093}"/>
              </c:ext>
            </c:extLst>
          </c:dPt>
          <c:dPt>
            <c:idx val="251"/>
            <c:invertIfNegative val="1"/>
            <c:bubble3D val="0"/>
            <c:spPr>
              <a:solidFill>
                <a:srgbClr val="AEABAB"/>
              </a:solidFill>
            </c:spPr>
            <c:extLst>
              <c:ext xmlns:c16="http://schemas.microsoft.com/office/drawing/2014/chart" uri="{C3380CC4-5D6E-409C-BE32-E72D297353CC}">
                <c16:uniqueId val="{000001F9-79AF-4F6A-BE28-99AC8AA5F093}"/>
              </c:ext>
            </c:extLst>
          </c:dPt>
          <c:dPt>
            <c:idx val="252"/>
            <c:invertIfNegative val="1"/>
            <c:bubble3D val="0"/>
            <c:spPr>
              <a:solidFill>
                <a:srgbClr val="AEABAB"/>
              </a:solidFill>
            </c:spPr>
            <c:extLst>
              <c:ext xmlns:c16="http://schemas.microsoft.com/office/drawing/2014/chart" uri="{C3380CC4-5D6E-409C-BE32-E72D297353CC}">
                <c16:uniqueId val="{000001FB-79AF-4F6A-BE28-99AC8AA5F093}"/>
              </c:ext>
            </c:extLst>
          </c:dPt>
          <c:dPt>
            <c:idx val="253"/>
            <c:invertIfNegative val="1"/>
            <c:bubble3D val="0"/>
            <c:spPr>
              <a:solidFill>
                <a:srgbClr val="AEABAB"/>
              </a:solidFill>
            </c:spPr>
            <c:extLst>
              <c:ext xmlns:c16="http://schemas.microsoft.com/office/drawing/2014/chart" uri="{C3380CC4-5D6E-409C-BE32-E72D297353CC}">
                <c16:uniqueId val="{000001FD-79AF-4F6A-BE28-99AC8AA5F093}"/>
              </c:ext>
            </c:extLst>
          </c:dPt>
          <c:dPt>
            <c:idx val="254"/>
            <c:invertIfNegative val="1"/>
            <c:bubble3D val="0"/>
            <c:spPr>
              <a:solidFill>
                <a:srgbClr val="AEABAB"/>
              </a:solidFill>
            </c:spPr>
            <c:extLst>
              <c:ext xmlns:c16="http://schemas.microsoft.com/office/drawing/2014/chart" uri="{C3380CC4-5D6E-409C-BE32-E72D297353CC}">
                <c16:uniqueId val="{000001FF-79AF-4F6A-BE28-99AC8AA5F093}"/>
              </c:ext>
            </c:extLst>
          </c:dPt>
          <c:dPt>
            <c:idx val="255"/>
            <c:invertIfNegative val="1"/>
            <c:bubble3D val="0"/>
            <c:spPr>
              <a:solidFill>
                <a:srgbClr val="AEABAB"/>
              </a:solidFill>
            </c:spPr>
            <c:extLst>
              <c:ext xmlns:c16="http://schemas.microsoft.com/office/drawing/2014/chart" uri="{C3380CC4-5D6E-409C-BE32-E72D297353CC}">
                <c16:uniqueId val="{00000201-79AF-4F6A-BE28-99AC8AA5F093}"/>
              </c:ext>
            </c:extLst>
          </c:dPt>
          <c:dPt>
            <c:idx val="256"/>
            <c:invertIfNegative val="1"/>
            <c:bubble3D val="0"/>
            <c:spPr>
              <a:solidFill>
                <a:srgbClr val="AEABAB"/>
              </a:solidFill>
            </c:spPr>
            <c:extLst>
              <c:ext xmlns:c16="http://schemas.microsoft.com/office/drawing/2014/chart" uri="{C3380CC4-5D6E-409C-BE32-E72D297353CC}">
                <c16:uniqueId val="{00000203-79AF-4F6A-BE28-99AC8AA5F093}"/>
              </c:ext>
            </c:extLst>
          </c:dPt>
          <c:dPt>
            <c:idx val="257"/>
            <c:invertIfNegative val="1"/>
            <c:bubble3D val="0"/>
            <c:spPr>
              <a:solidFill>
                <a:srgbClr val="AEABAB"/>
              </a:solidFill>
            </c:spPr>
            <c:extLst>
              <c:ext xmlns:c16="http://schemas.microsoft.com/office/drawing/2014/chart" uri="{C3380CC4-5D6E-409C-BE32-E72D297353CC}">
                <c16:uniqueId val="{00000205-79AF-4F6A-BE28-99AC8AA5F093}"/>
              </c:ext>
            </c:extLst>
          </c:dPt>
          <c:dPt>
            <c:idx val="258"/>
            <c:invertIfNegative val="1"/>
            <c:bubble3D val="0"/>
            <c:spPr>
              <a:solidFill>
                <a:srgbClr val="AEABAB"/>
              </a:solidFill>
            </c:spPr>
            <c:extLst>
              <c:ext xmlns:c16="http://schemas.microsoft.com/office/drawing/2014/chart" uri="{C3380CC4-5D6E-409C-BE32-E72D297353CC}">
                <c16:uniqueId val="{00000207-79AF-4F6A-BE28-99AC8AA5F093}"/>
              </c:ext>
            </c:extLst>
          </c:dPt>
          <c:dPt>
            <c:idx val="259"/>
            <c:invertIfNegative val="1"/>
            <c:bubble3D val="0"/>
            <c:spPr>
              <a:solidFill>
                <a:srgbClr val="AEABAB"/>
              </a:solidFill>
            </c:spPr>
            <c:extLst>
              <c:ext xmlns:c16="http://schemas.microsoft.com/office/drawing/2014/chart" uri="{C3380CC4-5D6E-409C-BE32-E72D297353CC}">
                <c16:uniqueId val="{00000209-79AF-4F6A-BE28-99AC8AA5F093}"/>
              </c:ext>
            </c:extLst>
          </c:dPt>
          <c:cat>
            <c:strRef>
              <c:f>Sheet1!$A$2:$A$261</c:f>
              <c:strCache>
                <c:ptCount val="260"/>
                <c:pt idx="0">
                  <c:v>Ruinart</c:v>
                </c:pt>
                <c:pt idx="1">
                  <c:v>Nicolas</c:v>
                </c:pt>
                <c:pt idx="2">
                  <c:v>Deutz</c:v>
                </c:pt>
                <c:pt idx="3">
                  <c:v>Ruinart</c:v>
                </c:pt>
                <c:pt idx="4">
                  <c:v>Heidsieck &amp;</c:v>
                </c:pt>
                <c:pt idx="5">
                  <c:v>De Bligny</c:v>
                </c:pt>
                <c:pt idx="6">
                  <c:v>Laurent Per</c:v>
                </c:pt>
                <c:pt idx="7">
                  <c:v>Malard</c:v>
                </c:pt>
                <c:pt idx="8">
                  <c:v>Ayala</c:v>
                </c:pt>
                <c:pt idx="9">
                  <c:v>Canard Duch</c:v>
                </c:pt>
                <c:pt idx="10">
                  <c:v>Nicolas Feu</c:v>
                </c:pt>
                <c:pt idx="11">
                  <c:v>Bollinger</c:v>
                </c:pt>
                <c:pt idx="12">
                  <c:v>Taittinger</c:v>
                </c:pt>
                <c:pt idx="13">
                  <c:v>Ruinart</c:v>
                </c:pt>
                <c:pt idx="14">
                  <c:v>Ruinart</c:v>
                </c:pt>
                <c:pt idx="15">
                  <c:v>Ruinart</c:v>
                </c:pt>
                <c:pt idx="16">
                  <c:v>Besserat De</c:v>
                </c:pt>
                <c:pt idx="17">
                  <c:v>Ruinart</c:v>
                </c:pt>
                <c:pt idx="18">
                  <c:v>Demoiselle</c:v>
                </c:pt>
                <c:pt idx="19">
                  <c:v>Deutz</c:v>
                </c:pt>
                <c:pt idx="20">
                  <c:v>Malard</c:v>
                </c:pt>
                <c:pt idx="21">
                  <c:v>Bottega</c:v>
                </c:pt>
                <c:pt idx="22">
                  <c:v>Laurent Per</c:v>
                </c:pt>
                <c:pt idx="23">
                  <c:v>Pommery</c:v>
                </c:pt>
                <c:pt idx="24">
                  <c:v>All Others</c:v>
                </c:pt>
                <c:pt idx="25">
                  <c:v>Savian</c:v>
                </c:pt>
                <c:pt idx="26">
                  <c:v>All Others</c:v>
                </c:pt>
                <c:pt idx="27">
                  <c:v>Deutz</c:v>
                </c:pt>
                <c:pt idx="28">
                  <c:v>Roederer</c:v>
                </c:pt>
                <c:pt idx="29">
                  <c:v>Laurent Per</c:v>
                </c:pt>
                <c:pt idx="30">
                  <c:v>Mure</c:v>
                </c:pt>
                <c:pt idx="31">
                  <c:v>Besserat De</c:v>
                </c:pt>
                <c:pt idx="32">
                  <c:v>Ruinart</c:v>
                </c:pt>
                <c:pt idx="33">
                  <c:v>Bouvet-Ladu</c:v>
                </c:pt>
                <c:pt idx="34">
                  <c:v>Campari: Al</c:v>
                </c:pt>
                <c:pt idx="35">
                  <c:v>Dom Perigno</c:v>
                </c:pt>
                <c:pt idx="36">
                  <c:v>Perrier Jou</c:v>
                </c:pt>
                <c:pt idx="37">
                  <c:v>Vesselle</c:v>
                </c:pt>
                <c:pt idx="38">
                  <c:v>Taittinger</c:v>
                </c:pt>
                <c:pt idx="39">
                  <c:v>All Others</c:v>
                </c:pt>
                <c:pt idx="40">
                  <c:v>Demoiselle</c:v>
                </c:pt>
                <c:pt idx="41">
                  <c:v>Veuve Clicq</c:v>
                </c:pt>
                <c:pt idx="42">
                  <c:v>Veuve Clicq</c:v>
                </c:pt>
                <c:pt idx="43">
                  <c:v>Nicolas</c:v>
                </c:pt>
                <c:pt idx="44">
                  <c:v>Henriot</c:v>
                </c:pt>
                <c:pt idx="45">
                  <c:v>Veuve Clicq</c:v>
                </c:pt>
                <c:pt idx="46">
                  <c:v>Dom Perigno</c:v>
                </c:pt>
                <c:pt idx="47">
                  <c:v>Laurent Per</c:v>
                </c:pt>
                <c:pt idx="48">
                  <c:v>Patriarche</c:v>
                </c:pt>
                <c:pt idx="49">
                  <c:v>Moët &amp; Chan</c:v>
                </c:pt>
                <c:pt idx="50">
                  <c:v>Roederer</c:v>
                </c:pt>
                <c:pt idx="51">
                  <c:v>Ruinart</c:v>
                </c:pt>
                <c:pt idx="52">
                  <c:v>Moët &amp; Chan</c:v>
                </c:pt>
                <c:pt idx="53">
                  <c:v>Nicolas</c:v>
                </c:pt>
                <c:pt idx="54">
                  <c:v>All Others</c:v>
                </c:pt>
                <c:pt idx="55">
                  <c:v>Nicolas Feu</c:v>
                </c:pt>
                <c:pt idx="56">
                  <c:v>Malard</c:v>
                </c:pt>
                <c:pt idx="57">
                  <c:v>All Others</c:v>
                </c:pt>
                <c:pt idx="58">
                  <c:v>Deutz</c:v>
                </c:pt>
                <c:pt idx="59">
                  <c:v>De Venoge</c:v>
                </c:pt>
                <c:pt idx="60">
                  <c:v>Canard Duch</c:v>
                </c:pt>
                <c:pt idx="61">
                  <c:v>Nicolas</c:v>
                </c:pt>
                <c:pt idx="62">
                  <c:v>Lyre's</c:v>
                </c:pt>
                <c:pt idx="63">
                  <c:v>Roederer</c:v>
                </c:pt>
                <c:pt idx="64">
                  <c:v>Bollinger</c:v>
                </c:pt>
                <c:pt idx="65">
                  <c:v>De Chanceny</c:v>
                </c:pt>
                <c:pt idx="66">
                  <c:v>Ruinart</c:v>
                </c:pt>
                <c:pt idx="67">
                  <c:v>Malard</c:v>
                </c:pt>
                <c:pt idx="68">
                  <c:v>Malard</c:v>
                </c:pt>
                <c:pt idx="69">
                  <c:v>Roederer</c:v>
                </c:pt>
                <c:pt idx="70">
                  <c:v>Nicolas Feu</c:v>
                </c:pt>
                <c:pt idx="71">
                  <c:v>Lanson</c:v>
                </c:pt>
                <c:pt idx="72">
                  <c:v>Savian</c:v>
                </c:pt>
                <c:pt idx="73">
                  <c:v>Nicolas Feu</c:v>
                </c:pt>
                <c:pt idx="74">
                  <c:v>De Venoge</c:v>
                </c:pt>
                <c:pt idx="75">
                  <c:v>Besserat De</c:v>
                </c:pt>
                <c:pt idx="76">
                  <c:v>Piper Heids</c:v>
                </c:pt>
                <c:pt idx="77">
                  <c:v>Chateau Mon</c:v>
                </c:pt>
                <c:pt idx="78">
                  <c:v>Delamotte</c:v>
                </c:pt>
                <c:pt idx="79">
                  <c:v>De Bligny</c:v>
                </c:pt>
                <c:pt idx="80">
                  <c:v>Henriot</c:v>
                </c:pt>
                <c:pt idx="81">
                  <c:v>Louis Marti</c:v>
                </c:pt>
                <c:pt idx="82">
                  <c:v>Canard Duch</c:v>
                </c:pt>
                <c:pt idx="83">
                  <c:v>Campari: Al</c:v>
                </c:pt>
                <c:pt idx="84">
                  <c:v>All Others</c:v>
                </c:pt>
                <c:pt idx="85">
                  <c:v>Ayala</c:v>
                </c:pt>
                <c:pt idx="86">
                  <c:v>Ruinart</c:v>
                </c:pt>
                <c:pt idx="87">
                  <c:v>Ruinart</c:v>
                </c:pt>
                <c:pt idx="88">
                  <c:v>Moët &amp; Chan</c:v>
                </c:pt>
                <c:pt idx="89">
                  <c:v>Kriter</c:v>
                </c:pt>
                <c:pt idx="90">
                  <c:v>Roederer</c:v>
                </c:pt>
                <c:pt idx="91">
                  <c:v>Nicolas</c:v>
                </c:pt>
                <c:pt idx="92">
                  <c:v>Pommery</c:v>
                </c:pt>
                <c:pt idx="93">
                  <c:v>Roederer</c:v>
                </c:pt>
                <c:pt idx="94">
                  <c:v>De Chanceny</c:v>
                </c:pt>
                <c:pt idx="95">
                  <c:v>Canard Duch</c:v>
                </c:pt>
                <c:pt idx="96">
                  <c:v>Laurent Per</c:v>
                </c:pt>
                <c:pt idx="97">
                  <c:v>Krug</c:v>
                </c:pt>
                <c:pt idx="98">
                  <c:v>Ruinart</c:v>
                </c:pt>
                <c:pt idx="99">
                  <c:v>Deutz</c:v>
                </c:pt>
                <c:pt idx="100">
                  <c:v>Patriarche</c:v>
                </c:pt>
                <c:pt idx="101">
                  <c:v>All Others</c:v>
                </c:pt>
                <c:pt idx="102">
                  <c:v>Ruinart</c:v>
                </c:pt>
                <c:pt idx="103">
                  <c:v>Henriot</c:v>
                </c:pt>
                <c:pt idx="104">
                  <c:v>Vranken</c:v>
                </c:pt>
                <c:pt idx="105">
                  <c:v>Moët &amp; Chan</c:v>
                </c:pt>
                <c:pt idx="106">
                  <c:v>Nicolas</c:v>
                </c:pt>
                <c:pt idx="107">
                  <c:v>All Others</c:v>
                </c:pt>
                <c:pt idx="108">
                  <c:v>De Venoge</c:v>
                </c:pt>
                <c:pt idx="109">
                  <c:v>Dom Perigno</c:v>
                </c:pt>
                <c:pt idx="110">
                  <c:v>Henriot</c:v>
                </c:pt>
                <c:pt idx="111">
                  <c:v>All Others</c:v>
                </c:pt>
                <c:pt idx="112">
                  <c:v>All Others</c:v>
                </c:pt>
                <c:pt idx="113">
                  <c:v>Roederer</c:v>
                </c:pt>
                <c:pt idx="114">
                  <c:v>Bottega</c:v>
                </c:pt>
                <c:pt idx="115">
                  <c:v>Canard Duch</c:v>
                </c:pt>
                <c:pt idx="116">
                  <c:v>Ruinart</c:v>
                </c:pt>
                <c:pt idx="117">
                  <c:v>Nicolas</c:v>
                </c:pt>
                <c:pt idx="118">
                  <c:v>De Venoge</c:v>
                </c:pt>
                <c:pt idx="119">
                  <c:v>All Others</c:v>
                </c:pt>
                <c:pt idx="120">
                  <c:v>Deutz</c:v>
                </c:pt>
                <c:pt idx="121">
                  <c:v>Bollinger</c:v>
                </c:pt>
                <c:pt idx="122">
                  <c:v>Roederer</c:v>
                </c:pt>
                <c:pt idx="123">
                  <c:v>Malard</c:v>
                </c:pt>
                <c:pt idx="124">
                  <c:v>All Others</c:v>
                </c:pt>
                <c:pt idx="125">
                  <c:v>All Others</c:v>
                </c:pt>
                <c:pt idx="126">
                  <c:v>Ruinart</c:v>
                </c:pt>
                <c:pt idx="127">
                  <c:v>Nicolas</c:v>
                </c:pt>
                <c:pt idx="128">
                  <c:v>All Others</c:v>
                </c:pt>
                <c:pt idx="129">
                  <c:v>Deutz</c:v>
                </c:pt>
                <c:pt idx="130">
                  <c:v>Contarini</c:v>
                </c:pt>
                <c:pt idx="131">
                  <c:v>Roederer</c:v>
                </c:pt>
                <c:pt idx="132">
                  <c:v>Nicolas</c:v>
                </c:pt>
                <c:pt idx="133">
                  <c:v>All Others</c:v>
                </c:pt>
                <c:pt idx="134">
                  <c:v>Roederer</c:v>
                </c:pt>
                <c:pt idx="135">
                  <c:v>Pommery</c:v>
                </c:pt>
                <c:pt idx="136">
                  <c:v>Nicolas</c:v>
                </c:pt>
                <c:pt idx="137">
                  <c:v>Pommery</c:v>
                </c:pt>
                <c:pt idx="138">
                  <c:v>Deutz</c:v>
                </c:pt>
                <c:pt idx="139">
                  <c:v>All Others</c:v>
                </c:pt>
                <c:pt idx="140">
                  <c:v>All Others</c:v>
                </c:pt>
                <c:pt idx="141">
                  <c:v>Cru La Maqu</c:v>
                </c:pt>
                <c:pt idx="142">
                  <c:v>Roederer</c:v>
                </c:pt>
                <c:pt idx="143">
                  <c:v>Louis Marti</c:v>
                </c:pt>
                <c:pt idx="144">
                  <c:v>Bollinger</c:v>
                </c:pt>
                <c:pt idx="145">
                  <c:v>All Others</c:v>
                </c:pt>
                <c:pt idx="146">
                  <c:v>Roederer</c:v>
                </c:pt>
                <c:pt idx="147">
                  <c:v>All Others</c:v>
                </c:pt>
                <c:pt idx="148">
                  <c:v>Roederer</c:v>
                </c:pt>
                <c:pt idx="149">
                  <c:v>Besserat De</c:v>
                </c:pt>
                <c:pt idx="150">
                  <c:v>Laurent Per</c:v>
                </c:pt>
                <c:pt idx="151">
                  <c:v>Nicolas</c:v>
                </c:pt>
                <c:pt idx="152">
                  <c:v>Vranken</c:v>
                </c:pt>
                <c:pt idx="153">
                  <c:v>Ruinart</c:v>
                </c:pt>
                <c:pt idx="154">
                  <c:v>Nicolas</c:v>
                </c:pt>
                <c:pt idx="155">
                  <c:v>Piper Heids</c:v>
                </c:pt>
                <c:pt idx="156">
                  <c:v>Laurent Per</c:v>
                </c:pt>
                <c:pt idx="157">
                  <c:v>Roederer</c:v>
                </c:pt>
                <c:pt idx="158">
                  <c:v>All Others</c:v>
                </c:pt>
                <c:pt idx="159">
                  <c:v>Canard Duch</c:v>
                </c:pt>
                <c:pt idx="160">
                  <c:v>All Others</c:v>
                </c:pt>
                <c:pt idx="161">
                  <c:v>Nicolas Feu</c:v>
                </c:pt>
                <c:pt idx="162">
                  <c:v>Veuve Clicq</c:v>
                </c:pt>
                <c:pt idx="163">
                  <c:v>All Others</c:v>
                </c:pt>
                <c:pt idx="164">
                  <c:v>All Others</c:v>
                </c:pt>
                <c:pt idx="165">
                  <c:v>All Others</c:v>
                </c:pt>
                <c:pt idx="166">
                  <c:v>Ruinart</c:v>
                </c:pt>
                <c:pt idx="167">
                  <c:v>Nicolas</c:v>
                </c:pt>
                <c:pt idx="168">
                  <c:v>Nicolas</c:v>
                </c:pt>
                <c:pt idx="169">
                  <c:v>Nicolas</c:v>
                </c:pt>
                <c:pt idx="170">
                  <c:v>Bouvet-Ladu</c:v>
                </c:pt>
                <c:pt idx="171">
                  <c:v>All Others</c:v>
                </c:pt>
                <c:pt idx="172">
                  <c:v>Demoiselle</c:v>
                </c:pt>
                <c:pt idx="173">
                  <c:v>Nicolas</c:v>
                </c:pt>
                <c:pt idx="174">
                  <c:v>Moët &amp; Chan</c:v>
                </c:pt>
                <c:pt idx="175">
                  <c:v>Henriot</c:v>
                </c:pt>
                <c:pt idx="176">
                  <c:v>Pommery</c:v>
                </c:pt>
                <c:pt idx="177">
                  <c:v>All Others</c:v>
                </c:pt>
                <c:pt idx="178">
                  <c:v>Bouvet-Ladu</c:v>
                </c:pt>
                <c:pt idx="179">
                  <c:v>Laurent Per</c:v>
                </c:pt>
                <c:pt idx="180">
                  <c:v>All Others</c:v>
                </c:pt>
                <c:pt idx="181">
                  <c:v>Henriot</c:v>
                </c:pt>
                <c:pt idx="182">
                  <c:v>Lanson</c:v>
                </c:pt>
                <c:pt idx="183">
                  <c:v>Besserat De</c:v>
                </c:pt>
                <c:pt idx="184">
                  <c:v>Canard Duch</c:v>
                </c:pt>
                <c:pt idx="185">
                  <c:v>All Others</c:v>
                </c:pt>
                <c:pt idx="186">
                  <c:v>All Others</c:v>
                </c:pt>
                <c:pt idx="187">
                  <c:v>Pommery</c:v>
                </c:pt>
                <c:pt idx="188">
                  <c:v>Demoiselle</c:v>
                </c:pt>
                <c:pt idx="189">
                  <c:v>Pommery</c:v>
                </c:pt>
                <c:pt idx="190">
                  <c:v>Delamotte</c:v>
                </c:pt>
                <c:pt idx="191">
                  <c:v>Dom Perigno</c:v>
                </c:pt>
                <c:pt idx="192">
                  <c:v>All Others</c:v>
                </c:pt>
                <c:pt idx="193">
                  <c:v>Nicolas</c:v>
                </c:pt>
                <c:pt idx="194">
                  <c:v>Roederer</c:v>
                </c:pt>
                <c:pt idx="195">
                  <c:v>All Others</c:v>
                </c:pt>
                <c:pt idx="196">
                  <c:v>Perrier Jou</c:v>
                </c:pt>
                <c:pt idx="197">
                  <c:v>All Others</c:v>
                </c:pt>
                <c:pt idx="198">
                  <c:v>Nicolas</c:v>
                </c:pt>
                <c:pt idx="199">
                  <c:v>Ruinart</c:v>
                </c:pt>
                <c:pt idx="200">
                  <c:v>Taittinger</c:v>
                </c:pt>
                <c:pt idx="201">
                  <c:v>Taittinger</c:v>
                </c:pt>
                <c:pt idx="202">
                  <c:v>Contarini</c:v>
                </c:pt>
                <c:pt idx="203">
                  <c:v>Ruinart</c:v>
                </c:pt>
                <c:pt idx="204">
                  <c:v>Ruinart</c:v>
                </c:pt>
                <c:pt idx="205">
                  <c:v>Bollinger</c:v>
                </c:pt>
                <c:pt idx="206">
                  <c:v>Bouvet-Ladu</c:v>
                </c:pt>
                <c:pt idx="207">
                  <c:v>Martel</c:v>
                </c:pt>
                <c:pt idx="208">
                  <c:v>Perrier Jou</c:v>
                </c:pt>
                <c:pt idx="209">
                  <c:v>Vesselle</c:v>
                </c:pt>
                <c:pt idx="210">
                  <c:v>Taittinger</c:v>
                </c:pt>
                <c:pt idx="211">
                  <c:v>Lanson</c:v>
                </c:pt>
                <c:pt idx="212">
                  <c:v>All Others</c:v>
                </c:pt>
                <c:pt idx="213">
                  <c:v>Roederer</c:v>
                </c:pt>
                <c:pt idx="214">
                  <c:v>Vesselle</c:v>
                </c:pt>
                <c:pt idx="215">
                  <c:v>All Others</c:v>
                </c:pt>
                <c:pt idx="216">
                  <c:v>Piper Heids</c:v>
                </c:pt>
                <c:pt idx="217">
                  <c:v>Pommery</c:v>
                </c:pt>
                <c:pt idx="218">
                  <c:v>All Others</c:v>
                </c:pt>
                <c:pt idx="219">
                  <c:v>All Others</c:v>
                </c:pt>
                <c:pt idx="220">
                  <c:v>All Others</c:v>
                </c:pt>
                <c:pt idx="221">
                  <c:v>All Others</c:v>
                </c:pt>
                <c:pt idx="222">
                  <c:v>De Venoge</c:v>
                </c:pt>
                <c:pt idx="223">
                  <c:v>All Others</c:v>
                </c:pt>
                <c:pt idx="224">
                  <c:v>Laurent Per</c:v>
                </c:pt>
                <c:pt idx="225">
                  <c:v>De Venoge</c:v>
                </c:pt>
                <c:pt idx="226">
                  <c:v>All Others</c:v>
                </c:pt>
                <c:pt idx="227">
                  <c:v>All Others</c:v>
                </c:pt>
                <c:pt idx="228">
                  <c:v>Moët &amp; Chan</c:v>
                </c:pt>
                <c:pt idx="229">
                  <c:v>Laurent Per</c:v>
                </c:pt>
                <c:pt idx="230">
                  <c:v>Vranken</c:v>
                </c:pt>
                <c:pt idx="231">
                  <c:v>All Others</c:v>
                </c:pt>
                <c:pt idx="232">
                  <c:v>All Others</c:v>
                </c:pt>
                <c:pt idx="233">
                  <c:v>Nicolas Feu</c:v>
                </c:pt>
                <c:pt idx="234">
                  <c:v>Nicolas</c:v>
                </c:pt>
                <c:pt idx="235">
                  <c:v>Roederer</c:v>
                </c:pt>
                <c:pt idx="236">
                  <c:v>Perrier Jou</c:v>
                </c:pt>
                <c:pt idx="237">
                  <c:v>All Others</c:v>
                </c:pt>
                <c:pt idx="238">
                  <c:v>Nicolas</c:v>
                </c:pt>
                <c:pt idx="239">
                  <c:v>Malard</c:v>
                </c:pt>
                <c:pt idx="240">
                  <c:v>Nicolas</c:v>
                </c:pt>
                <c:pt idx="241">
                  <c:v>De Venoge</c:v>
                </c:pt>
                <c:pt idx="242">
                  <c:v>Ayala</c:v>
                </c:pt>
                <c:pt idx="243">
                  <c:v>Jaillance</c:v>
                </c:pt>
                <c:pt idx="244">
                  <c:v>Ayala</c:v>
                </c:pt>
                <c:pt idx="245">
                  <c:v>Celene</c:v>
                </c:pt>
                <c:pt idx="246">
                  <c:v>Laurent Per</c:v>
                </c:pt>
                <c:pt idx="247">
                  <c:v>All Others</c:v>
                </c:pt>
                <c:pt idx="248">
                  <c:v>Celene</c:v>
                </c:pt>
                <c:pt idx="249">
                  <c:v>Canard Duch</c:v>
                </c:pt>
                <c:pt idx="250">
                  <c:v>Bollinger</c:v>
                </c:pt>
                <c:pt idx="251">
                  <c:v>All Others</c:v>
                </c:pt>
                <c:pt idx="252">
                  <c:v>Nicolas</c:v>
                </c:pt>
                <c:pt idx="253">
                  <c:v>All Others</c:v>
                </c:pt>
                <c:pt idx="254">
                  <c:v>Vranken</c:v>
                </c:pt>
                <c:pt idx="255">
                  <c:v>All Others</c:v>
                </c:pt>
                <c:pt idx="256">
                  <c:v>Bollinger</c:v>
                </c:pt>
                <c:pt idx="257">
                  <c:v>All Others</c:v>
                </c:pt>
                <c:pt idx="258">
                  <c:v>All Others</c:v>
                </c:pt>
                <c:pt idx="259">
                  <c:v>All Others</c:v>
                </c:pt>
              </c:strCache>
            </c:strRef>
          </c:cat>
          <c:val>
            <c:numRef>
              <c:f>Sheet1!$C$2:$C$261</c:f>
              <c:numCache>
                <c:formatCode>General</c:formatCode>
                <c:ptCount val="260"/>
                <c:pt idx="0">
                  <c:v>0.10948259647802909</c:v>
                </c:pt>
                <c:pt idx="1">
                  <c:v>0.17660314804573565</c:v>
                </c:pt>
                <c:pt idx="2">
                  <c:v>0.22574469219950535</c:v>
                </c:pt>
                <c:pt idx="3">
                  <c:v>0.2692745514722602</c:v>
                </c:pt>
                <c:pt idx="4">
                  <c:v>0.30770925913969138</c:v>
                </c:pt>
                <c:pt idx="5">
                  <c:v>0.33988029902785072</c:v>
                </c:pt>
                <c:pt idx="6">
                  <c:v>0.36872475233071605</c:v>
                </c:pt>
                <c:pt idx="7">
                  <c:v>0.39546728014350641</c:v>
                </c:pt>
                <c:pt idx="8">
                  <c:v>0.41804525842103635</c:v>
                </c:pt>
                <c:pt idx="9">
                  <c:v>0.44047796171477815</c:v>
                </c:pt>
                <c:pt idx="10">
                  <c:v>0.46233798681155797</c:v>
                </c:pt>
                <c:pt idx="11">
                  <c:v>0.48001661889669611</c:v>
                </c:pt>
                <c:pt idx="12">
                  <c:v>0.49641795402292394</c:v>
                </c:pt>
                <c:pt idx="13">
                  <c:v>0.51279963842670695</c:v>
                </c:pt>
                <c:pt idx="14">
                  <c:v>0.52698816184334996</c:v>
                </c:pt>
                <c:pt idx="15">
                  <c:v>0.54078367081109746</c:v>
                </c:pt>
                <c:pt idx="16">
                  <c:v>0.55453987833395546</c:v>
                </c:pt>
                <c:pt idx="17">
                  <c:v>0.56809677138630221</c:v>
                </c:pt>
                <c:pt idx="18">
                  <c:v>0.58122205035637975</c:v>
                </c:pt>
                <c:pt idx="19">
                  <c:v>0.59386378119201266</c:v>
                </c:pt>
                <c:pt idx="20">
                  <c:v>0.60296978561061798</c:v>
                </c:pt>
                <c:pt idx="21">
                  <c:v>0.61176418571617042</c:v>
                </c:pt>
                <c:pt idx="22">
                  <c:v>0.62048489561255493</c:v>
                </c:pt>
                <c:pt idx="23">
                  <c:v>0.62871433744782013</c:v>
                </c:pt>
                <c:pt idx="24">
                  <c:v>0.63677323908472527</c:v>
                </c:pt>
                <c:pt idx="25">
                  <c:v>0.64453597626192705</c:v>
                </c:pt>
                <c:pt idx="26">
                  <c:v>0.65210711889529227</c:v>
                </c:pt>
                <c:pt idx="27">
                  <c:v>0.65957509523582247</c:v>
                </c:pt>
                <c:pt idx="28">
                  <c:v>0.66700798100055836</c:v>
                </c:pt>
                <c:pt idx="29">
                  <c:v>0.67431734793849862</c:v>
                </c:pt>
                <c:pt idx="30">
                  <c:v>0.68154881379817567</c:v>
                </c:pt>
                <c:pt idx="31">
                  <c:v>0.6887206256790025</c:v>
                </c:pt>
                <c:pt idx="32">
                  <c:v>0.69573523178027108</c:v>
                </c:pt>
                <c:pt idx="33">
                  <c:v>0.70271474730574546</c:v>
                </c:pt>
                <c:pt idx="34">
                  <c:v>0.70945424329278717</c:v>
                </c:pt>
                <c:pt idx="35">
                  <c:v>0.71602109364692124</c:v>
                </c:pt>
                <c:pt idx="36">
                  <c:v>0.72253320270281629</c:v>
                </c:pt>
                <c:pt idx="37">
                  <c:v>0.72878143062873868</c:v>
                </c:pt>
                <c:pt idx="38">
                  <c:v>0.7347770064089425</c:v>
                </c:pt>
                <c:pt idx="39">
                  <c:v>0.74073959704789982</c:v>
                </c:pt>
                <c:pt idx="40">
                  <c:v>0.74647760800177398</c:v>
                </c:pt>
                <c:pt idx="41">
                  <c:v>0.75216228128044083</c:v>
                </c:pt>
                <c:pt idx="42">
                  <c:v>0.75772834841292314</c:v>
                </c:pt>
                <c:pt idx="43">
                  <c:v>0.76328529199569894</c:v>
                </c:pt>
                <c:pt idx="44">
                  <c:v>0.76870959320197263</c:v>
                </c:pt>
                <c:pt idx="45">
                  <c:v>0.7741079273821585</c:v>
                </c:pt>
                <c:pt idx="46">
                  <c:v>0.77947608366716137</c:v>
                </c:pt>
                <c:pt idx="47">
                  <c:v>0.78481336024546533</c:v>
                </c:pt>
                <c:pt idx="48">
                  <c:v>0.78996044590296444</c:v>
                </c:pt>
                <c:pt idx="49">
                  <c:v>0.79490611165540459</c:v>
                </c:pt>
                <c:pt idx="50">
                  <c:v>0.79963702308398399</c:v>
                </c:pt>
                <c:pt idx="51">
                  <c:v>0.80418476170691755</c:v>
                </c:pt>
                <c:pt idx="52">
                  <c:v>0.80853809853995096</c:v>
                </c:pt>
                <c:pt idx="53">
                  <c:v>0.81278686545711754</c:v>
                </c:pt>
                <c:pt idx="54">
                  <c:v>0.81696545122269559</c:v>
                </c:pt>
                <c:pt idx="55">
                  <c:v>0.82108789206700294</c:v>
                </c:pt>
                <c:pt idx="56">
                  <c:v>0.82517103146642068</c:v>
                </c:pt>
                <c:pt idx="57">
                  <c:v>0.82889975605031663</c:v>
                </c:pt>
                <c:pt idx="58">
                  <c:v>0.83248952195406734</c:v>
                </c:pt>
                <c:pt idx="59">
                  <c:v>0.83592278388977581</c:v>
                </c:pt>
                <c:pt idx="60">
                  <c:v>0.83926621395145096</c:v>
                </c:pt>
                <c:pt idx="61">
                  <c:v>0.84256121901853009</c:v>
                </c:pt>
                <c:pt idx="62">
                  <c:v>0.84567515671451099</c:v>
                </c:pt>
                <c:pt idx="63">
                  <c:v>0.84878769078746008</c:v>
                </c:pt>
                <c:pt idx="64">
                  <c:v>0.85183355276640016</c:v>
                </c:pt>
                <c:pt idx="65">
                  <c:v>0.85483379699680773</c:v>
                </c:pt>
                <c:pt idx="66">
                  <c:v>0.85778140536352387</c:v>
                </c:pt>
                <c:pt idx="67">
                  <c:v>0.86067848330109631</c:v>
                </c:pt>
                <c:pt idx="68">
                  <c:v>0.86357485942715284</c:v>
                </c:pt>
                <c:pt idx="69">
                  <c:v>0.86642000331254987</c:v>
                </c:pt>
                <c:pt idx="70">
                  <c:v>0.86922724937608908</c:v>
                </c:pt>
                <c:pt idx="71">
                  <c:v>0.8720295827590171</c:v>
                </c:pt>
                <c:pt idx="72">
                  <c:v>0.87480665092737331</c:v>
                </c:pt>
                <c:pt idx="73">
                  <c:v>0.87755003214296701</c:v>
                </c:pt>
                <c:pt idx="74">
                  <c:v>0.8802737626361159</c:v>
                </c:pt>
                <c:pt idx="75">
                  <c:v>0.88288801053278676</c:v>
                </c:pt>
                <c:pt idx="76">
                  <c:v>0.88543909539302801</c:v>
                </c:pt>
                <c:pt idx="77">
                  <c:v>0.88797052953082445</c:v>
                </c:pt>
                <c:pt idx="78">
                  <c:v>0.89039107744911117</c:v>
                </c:pt>
                <c:pt idx="79">
                  <c:v>0.89277583298008767</c:v>
                </c:pt>
                <c:pt idx="80">
                  <c:v>0.89511988344314286</c:v>
                </c:pt>
                <c:pt idx="81">
                  <c:v>0.89745551216800745</c:v>
                </c:pt>
                <c:pt idx="82">
                  <c:v>0.89979043908135614</c:v>
                </c:pt>
                <c:pt idx="83">
                  <c:v>0.90212185693712543</c:v>
                </c:pt>
                <c:pt idx="84">
                  <c:v>0.90440765704436221</c:v>
                </c:pt>
                <c:pt idx="85">
                  <c:v>0.90665064664913009</c:v>
                </c:pt>
                <c:pt idx="86">
                  <c:v>0.90881503336411884</c:v>
                </c:pt>
                <c:pt idx="87">
                  <c:v>0.91097661283304399</c:v>
                </c:pt>
                <c:pt idx="88">
                  <c:v>0.91313257780984214</c:v>
                </c:pt>
                <c:pt idx="89">
                  <c:v>0.91518046381319396</c:v>
                </c:pt>
                <c:pt idx="90">
                  <c:v>0.91715185236131436</c:v>
                </c:pt>
                <c:pt idx="91">
                  <c:v>0.91910218656395826</c:v>
                </c:pt>
                <c:pt idx="92">
                  <c:v>0.92102795736354615</c:v>
                </c:pt>
                <c:pt idx="93">
                  <c:v>0.92293969193281633</c:v>
                </c:pt>
                <c:pt idx="94">
                  <c:v>0.92481633592629231</c:v>
                </c:pt>
                <c:pt idx="95">
                  <c:v>0.92662630782575917</c:v>
                </c:pt>
                <c:pt idx="96">
                  <c:v>0.92842434892945602</c:v>
                </c:pt>
                <c:pt idx="97">
                  <c:v>0.93018238677674747</c:v>
                </c:pt>
                <c:pt idx="98">
                  <c:v>0.93192709020523712</c:v>
                </c:pt>
                <c:pt idx="99">
                  <c:v>0.93354406393783573</c:v>
                </c:pt>
                <c:pt idx="100">
                  <c:v>0.93507611847701222</c:v>
                </c:pt>
                <c:pt idx="101">
                  <c:v>0.93660466395860931</c:v>
                </c:pt>
                <c:pt idx="102">
                  <c:v>0.9381254895135317</c:v>
                </c:pt>
                <c:pt idx="103">
                  <c:v>0.93954174515258726</c:v>
                </c:pt>
                <c:pt idx="104">
                  <c:v>0.94093835006919802</c:v>
                </c:pt>
                <c:pt idx="105">
                  <c:v>0.94232442781307046</c:v>
                </c:pt>
                <c:pt idx="106">
                  <c:v>0.94366629143144221</c:v>
                </c:pt>
                <c:pt idx="107">
                  <c:v>0.94493727208670963</c:v>
                </c:pt>
                <c:pt idx="108">
                  <c:v>0.94620193643833406</c:v>
                </c:pt>
                <c:pt idx="109">
                  <c:v>0.94746449535541077</c:v>
                </c:pt>
                <c:pt idx="110">
                  <c:v>0.94871512347671749</c:v>
                </c:pt>
                <c:pt idx="111">
                  <c:v>0.94990609761917399</c:v>
                </c:pt>
                <c:pt idx="112">
                  <c:v>0.95105496307067738</c:v>
                </c:pt>
                <c:pt idx="113">
                  <c:v>0.95220242489914908</c:v>
                </c:pt>
                <c:pt idx="114">
                  <c:v>0.95330988347121526</c:v>
                </c:pt>
                <c:pt idx="115">
                  <c:v>0.95437102248323313</c:v>
                </c:pt>
                <c:pt idx="116">
                  <c:v>0.9553900528042979</c:v>
                </c:pt>
                <c:pt idx="117">
                  <c:v>0.95640557406778326</c:v>
                </c:pt>
                <c:pt idx="118">
                  <c:v>0.95738951381305371</c:v>
                </c:pt>
                <c:pt idx="119">
                  <c:v>0.95836924268922885</c:v>
                </c:pt>
                <c:pt idx="120">
                  <c:v>0.95930124838232389</c:v>
                </c:pt>
                <c:pt idx="121">
                  <c:v>0.96023325407541893</c:v>
                </c:pt>
                <c:pt idx="122">
                  <c:v>0.96115473259577566</c:v>
                </c:pt>
                <c:pt idx="123">
                  <c:v>0.96197023757723377</c:v>
                </c:pt>
                <c:pt idx="124">
                  <c:v>0.96277240813989007</c:v>
                </c:pt>
                <c:pt idx="125">
                  <c:v>0.96354580443039517</c:v>
                </c:pt>
                <c:pt idx="126">
                  <c:v>0.96431358622877317</c:v>
                </c:pt>
                <c:pt idx="127">
                  <c:v>0.96505189194348395</c:v>
                </c:pt>
                <c:pt idx="128">
                  <c:v>0.96578949584667884</c:v>
                </c:pt>
                <c:pt idx="129">
                  <c:v>0.96652148525774673</c:v>
                </c:pt>
                <c:pt idx="130">
                  <c:v>0.96724014025001281</c:v>
                </c:pt>
                <c:pt idx="131">
                  <c:v>0.96795458437318349</c:v>
                </c:pt>
                <c:pt idx="132">
                  <c:v>0.96863604335510767</c:v>
                </c:pt>
                <c:pt idx="133">
                  <c:v>0.96931680052551594</c:v>
                </c:pt>
                <c:pt idx="134">
                  <c:v>0.96999475044986061</c:v>
                </c:pt>
                <c:pt idx="135">
                  <c:v>0.97066568225904648</c:v>
                </c:pt>
                <c:pt idx="136">
                  <c:v>0.97133591225671645</c:v>
                </c:pt>
                <c:pt idx="137">
                  <c:v>0.97199280783558462</c:v>
                </c:pt>
                <c:pt idx="138">
                  <c:v>0.97264549254535748</c:v>
                </c:pt>
                <c:pt idx="139">
                  <c:v>0.97326940298297904</c:v>
                </c:pt>
                <c:pt idx="140">
                  <c:v>0.9738919097975689</c:v>
                </c:pt>
                <c:pt idx="141">
                  <c:v>0.97451371480064286</c:v>
                </c:pt>
                <c:pt idx="142">
                  <c:v>0.97512358900794671</c:v>
                </c:pt>
                <c:pt idx="143">
                  <c:v>0.97572574328857586</c:v>
                </c:pt>
                <c:pt idx="144">
                  <c:v>0.97632509032314152</c:v>
                </c:pt>
                <c:pt idx="145">
                  <c:v>0.97689496127403996</c:v>
                </c:pt>
                <c:pt idx="146">
                  <c:v>0.97746132316735901</c:v>
                </c:pt>
                <c:pt idx="147">
                  <c:v>0.97801505245339215</c:v>
                </c:pt>
                <c:pt idx="148">
                  <c:v>0.97856316724729819</c:v>
                </c:pt>
                <c:pt idx="149">
                  <c:v>0.97910496573756123</c:v>
                </c:pt>
                <c:pt idx="150">
                  <c:v>0.97964676422782426</c:v>
                </c:pt>
                <c:pt idx="151">
                  <c:v>0.9801808427914126</c:v>
                </c:pt>
                <c:pt idx="152">
                  <c:v>0.98070860505135793</c:v>
                </c:pt>
                <c:pt idx="153">
                  <c:v>0.98122794557311266</c:v>
                </c:pt>
                <c:pt idx="154">
                  <c:v>0.98174377703728799</c:v>
                </c:pt>
                <c:pt idx="155">
                  <c:v>0.98225960850146332</c:v>
                </c:pt>
                <c:pt idx="156">
                  <c:v>0.98277333453109095</c:v>
                </c:pt>
                <c:pt idx="157">
                  <c:v>0.98327863882252797</c:v>
                </c:pt>
                <c:pt idx="158">
                  <c:v>0.983772012318195</c:v>
                </c:pt>
                <c:pt idx="159">
                  <c:v>0.98425205139506022</c:v>
                </c:pt>
                <c:pt idx="160">
                  <c:v>0.98472226511070304</c:v>
                </c:pt>
                <c:pt idx="161">
                  <c:v>0.98516159911964696</c:v>
                </c:pt>
                <c:pt idx="162">
                  <c:v>0.98559110776736847</c:v>
                </c:pt>
                <c:pt idx="163">
                  <c:v>0.98601851098054227</c:v>
                </c:pt>
                <c:pt idx="164">
                  <c:v>0.98641994716762837</c:v>
                </c:pt>
                <c:pt idx="165">
                  <c:v>0.98681787429713508</c:v>
                </c:pt>
                <c:pt idx="166">
                  <c:v>0.98720808149996708</c:v>
                </c:pt>
                <c:pt idx="167">
                  <c:v>0.98757442711125898</c:v>
                </c:pt>
                <c:pt idx="168">
                  <c:v>0.98793515823042377</c:v>
                </c:pt>
                <c:pt idx="169">
                  <c:v>0.98829588934958856</c:v>
                </c:pt>
                <c:pt idx="170">
                  <c:v>0.98865662046875336</c:v>
                </c:pt>
                <c:pt idx="171">
                  <c:v>0.98900892984972755</c:v>
                </c:pt>
                <c:pt idx="172">
                  <c:v>0.98936053741918584</c:v>
                </c:pt>
                <c:pt idx="173">
                  <c:v>0.98970021419287413</c:v>
                </c:pt>
                <c:pt idx="174">
                  <c:v>0.99001602937502231</c:v>
                </c:pt>
                <c:pt idx="175">
                  <c:v>0.99029605216986039</c:v>
                </c:pt>
                <c:pt idx="176">
                  <c:v>0.99057116228408726</c:v>
                </c:pt>
                <c:pt idx="177">
                  <c:v>0.99084206152921883</c:v>
                </c:pt>
                <c:pt idx="178">
                  <c:v>0.9910982227325168</c:v>
                </c:pt>
                <c:pt idx="179">
                  <c:v>0.99134034770549706</c:v>
                </c:pt>
                <c:pt idx="180">
                  <c:v>0.99158177086696142</c:v>
                </c:pt>
                <c:pt idx="181">
                  <c:v>0.99181828134781458</c:v>
                </c:pt>
                <c:pt idx="182">
                  <c:v>0.99204987914805653</c:v>
                </c:pt>
                <c:pt idx="183">
                  <c:v>0.99227656426768729</c:v>
                </c:pt>
                <c:pt idx="184">
                  <c:v>0.99248921315700034</c:v>
                </c:pt>
                <c:pt idx="185">
                  <c:v>0.99269975661176579</c:v>
                </c:pt>
                <c:pt idx="186">
                  <c:v>0.99290117651682475</c:v>
                </c:pt>
                <c:pt idx="187">
                  <c:v>0.9931011927988519</c:v>
                </c:pt>
                <c:pt idx="188">
                  <c:v>0.99329419096572025</c:v>
                </c:pt>
                <c:pt idx="189">
                  <c:v>0.9934871891325886</c:v>
                </c:pt>
                <c:pt idx="190">
                  <c:v>0.99368018729945695</c:v>
                </c:pt>
                <c:pt idx="191">
                  <c:v>0.9938731854663253</c:v>
                </c:pt>
                <c:pt idx="192">
                  <c:v>0.99405004196832825</c:v>
                </c:pt>
                <c:pt idx="193">
                  <c:v>0.99422479303578359</c:v>
                </c:pt>
                <c:pt idx="194">
                  <c:v>0.99439743866869124</c:v>
                </c:pt>
                <c:pt idx="195">
                  <c:v>0.99456938249008298</c:v>
                </c:pt>
                <c:pt idx="196">
                  <c:v>0.99474132631147472</c:v>
                </c:pt>
                <c:pt idx="197">
                  <c:v>0.99490905926377116</c:v>
                </c:pt>
                <c:pt idx="198">
                  <c:v>0.99507468678152</c:v>
                </c:pt>
                <c:pt idx="199">
                  <c:v>0.99523961248775294</c:v>
                </c:pt>
                <c:pt idx="200">
                  <c:v>0.99540173094792228</c:v>
                </c:pt>
                <c:pt idx="201">
                  <c:v>0.99556384940809162</c:v>
                </c:pt>
                <c:pt idx="202">
                  <c:v>0.99571544069552276</c:v>
                </c:pt>
                <c:pt idx="203">
                  <c:v>0.9958670319829539</c:v>
                </c:pt>
                <c:pt idx="204">
                  <c:v>0.99601792145886914</c:v>
                </c:pt>
                <c:pt idx="205">
                  <c:v>0.99616530187720498</c:v>
                </c:pt>
                <c:pt idx="206">
                  <c:v>0.99630426055735022</c:v>
                </c:pt>
                <c:pt idx="207">
                  <c:v>0.99644251742597956</c:v>
                </c:pt>
                <c:pt idx="208">
                  <c:v>0.99657586161399769</c:v>
                </c:pt>
                <c:pt idx="209">
                  <c:v>0.99670710036746812</c:v>
                </c:pt>
                <c:pt idx="210">
                  <c:v>0.99683623368639096</c:v>
                </c:pt>
                <c:pt idx="211">
                  <c:v>0.99696185794773429</c:v>
                </c:pt>
                <c:pt idx="212">
                  <c:v>0.99708678039756182</c:v>
                </c:pt>
                <c:pt idx="213">
                  <c:v>0.99721029922435755</c:v>
                </c:pt>
                <c:pt idx="214">
                  <c:v>0.99733311623963739</c:v>
                </c:pt>
                <c:pt idx="215">
                  <c:v>0.99745523144340131</c:v>
                </c:pt>
                <c:pt idx="216">
                  <c:v>0.99757664483564934</c:v>
                </c:pt>
                <c:pt idx="217">
                  <c:v>0.99769735641638158</c:v>
                </c:pt>
                <c:pt idx="218">
                  <c:v>0.99781666437408201</c:v>
                </c:pt>
                <c:pt idx="219">
                  <c:v>0.99793246327420304</c:v>
                </c:pt>
                <c:pt idx="220">
                  <c:v>0.99803633137855396</c:v>
                </c:pt>
                <c:pt idx="221">
                  <c:v>0.99813037412168248</c:v>
                </c:pt>
                <c:pt idx="222">
                  <c:v>0.99822160961874751</c:v>
                </c:pt>
                <c:pt idx="223">
                  <c:v>0.99831214330429663</c:v>
                </c:pt>
                <c:pt idx="224">
                  <c:v>0.99840267698984575</c:v>
                </c:pt>
                <c:pt idx="225">
                  <c:v>0.99849250886387897</c:v>
                </c:pt>
                <c:pt idx="226">
                  <c:v>0.99856830450759448</c:v>
                </c:pt>
                <c:pt idx="227">
                  <c:v>0.9986405910937306</c:v>
                </c:pt>
                <c:pt idx="228">
                  <c:v>0.99871077224531912</c:v>
                </c:pt>
                <c:pt idx="229">
                  <c:v>0.99878025158539174</c:v>
                </c:pt>
                <c:pt idx="230">
                  <c:v>0.99884832730243256</c:v>
                </c:pt>
                <c:pt idx="231">
                  <c:v>0.99891429758492578</c:v>
                </c:pt>
                <c:pt idx="232">
                  <c:v>0.99897605699832359</c:v>
                </c:pt>
                <c:pt idx="233">
                  <c:v>0.9990378164117214</c:v>
                </c:pt>
                <c:pt idx="234">
                  <c:v>0.99909536495602391</c:v>
                </c:pt>
                <c:pt idx="235">
                  <c:v>0.99915291350032642</c:v>
                </c:pt>
                <c:pt idx="236">
                  <c:v>0.99920905842159724</c:v>
                </c:pt>
                <c:pt idx="237">
                  <c:v>0.99926520334286806</c:v>
                </c:pt>
                <c:pt idx="238">
                  <c:v>0.99931994464110707</c:v>
                </c:pt>
                <c:pt idx="239">
                  <c:v>0.99937328231631428</c:v>
                </c:pt>
                <c:pt idx="240">
                  <c:v>0.99942591818000559</c:v>
                </c:pt>
                <c:pt idx="241">
                  <c:v>0.9994785540436969</c:v>
                </c:pt>
                <c:pt idx="242">
                  <c:v>0.99952627722677712</c:v>
                </c:pt>
                <c:pt idx="243">
                  <c:v>0.99956628048318252</c:v>
                </c:pt>
                <c:pt idx="244">
                  <c:v>0.99960488011655624</c:v>
                </c:pt>
                <c:pt idx="245">
                  <c:v>0.99964277793841405</c:v>
                </c:pt>
                <c:pt idx="246">
                  <c:v>0.99967786851420826</c:v>
                </c:pt>
                <c:pt idx="247">
                  <c:v>0.99971295909000246</c:v>
                </c:pt>
                <c:pt idx="248">
                  <c:v>0.99974664604276497</c:v>
                </c:pt>
                <c:pt idx="249">
                  <c:v>0.99977612212643219</c:v>
                </c:pt>
                <c:pt idx="250">
                  <c:v>0.9998055982100994</c:v>
                </c:pt>
                <c:pt idx="251">
                  <c:v>0.99983437248225071</c:v>
                </c:pt>
                <c:pt idx="252">
                  <c:v>0.99986314675440202</c:v>
                </c:pt>
                <c:pt idx="253">
                  <c:v>0.99989051740352153</c:v>
                </c:pt>
                <c:pt idx="254">
                  <c:v>0.99991788805264104</c:v>
                </c:pt>
                <c:pt idx="255">
                  <c:v>0.99994174964418114</c:v>
                </c:pt>
                <c:pt idx="256">
                  <c:v>0.99996420761268945</c:v>
                </c:pt>
                <c:pt idx="257">
                  <c:v>0.99998456014665016</c:v>
                </c:pt>
                <c:pt idx="258">
                  <c:v>0.99999368369635666</c:v>
                </c:pt>
                <c:pt idx="259">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3</c:f>
              <c:strCache>
                <c:ptCount val="262"/>
                <c:pt idx="0">
                  <c:v>Ruinart</c:v>
                </c:pt>
                <c:pt idx="1">
                  <c:v>Ruinart</c:v>
                </c:pt>
                <c:pt idx="2">
                  <c:v>Nicolas</c:v>
                </c:pt>
                <c:pt idx="3">
                  <c:v>Deutz</c:v>
                </c:pt>
                <c:pt idx="4">
                  <c:v>Ruinart</c:v>
                </c:pt>
                <c:pt idx="5">
                  <c:v>Heidsieck &amp;</c:v>
                </c:pt>
                <c:pt idx="6">
                  <c:v>De Bligny</c:v>
                </c:pt>
                <c:pt idx="7">
                  <c:v>Ayala</c:v>
                </c:pt>
                <c:pt idx="8">
                  <c:v>Laurent Per</c:v>
                </c:pt>
                <c:pt idx="9">
                  <c:v>Canard Duch</c:v>
                </c:pt>
                <c:pt idx="10">
                  <c:v>Nicolas Feu</c:v>
                </c:pt>
                <c:pt idx="11">
                  <c:v>Ruinart</c:v>
                </c:pt>
                <c:pt idx="12">
                  <c:v>Taittinger</c:v>
                </c:pt>
                <c:pt idx="13">
                  <c:v>Ruinart</c:v>
                </c:pt>
                <c:pt idx="14">
                  <c:v>Demoiselle</c:v>
                </c:pt>
                <c:pt idx="15">
                  <c:v>Bollinger</c:v>
                </c:pt>
                <c:pt idx="16">
                  <c:v>All Others</c:v>
                </c:pt>
                <c:pt idx="17">
                  <c:v>Malard</c:v>
                </c:pt>
                <c:pt idx="18">
                  <c:v>Dom Perigno</c:v>
                </c:pt>
                <c:pt idx="19">
                  <c:v>Ruinart</c:v>
                </c:pt>
                <c:pt idx="20">
                  <c:v>Deutz</c:v>
                </c:pt>
                <c:pt idx="21">
                  <c:v>Ruinart</c:v>
                </c:pt>
                <c:pt idx="22">
                  <c:v>Perrier Jou</c:v>
                </c:pt>
                <c:pt idx="23">
                  <c:v>Vesselle</c:v>
                </c:pt>
                <c:pt idx="24">
                  <c:v>Ruinart</c:v>
                </c:pt>
                <c:pt idx="25">
                  <c:v>Deutz</c:v>
                </c:pt>
                <c:pt idx="26">
                  <c:v>Savian</c:v>
                </c:pt>
                <c:pt idx="27">
                  <c:v>Laurent Per</c:v>
                </c:pt>
                <c:pt idx="28">
                  <c:v>Pommery</c:v>
                </c:pt>
                <c:pt idx="29">
                  <c:v>Bottega</c:v>
                </c:pt>
                <c:pt idx="30">
                  <c:v>Moët &amp; Chan</c:v>
                </c:pt>
                <c:pt idx="31">
                  <c:v>Taittinger</c:v>
                </c:pt>
                <c:pt idx="32">
                  <c:v>Dom Perigno</c:v>
                </c:pt>
                <c:pt idx="33">
                  <c:v>Besserat De</c:v>
                </c:pt>
                <c:pt idx="34">
                  <c:v>Laurent Per</c:v>
                </c:pt>
                <c:pt idx="35">
                  <c:v>Malard</c:v>
                </c:pt>
                <c:pt idx="36">
                  <c:v>Krug</c:v>
                </c:pt>
                <c:pt idx="37">
                  <c:v>Mure</c:v>
                </c:pt>
                <c:pt idx="38">
                  <c:v>All Others</c:v>
                </c:pt>
                <c:pt idx="39">
                  <c:v>Nicolas</c:v>
                </c:pt>
                <c:pt idx="40">
                  <c:v>Patriarche</c:v>
                </c:pt>
                <c:pt idx="41">
                  <c:v>Roederer</c:v>
                </c:pt>
                <c:pt idx="42">
                  <c:v>De Chanceny</c:v>
                </c:pt>
                <c:pt idx="43">
                  <c:v>Campari: Al</c:v>
                </c:pt>
                <c:pt idx="44">
                  <c:v>Ruinart</c:v>
                </c:pt>
                <c:pt idx="45">
                  <c:v>Veuve Clicq</c:v>
                </c:pt>
                <c:pt idx="46">
                  <c:v>Dom Perigno</c:v>
                </c:pt>
                <c:pt idx="47">
                  <c:v>Demoiselle</c:v>
                </c:pt>
                <c:pt idx="48">
                  <c:v>Malard</c:v>
                </c:pt>
                <c:pt idx="49">
                  <c:v>Besserat De</c:v>
                </c:pt>
                <c:pt idx="50">
                  <c:v>Henriot</c:v>
                </c:pt>
                <c:pt idx="51">
                  <c:v>Ayala</c:v>
                </c:pt>
                <c:pt idx="52">
                  <c:v>De Bligny</c:v>
                </c:pt>
                <c:pt idx="53">
                  <c:v>Nicolas</c:v>
                </c:pt>
                <c:pt idx="54">
                  <c:v>Bollinger</c:v>
                </c:pt>
                <c:pt idx="55">
                  <c:v>Savian</c:v>
                </c:pt>
                <c:pt idx="56">
                  <c:v>Moët &amp; Chan</c:v>
                </c:pt>
                <c:pt idx="57">
                  <c:v>Roederer</c:v>
                </c:pt>
                <c:pt idx="58">
                  <c:v>Demoiselle</c:v>
                </c:pt>
                <c:pt idx="59">
                  <c:v>Veuve Clicq</c:v>
                </c:pt>
                <c:pt idx="60">
                  <c:v>Ruinart</c:v>
                </c:pt>
                <c:pt idx="61">
                  <c:v>Roederer</c:v>
                </c:pt>
                <c:pt idx="62">
                  <c:v>Ruinart</c:v>
                </c:pt>
                <c:pt idx="63">
                  <c:v>All Others</c:v>
                </c:pt>
                <c:pt idx="64">
                  <c:v>Roederer</c:v>
                </c:pt>
                <c:pt idx="65">
                  <c:v>Pommery</c:v>
                </c:pt>
                <c:pt idx="66">
                  <c:v>Deutz</c:v>
                </c:pt>
                <c:pt idx="67">
                  <c:v>Chateau Mon</c:v>
                </c:pt>
                <c:pt idx="68">
                  <c:v>Nicolas Feu</c:v>
                </c:pt>
                <c:pt idx="69">
                  <c:v>Piper Heids</c:v>
                </c:pt>
                <c:pt idx="70">
                  <c:v>All Others</c:v>
                </c:pt>
                <c:pt idx="71">
                  <c:v>Nicolas Feu</c:v>
                </c:pt>
                <c:pt idx="72">
                  <c:v>Veuve Clicq</c:v>
                </c:pt>
                <c:pt idx="73">
                  <c:v>Campari: Al</c:v>
                </c:pt>
                <c:pt idx="74">
                  <c:v>Vilaveroni</c:v>
                </c:pt>
                <c:pt idx="75">
                  <c:v>Moët &amp; Chan</c:v>
                </c:pt>
                <c:pt idx="76">
                  <c:v>Nicolas Feu</c:v>
                </c:pt>
                <c:pt idx="77">
                  <c:v>All Others</c:v>
                </c:pt>
                <c:pt idx="78">
                  <c:v>De Venoge</c:v>
                </c:pt>
                <c:pt idx="79">
                  <c:v>Lyre's</c:v>
                </c:pt>
                <c:pt idx="80">
                  <c:v>Malard</c:v>
                </c:pt>
                <c:pt idx="81">
                  <c:v>Roederer</c:v>
                </c:pt>
                <c:pt idx="82">
                  <c:v>Malard</c:v>
                </c:pt>
                <c:pt idx="83">
                  <c:v>Bouvet-Ladu</c:v>
                </c:pt>
                <c:pt idx="84">
                  <c:v>Lanson</c:v>
                </c:pt>
                <c:pt idx="85">
                  <c:v>De Chanceny</c:v>
                </c:pt>
                <c:pt idx="86">
                  <c:v>All Others</c:v>
                </c:pt>
                <c:pt idx="87">
                  <c:v>Louis Marti</c:v>
                </c:pt>
                <c:pt idx="88">
                  <c:v>All Others</c:v>
                </c:pt>
                <c:pt idx="89">
                  <c:v>De Venoge</c:v>
                </c:pt>
                <c:pt idx="90">
                  <c:v>Besserat De</c:v>
                </c:pt>
                <c:pt idx="91">
                  <c:v>Henriot</c:v>
                </c:pt>
                <c:pt idx="92">
                  <c:v>Malard</c:v>
                </c:pt>
                <c:pt idx="93">
                  <c:v>Perrier Jou</c:v>
                </c:pt>
                <c:pt idx="94">
                  <c:v>All Others</c:v>
                </c:pt>
                <c:pt idx="95">
                  <c:v>All Others</c:v>
                </c:pt>
                <c:pt idx="96">
                  <c:v>Veuve Clicq</c:v>
                </c:pt>
                <c:pt idx="97">
                  <c:v>Ruinart</c:v>
                </c:pt>
                <c:pt idx="98">
                  <c:v>Canard Duch</c:v>
                </c:pt>
                <c:pt idx="99">
                  <c:v>Roederer</c:v>
                </c:pt>
                <c:pt idx="100">
                  <c:v>Ruinart</c:v>
                </c:pt>
                <c:pt idx="101">
                  <c:v>Canard Duch</c:v>
                </c:pt>
                <c:pt idx="102">
                  <c:v>Delamotte</c:v>
                </c:pt>
                <c:pt idx="103">
                  <c:v>Patriarche</c:v>
                </c:pt>
                <c:pt idx="104">
                  <c:v>Nicolas</c:v>
                </c:pt>
                <c:pt idx="105">
                  <c:v>Nicolas</c:v>
                </c:pt>
                <c:pt idx="106">
                  <c:v>Bottega</c:v>
                </c:pt>
                <c:pt idx="107">
                  <c:v>All Others</c:v>
                </c:pt>
                <c:pt idx="108">
                  <c:v>Laurent Per</c:v>
                </c:pt>
                <c:pt idx="109">
                  <c:v>Laurent Per</c:v>
                </c:pt>
                <c:pt idx="110">
                  <c:v>Dom Perigno</c:v>
                </c:pt>
                <c:pt idx="111">
                  <c:v>Roederer</c:v>
                </c:pt>
                <c:pt idx="112">
                  <c:v>Deutz</c:v>
                </c:pt>
                <c:pt idx="113">
                  <c:v>All Others</c:v>
                </c:pt>
                <c:pt idx="114">
                  <c:v>Deutz</c:v>
                </c:pt>
                <c:pt idx="115">
                  <c:v>All Others</c:v>
                </c:pt>
                <c:pt idx="116">
                  <c:v>Nicolas</c:v>
                </c:pt>
                <c:pt idx="117">
                  <c:v>Taittinger</c:v>
                </c:pt>
                <c:pt idx="118">
                  <c:v>All Others</c:v>
                </c:pt>
                <c:pt idx="119">
                  <c:v>Canard Duch</c:v>
                </c:pt>
                <c:pt idx="120">
                  <c:v>All Others</c:v>
                </c:pt>
                <c:pt idx="121">
                  <c:v>Nicolas</c:v>
                </c:pt>
                <c:pt idx="122">
                  <c:v>Roederer</c:v>
                </c:pt>
                <c:pt idx="123">
                  <c:v>Contarini</c:v>
                </c:pt>
                <c:pt idx="124">
                  <c:v>Henriot</c:v>
                </c:pt>
                <c:pt idx="125">
                  <c:v>Pommery</c:v>
                </c:pt>
                <c:pt idx="126">
                  <c:v>Nicolas</c:v>
                </c:pt>
                <c:pt idx="127">
                  <c:v>Ruinart</c:v>
                </c:pt>
                <c:pt idx="128">
                  <c:v>Delamotte</c:v>
                </c:pt>
                <c:pt idx="129">
                  <c:v>All Others</c:v>
                </c:pt>
                <c:pt idx="130">
                  <c:v>Ruinart</c:v>
                </c:pt>
                <c:pt idx="131">
                  <c:v>Moët &amp; Chan</c:v>
                </c:pt>
                <c:pt idx="132">
                  <c:v>Canard Duch</c:v>
                </c:pt>
                <c:pt idx="133">
                  <c:v>Perrier Jou</c:v>
                </c:pt>
                <c:pt idx="134">
                  <c:v>Veuve Clicq</c:v>
                </c:pt>
                <c:pt idx="135">
                  <c:v>All Others</c:v>
                </c:pt>
                <c:pt idx="136">
                  <c:v>Nicolas</c:v>
                </c:pt>
                <c:pt idx="137">
                  <c:v>Kriter</c:v>
                </c:pt>
                <c:pt idx="138">
                  <c:v>Bollinger</c:v>
                </c:pt>
                <c:pt idx="139">
                  <c:v>All Others</c:v>
                </c:pt>
                <c:pt idx="140">
                  <c:v>Lanson</c:v>
                </c:pt>
                <c:pt idx="141">
                  <c:v>Deutz</c:v>
                </c:pt>
                <c:pt idx="142">
                  <c:v>De Venoge</c:v>
                </c:pt>
                <c:pt idx="143">
                  <c:v>Henriot</c:v>
                </c:pt>
                <c:pt idx="144">
                  <c:v>Vilaveroni</c:v>
                </c:pt>
                <c:pt idx="145">
                  <c:v>Roederer</c:v>
                </c:pt>
                <c:pt idx="146">
                  <c:v>Ruinart</c:v>
                </c:pt>
                <c:pt idx="147">
                  <c:v>Vesselle</c:v>
                </c:pt>
                <c:pt idx="148">
                  <c:v>Laurent Per</c:v>
                </c:pt>
                <c:pt idx="149">
                  <c:v>Dom Perigno</c:v>
                </c:pt>
                <c:pt idx="150">
                  <c:v>Vranken</c:v>
                </c:pt>
                <c:pt idx="151">
                  <c:v>All Others</c:v>
                </c:pt>
                <c:pt idx="152">
                  <c:v>Nicolas Feu</c:v>
                </c:pt>
                <c:pt idx="153">
                  <c:v>Dom Perigno</c:v>
                </c:pt>
                <c:pt idx="154">
                  <c:v>Demoiselle</c:v>
                </c:pt>
                <c:pt idx="155">
                  <c:v>De Venoge</c:v>
                </c:pt>
                <c:pt idx="156">
                  <c:v>All Others</c:v>
                </c:pt>
                <c:pt idx="157">
                  <c:v>All Others</c:v>
                </c:pt>
                <c:pt idx="158">
                  <c:v>Vranken</c:v>
                </c:pt>
                <c:pt idx="159">
                  <c:v>Roederer</c:v>
                </c:pt>
                <c:pt idx="160">
                  <c:v>Deutz</c:v>
                </c:pt>
                <c:pt idx="161">
                  <c:v>All Others</c:v>
                </c:pt>
                <c:pt idx="162">
                  <c:v>All Others</c:v>
                </c:pt>
                <c:pt idx="163">
                  <c:v>Mure</c:v>
                </c:pt>
                <c:pt idx="164">
                  <c:v>Nicolas</c:v>
                </c:pt>
                <c:pt idx="165">
                  <c:v>Nicolas</c:v>
                </c:pt>
                <c:pt idx="166">
                  <c:v>All Others</c:v>
                </c:pt>
                <c:pt idx="167">
                  <c:v>Mure</c:v>
                </c:pt>
                <c:pt idx="168">
                  <c:v>Nicolas</c:v>
                </c:pt>
                <c:pt idx="169">
                  <c:v>Nicolas</c:v>
                </c:pt>
                <c:pt idx="170">
                  <c:v>Pommery</c:v>
                </c:pt>
                <c:pt idx="171">
                  <c:v>Besserat De</c:v>
                </c:pt>
                <c:pt idx="172">
                  <c:v>Nicolas</c:v>
                </c:pt>
                <c:pt idx="173">
                  <c:v>Perrier Jou</c:v>
                </c:pt>
                <c:pt idx="174">
                  <c:v>Nicolas</c:v>
                </c:pt>
                <c:pt idx="175">
                  <c:v>All Others</c:v>
                </c:pt>
                <c:pt idx="176">
                  <c:v>Roederer</c:v>
                </c:pt>
                <c:pt idx="177">
                  <c:v>Laurent Per</c:v>
                </c:pt>
                <c:pt idx="178">
                  <c:v>All Others</c:v>
                </c:pt>
                <c:pt idx="179">
                  <c:v>Nicolas</c:v>
                </c:pt>
                <c:pt idx="180">
                  <c:v>All Others</c:v>
                </c:pt>
                <c:pt idx="181">
                  <c:v>Demoiselle</c:v>
                </c:pt>
                <c:pt idx="182">
                  <c:v>Dom Perigno</c:v>
                </c:pt>
                <c:pt idx="183">
                  <c:v>All Others</c:v>
                </c:pt>
                <c:pt idx="184">
                  <c:v>Pommery</c:v>
                </c:pt>
                <c:pt idx="185">
                  <c:v>Pommery</c:v>
                </c:pt>
                <c:pt idx="186">
                  <c:v>Roederer</c:v>
                </c:pt>
                <c:pt idx="187">
                  <c:v>Roederer</c:v>
                </c:pt>
                <c:pt idx="188">
                  <c:v>Louis Marti</c:v>
                </c:pt>
                <c:pt idx="189">
                  <c:v>Moët &amp; Chan</c:v>
                </c:pt>
                <c:pt idx="190">
                  <c:v>Besserat De</c:v>
                </c:pt>
                <c:pt idx="191">
                  <c:v>Cru La Maqu</c:v>
                </c:pt>
                <c:pt idx="192">
                  <c:v>Contarini</c:v>
                </c:pt>
                <c:pt idx="193">
                  <c:v>Ruinart</c:v>
                </c:pt>
                <c:pt idx="194">
                  <c:v>All Others</c:v>
                </c:pt>
                <c:pt idx="195">
                  <c:v>Ayala</c:v>
                </c:pt>
                <c:pt idx="196">
                  <c:v>Bollinger</c:v>
                </c:pt>
                <c:pt idx="197">
                  <c:v>All Others</c:v>
                </c:pt>
                <c:pt idx="198">
                  <c:v>All Others</c:v>
                </c:pt>
                <c:pt idx="199">
                  <c:v>Bollinger</c:v>
                </c:pt>
                <c:pt idx="200">
                  <c:v>Dom Perigno</c:v>
                </c:pt>
                <c:pt idx="201">
                  <c:v>Laurent Per</c:v>
                </c:pt>
                <c:pt idx="202">
                  <c:v>Roederer</c:v>
                </c:pt>
                <c:pt idx="203">
                  <c:v>Moët &amp; Chan</c:v>
                </c:pt>
                <c:pt idx="204">
                  <c:v>All Others</c:v>
                </c:pt>
                <c:pt idx="205">
                  <c:v>Canard Duch</c:v>
                </c:pt>
                <c:pt idx="206">
                  <c:v>Vilaveroni</c:v>
                </c:pt>
                <c:pt idx="207">
                  <c:v>Roederer</c:v>
                </c:pt>
                <c:pt idx="208">
                  <c:v>All Others</c:v>
                </c:pt>
                <c:pt idx="209">
                  <c:v>Nicolas Feu</c:v>
                </c:pt>
                <c:pt idx="210">
                  <c:v>Moët &amp; Chan</c:v>
                </c:pt>
                <c:pt idx="211">
                  <c:v>Ruinart</c:v>
                </c:pt>
                <c:pt idx="212">
                  <c:v>Vesselle</c:v>
                </c:pt>
                <c:pt idx="213">
                  <c:v>Dom Perigno</c:v>
                </c:pt>
                <c:pt idx="214">
                  <c:v>Bouvet-Ladu</c:v>
                </c:pt>
                <c:pt idx="215">
                  <c:v>Piper Heids</c:v>
                </c:pt>
                <c:pt idx="216">
                  <c:v>Veuve Clicq</c:v>
                </c:pt>
                <c:pt idx="217">
                  <c:v>All Others</c:v>
                </c:pt>
                <c:pt idx="218">
                  <c:v>Taittinger</c:v>
                </c:pt>
                <c:pt idx="219">
                  <c:v>Henriot</c:v>
                </c:pt>
                <c:pt idx="220">
                  <c:v>Canard Duch</c:v>
                </c:pt>
                <c:pt idx="221">
                  <c:v>Vilaveroni</c:v>
                </c:pt>
                <c:pt idx="222">
                  <c:v>Bollinger</c:v>
                </c:pt>
                <c:pt idx="223">
                  <c:v>Pommery</c:v>
                </c:pt>
                <c:pt idx="224">
                  <c:v>Perrier Jou</c:v>
                </c:pt>
                <c:pt idx="225">
                  <c:v>Nicolas</c:v>
                </c:pt>
                <c:pt idx="226">
                  <c:v>Moët &amp; Chan</c:v>
                </c:pt>
                <c:pt idx="227">
                  <c:v>Laurent Per</c:v>
                </c:pt>
                <c:pt idx="228">
                  <c:v>Taittinger</c:v>
                </c:pt>
                <c:pt idx="229">
                  <c:v>Piper Heids</c:v>
                </c:pt>
                <c:pt idx="230">
                  <c:v>Veuve Clicq</c:v>
                </c:pt>
                <c:pt idx="231">
                  <c:v>Bouvet-Ladu</c:v>
                </c:pt>
                <c:pt idx="232">
                  <c:v>All Others</c:v>
                </c:pt>
                <c:pt idx="233">
                  <c:v>Pommery</c:v>
                </c:pt>
                <c:pt idx="234">
                  <c:v>Nicolas</c:v>
                </c:pt>
                <c:pt idx="235">
                  <c:v>Bouvet-Ladu</c:v>
                </c:pt>
                <c:pt idx="236">
                  <c:v>Celene</c:v>
                </c:pt>
                <c:pt idx="237">
                  <c:v>All Others</c:v>
                </c:pt>
                <c:pt idx="238">
                  <c:v>Nicolas</c:v>
                </c:pt>
                <c:pt idx="239">
                  <c:v>All Others</c:v>
                </c:pt>
                <c:pt idx="240">
                  <c:v>All Others</c:v>
                </c:pt>
                <c:pt idx="241">
                  <c:v>Laurent Per</c:v>
                </c:pt>
                <c:pt idx="242">
                  <c:v>Canard Duch</c:v>
                </c:pt>
                <c:pt idx="243">
                  <c:v>Roederer</c:v>
                </c:pt>
                <c:pt idx="244">
                  <c:v>De Venoge</c:v>
                </c:pt>
                <c:pt idx="245">
                  <c:v>Bottega</c:v>
                </c:pt>
                <c:pt idx="246">
                  <c:v>All Others</c:v>
                </c:pt>
                <c:pt idx="247">
                  <c:v>Henriot</c:v>
                </c:pt>
                <c:pt idx="248">
                  <c:v>All Others</c:v>
                </c:pt>
                <c:pt idx="249">
                  <c:v>De Bligny</c:v>
                </c:pt>
                <c:pt idx="250">
                  <c:v>Piper Heids</c:v>
                </c:pt>
                <c:pt idx="251">
                  <c:v>All Others</c:v>
                </c:pt>
                <c:pt idx="252">
                  <c:v>Piper Heids</c:v>
                </c:pt>
                <c:pt idx="253">
                  <c:v>Ayala</c:v>
                </c:pt>
                <c:pt idx="254">
                  <c:v>Martel</c:v>
                </c:pt>
                <c:pt idx="255">
                  <c:v>Demoiselle</c:v>
                </c:pt>
                <c:pt idx="256">
                  <c:v>Malard</c:v>
                </c:pt>
                <c:pt idx="257">
                  <c:v>Roederer</c:v>
                </c:pt>
                <c:pt idx="258">
                  <c:v>Vranken</c:v>
                </c:pt>
                <c:pt idx="259">
                  <c:v>All Others</c:v>
                </c:pt>
                <c:pt idx="260">
                  <c:v>Celene</c:v>
                </c:pt>
                <c:pt idx="261">
                  <c:v>Jaillance</c:v>
                </c:pt>
              </c:strCache>
            </c:strRef>
          </c:cat>
          <c:val>
            <c:numRef>
              <c:f>Sheet1!$B$2:$B$263</c:f>
              <c:numCache>
                <c:formatCode>General</c:formatCode>
                <c:ptCount val="262"/>
                <c:pt idx="0">
                  <c:v>1</c:v>
                </c:pt>
                <c:pt idx="1">
                  <c:v>0.94</c:v>
                </c:pt>
                <c:pt idx="2">
                  <c:v>1</c:v>
                </c:pt>
                <c:pt idx="3">
                  <c:v>1</c:v>
                </c:pt>
                <c:pt idx="4">
                  <c:v>0.87</c:v>
                </c:pt>
                <c:pt idx="5">
                  <c:v>1</c:v>
                </c:pt>
                <c:pt idx="6">
                  <c:v>0.98</c:v>
                </c:pt>
                <c:pt idx="7">
                  <c:v>1</c:v>
                </c:pt>
                <c:pt idx="8">
                  <c:v>1</c:v>
                </c:pt>
                <c:pt idx="9">
                  <c:v>1</c:v>
                </c:pt>
                <c:pt idx="10">
                  <c:v>0.82</c:v>
                </c:pt>
                <c:pt idx="11">
                  <c:v>0.89</c:v>
                </c:pt>
                <c:pt idx="12">
                  <c:v>0.97</c:v>
                </c:pt>
                <c:pt idx="13">
                  <c:v>0.7</c:v>
                </c:pt>
                <c:pt idx="14">
                  <c:v>0.97</c:v>
                </c:pt>
                <c:pt idx="15">
                  <c:v>0.9</c:v>
                </c:pt>
                <c:pt idx="16">
                  <c:v>1</c:v>
                </c:pt>
                <c:pt idx="17">
                  <c:v>1</c:v>
                </c:pt>
                <c:pt idx="18">
                  <c:v>0.69</c:v>
                </c:pt>
                <c:pt idx="19">
                  <c:v>0.65</c:v>
                </c:pt>
                <c:pt idx="20">
                  <c:v>0.84</c:v>
                </c:pt>
                <c:pt idx="21">
                  <c:v>0.89</c:v>
                </c:pt>
                <c:pt idx="22">
                  <c:v>0.9</c:v>
                </c:pt>
                <c:pt idx="23">
                  <c:v>0.77</c:v>
                </c:pt>
                <c:pt idx="24">
                  <c:v>0.65</c:v>
                </c:pt>
                <c:pt idx="25">
                  <c:v>0.85</c:v>
                </c:pt>
                <c:pt idx="26">
                  <c:v>0.92</c:v>
                </c:pt>
                <c:pt idx="27">
                  <c:v>0.75</c:v>
                </c:pt>
                <c:pt idx="28">
                  <c:v>1</c:v>
                </c:pt>
                <c:pt idx="29">
                  <c:v>0.84</c:v>
                </c:pt>
                <c:pt idx="30">
                  <c:v>0.95</c:v>
                </c:pt>
                <c:pt idx="31">
                  <c:v>0.62</c:v>
                </c:pt>
                <c:pt idx="32">
                  <c:v>0.49</c:v>
                </c:pt>
                <c:pt idx="33">
                  <c:v>0.78</c:v>
                </c:pt>
                <c:pt idx="34">
                  <c:v>0.77</c:v>
                </c:pt>
                <c:pt idx="35">
                  <c:v>0.85</c:v>
                </c:pt>
                <c:pt idx="36">
                  <c:v>0.49</c:v>
                </c:pt>
                <c:pt idx="37">
                  <c:v>0.88</c:v>
                </c:pt>
                <c:pt idx="38">
                  <c:v>0.72</c:v>
                </c:pt>
                <c:pt idx="39">
                  <c:v>0.87</c:v>
                </c:pt>
                <c:pt idx="40">
                  <c:v>0.82</c:v>
                </c:pt>
                <c:pt idx="41">
                  <c:v>0.7</c:v>
                </c:pt>
                <c:pt idx="42">
                  <c:v>0.84</c:v>
                </c:pt>
                <c:pt idx="43">
                  <c:v>0.52</c:v>
                </c:pt>
                <c:pt idx="44">
                  <c:v>0.62</c:v>
                </c:pt>
                <c:pt idx="45">
                  <c:v>0.78</c:v>
                </c:pt>
                <c:pt idx="46">
                  <c:v>0.61</c:v>
                </c:pt>
                <c:pt idx="47">
                  <c:v>0.75</c:v>
                </c:pt>
                <c:pt idx="48">
                  <c:v>0.9</c:v>
                </c:pt>
                <c:pt idx="49">
                  <c:v>0.65</c:v>
                </c:pt>
                <c:pt idx="50">
                  <c:v>0.71</c:v>
                </c:pt>
                <c:pt idx="51">
                  <c:v>0.62</c:v>
                </c:pt>
                <c:pt idx="52">
                  <c:v>0.8</c:v>
                </c:pt>
                <c:pt idx="53">
                  <c:v>0.84</c:v>
                </c:pt>
                <c:pt idx="54">
                  <c:v>0.76</c:v>
                </c:pt>
                <c:pt idx="55">
                  <c:v>0.8</c:v>
                </c:pt>
                <c:pt idx="56">
                  <c:v>0.8</c:v>
                </c:pt>
                <c:pt idx="57">
                  <c:v>0.74</c:v>
                </c:pt>
                <c:pt idx="58">
                  <c:v>0.62</c:v>
                </c:pt>
                <c:pt idx="59">
                  <c:v>0.64</c:v>
                </c:pt>
                <c:pt idx="60">
                  <c:v>0.92</c:v>
                </c:pt>
                <c:pt idx="61">
                  <c:v>0.49</c:v>
                </c:pt>
                <c:pt idx="62">
                  <c:v>0.62</c:v>
                </c:pt>
                <c:pt idx="63">
                  <c:v>0.36</c:v>
                </c:pt>
                <c:pt idx="64">
                  <c:v>0.28000000000000003</c:v>
                </c:pt>
                <c:pt idx="65">
                  <c:v>0.78</c:v>
                </c:pt>
                <c:pt idx="66">
                  <c:v>0.8</c:v>
                </c:pt>
                <c:pt idx="67">
                  <c:v>0.78</c:v>
                </c:pt>
                <c:pt idx="68">
                  <c:v>0.48</c:v>
                </c:pt>
                <c:pt idx="69">
                  <c:v>0.81</c:v>
                </c:pt>
                <c:pt idx="70">
                  <c:v>0.1</c:v>
                </c:pt>
                <c:pt idx="71">
                  <c:v>0.47</c:v>
                </c:pt>
                <c:pt idx="72">
                  <c:v>0.56999999999999995</c:v>
                </c:pt>
                <c:pt idx="73">
                  <c:v>0.56000000000000005</c:v>
                </c:pt>
                <c:pt idx="74">
                  <c:v>0.36</c:v>
                </c:pt>
                <c:pt idx="75">
                  <c:v>0.63</c:v>
                </c:pt>
                <c:pt idx="76">
                  <c:v>0.53</c:v>
                </c:pt>
                <c:pt idx="77">
                  <c:v>0.63</c:v>
                </c:pt>
                <c:pt idx="78">
                  <c:v>0.53</c:v>
                </c:pt>
                <c:pt idx="79">
                  <c:v>0.92</c:v>
                </c:pt>
                <c:pt idx="80">
                  <c:v>0.53</c:v>
                </c:pt>
                <c:pt idx="81">
                  <c:v>0.62</c:v>
                </c:pt>
                <c:pt idx="82">
                  <c:v>0.56000000000000005</c:v>
                </c:pt>
                <c:pt idx="83">
                  <c:v>0.82</c:v>
                </c:pt>
                <c:pt idx="84">
                  <c:v>0.51</c:v>
                </c:pt>
                <c:pt idx="85">
                  <c:v>0.75</c:v>
                </c:pt>
                <c:pt idx="86">
                  <c:v>0.1</c:v>
                </c:pt>
                <c:pt idx="87">
                  <c:v>0.47</c:v>
                </c:pt>
                <c:pt idx="88">
                  <c:v>0.64</c:v>
                </c:pt>
                <c:pt idx="89">
                  <c:v>0.51</c:v>
                </c:pt>
                <c:pt idx="90">
                  <c:v>0.7</c:v>
                </c:pt>
                <c:pt idx="91">
                  <c:v>0.67</c:v>
                </c:pt>
                <c:pt idx="92">
                  <c:v>0.62</c:v>
                </c:pt>
                <c:pt idx="93">
                  <c:v>0.56999999999999995</c:v>
                </c:pt>
                <c:pt idx="94">
                  <c:v>0.65</c:v>
                </c:pt>
                <c:pt idx="95">
                  <c:v>0.1</c:v>
                </c:pt>
                <c:pt idx="96">
                  <c:v>0.37</c:v>
                </c:pt>
                <c:pt idx="97">
                  <c:v>0.44</c:v>
                </c:pt>
                <c:pt idx="98">
                  <c:v>0.53</c:v>
                </c:pt>
                <c:pt idx="99">
                  <c:v>0.62</c:v>
                </c:pt>
                <c:pt idx="100">
                  <c:v>0.56999999999999995</c:v>
                </c:pt>
                <c:pt idx="101">
                  <c:v>0.71</c:v>
                </c:pt>
                <c:pt idx="102">
                  <c:v>0.56000000000000005</c:v>
                </c:pt>
                <c:pt idx="103">
                  <c:v>0.75</c:v>
                </c:pt>
                <c:pt idx="104">
                  <c:v>0.63</c:v>
                </c:pt>
                <c:pt idx="105">
                  <c:v>0.54</c:v>
                </c:pt>
                <c:pt idx="106">
                  <c:v>0.61</c:v>
                </c:pt>
                <c:pt idx="107">
                  <c:v>0.62</c:v>
                </c:pt>
                <c:pt idx="108">
                  <c:v>0.48</c:v>
                </c:pt>
                <c:pt idx="109">
                  <c:v>0.65</c:v>
                </c:pt>
                <c:pt idx="110">
                  <c:v>0.13</c:v>
                </c:pt>
                <c:pt idx="111">
                  <c:v>0.37</c:v>
                </c:pt>
                <c:pt idx="112">
                  <c:v>0.77</c:v>
                </c:pt>
                <c:pt idx="113">
                  <c:v>0.6</c:v>
                </c:pt>
                <c:pt idx="114">
                  <c:v>0.47</c:v>
                </c:pt>
                <c:pt idx="115">
                  <c:v>0.09</c:v>
                </c:pt>
                <c:pt idx="116">
                  <c:v>0.62</c:v>
                </c:pt>
                <c:pt idx="117">
                  <c:v>0.23</c:v>
                </c:pt>
                <c:pt idx="118">
                  <c:v>0.8</c:v>
                </c:pt>
                <c:pt idx="119">
                  <c:v>0.33</c:v>
                </c:pt>
                <c:pt idx="120">
                  <c:v>0.36</c:v>
                </c:pt>
                <c:pt idx="121">
                  <c:v>0.47</c:v>
                </c:pt>
                <c:pt idx="122">
                  <c:v>0.48</c:v>
                </c:pt>
                <c:pt idx="123">
                  <c:v>0.7</c:v>
                </c:pt>
                <c:pt idx="124">
                  <c:v>0.59</c:v>
                </c:pt>
                <c:pt idx="125">
                  <c:v>0.28000000000000003</c:v>
                </c:pt>
                <c:pt idx="126">
                  <c:v>0.62</c:v>
                </c:pt>
                <c:pt idx="127">
                  <c:v>0.51</c:v>
                </c:pt>
                <c:pt idx="128">
                  <c:v>0.49</c:v>
                </c:pt>
                <c:pt idx="129">
                  <c:v>0.53</c:v>
                </c:pt>
                <c:pt idx="130">
                  <c:v>0.62</c:v>
                </c:pt>
                <c:pt idx="131">
                  <c:v>0.51</c:v>
                </c:pt>
                <c:pt idx="132">
                  <c:v>0.34</c:v>
                </c:pt>
                <c:pt idx="133">
                  <c:v>0.59</c:v>
                </c:pt>
                <c:pt idx="134">
                  <c:v>0.14000000000000001</c:v>
                </c:pt>
                <c:pt idx="135">
                  <c:v>0.32</c:v>
                </c:pt>
                <c:pt idx="136">
                  <c:v>0.41</c:v>
                </c:pt>
                <c:pt idx="137">
                  <c:v>0.72</c:v>
                </c:pt>
                <c:pt idx="138">
                  <c:v>0.53</c:v>
                </c:pt>
                <c:pt idx="139">
                  <c:v>0.09</c:v>
                </c:pt>
                <c:pt idx="140">
                  <c:v>0.62</c:v>
                </c:pt>
                <c:pt idx="141">
                  <c:v>0.36</c:v>
                </c:pt>
                <c:pt idx="142">
                  <c:v>0.28000000000000003</c:v>
                </c:pt>
                <c:pt idx="143">
                  <c:v>0.25</c:v>
                </c:pt>
                <c:pt idx="144">
                  <c:v>0.36</c:v>
                </c:pt>
                <c:pt idx="145">
                  <c:v>0.51</c:v>
                </c:pt>
                <c:pt idx="146">
                  <c:v>0.24</c:v>
                </c:pt>
                <c:pt idx="147">
                  <c:v>0.21</c:v>
                </c:pt>
                <c:pt idx="148">
                  <c:v>0.41</c:v>
                </c:pt>
                <c:pt idx="149">
                  <c:v>0.1</c:v>
                </c:pt>
                <c:pt idx="150">
                  <c:v>0.37</c:v>
                </c:pt>
                <c:pt idx="151">
                  <c:v>0.65</c:v>
                </c:pt>
                <c:pt idx="152">
                  <c:v>0.39</c:v>
                </c:pt>
                <c:pt idx="153">
                  <c:v>0.13</c:v>
                </c:pt>
                <c:pt idx="154">
                  <c:v>0.56999999999999995</c:v>
                </c:pt>
                <c:pt idx="155">
                  <c:v>0.43</c:v>
                </c:pt>
                <c:pt idx="156">
                  <c:v>0.38</c:v>
                </c:pt>
                <c:pt idx="157">
                  <c:v>0.32</c:v>
                </c:pt>
                <c:pt idx="158">
                  <c:v>0.72</c:v>
                </c:pt>
                <c:pt idx="159">
                  <c:v>0.56999999999999995</c:v>
                </c:pt>
                <c:pt idx="160">
                  <c:v>0.36</c:v>
                </c:pt>
                <c:pt idx="161">
                  <c:v>0.48</c:v>
                </c:pt>
                <c:pt idx="162">
                  <c:v>0.48</c:v>
                </c:pt>
                <c:pt idx="163">
                  <c:v>0.1</c:v>
                </c:pt>
                <c:pt idx="164">
                  <c:v>0.34</c:v>
                </c:pt>
                <c:pt idx="165">
                  <c:v>0.49</c:v>
                </c:pt>
                <c:pt idx="166">
                  <c:v>0.51</c:v>
                </c:pt>
                <c:pt idx="167">
                  <c:v>0.08</c:v>
                </c:pt>
                <c:pt idx="168">
                  <c:v>0.19</c:v>
                </c:pt>
                <c:pt idx="169">
                  <c:v>0.33</c:v>
                </c:pt>
                <c:pt idx="170">
                  <c:v>0.62</c:v>
                </c:pt>
                <c:pt idx="171">
                  <c:v>0.28000000000000003</c:v>
                </c:pt>
                <c:pt idx="172">
                  <c:v>0.62</c:v>
                </c:pt>
                <c:pt idx="173">
                  <c:v>0.47</c:v>
                </c:pt>
                <c:pt idx="174">
                  <c:v>0.36</c:v>
                </c:pt>
                <c:pt idx="175">
                  <c:v>0.62</c:v>
                </c:pt>
                <c:pt idx="176">
                  <c:v>0.37</c:v>
                </c:pt>
                <c:pt idx="177">
                  <c:v>0.19</c:v>
                </c:pt>
                <c:pt idx="178">
                  <c:v>0.28000000000000003</c:v>
                </c:pt>
                <c:pt idx="179">
                  <c:v>0.28000000000000003</c:v>
                </c:pt>
                <c:pt idx="180">
                  <c:v>0.38</c:v>
                </c:pt>
                <c:pt idx="181">
                  <c:v>0.34</c:v>
                </c:pt>
                <c:pt idx="182">
                  <c:v>0.24</c:v>
                </c:pt>
                <c:pt idx="183">
                  <c:v>0.33</c:v>
                </c:pt>
                <c:pt idx="184">
                  <c:v>0.62</c:v>
                </c:pt>
                <c:pt idx="185">
                  <c:v>0.36</c:v>
                </c:pt>
                <c:pt idx="186">
                  <c:v>0.62</c:v>
                </c:pt>
                <c:pt idx="187">
                  <c:v>0.24</c:v>
                </c:pt>
                <c:pt idx="188">
                  <c:v>0.3</c:v>
                </c:pt>
                <c:pt idx="189">
                  <c:v>0.1</c:v>
                </c:pt>
                <c:pt idx="190">
                  <c:v>0.35</c:v>
                </c:pt>
                <c:pt idx="191">
                  <c:v>0.55000000000000004</c:v>
                </c:pt>
                <c:pt idx="192">
                  <c:v>0.45</c:v>
                </c:pt>
                <c:pt idx="193">
                  <c:v>0.37</c:v>
                </c:pt>
                <c:pt idx="194">
                  <c:v>0.54</c:v>
                </c:pt>
                <c:pt idx="195">
                  <c:v>0.36</c:v>
                </c:pt>
                <c:pt idx="196">
                  <c:v>0.06</c:v>
                </c:pt>
                <c:pt idx="197">
                  <c:v>0.53</c:v>
                </c:pt>
                <c:pt idx="198">
                  <c:v>0.34</c:v>
                </c:pt>
                <c:pt idx="199">
                  <c:v>0.14000000000000001</c:v>
                </c:pt>
                <c:pt idx="200">
                  <c:v>0.14000000000000001</c:v>
                </c:pt>
                <c:pt idx="201">
                  <c:v>0.51</c:v>
                </c:pt>
                <c:pt idx="202">
                  <c:v>0.2</c:v>
                </c:pt>
                <c:pt idx="203">
                  <c:v>0.51</c:v>
                </c:pt>
                <c:pt idx="204">
                  <c:v>0.1</c:v>
                </c:pt>
                <c:pt idx="205">
                  <c:v>0.19</c:v>
                </c:pt>
                <c:pt idx="206">
                  <c:v>0.36</c:v>
                </c:pt>
                <c:pt idx="207">
                  <c:v>0.1</c:v>
                </c:pt>
                <c:pt idx="208">
                  <c:v>0.49</c:v>
                </c:pt>
                <c:pt idx="209">
                  <c:v>0.49</c:v>
                </c:pt>
                <c:pt idx="210">
                  <c:v>0.22</c:v>
                </c:pt>
                <c:pt idx="211">
                  <c:v>0.23</c:v>
                </c:pt>
                <c:pt idx="212">
                  <c:v>0.36</c:v>
                </c:pt>
                <c:pt idx="213">
                  <c:v>0.15</c:v>
                </c:pt>
                <c:pt idx="214">
                  <c:v>0.3</c:v>
                </c:pt>
                <c:pt idx="215">
                  <c:v>0.22</c:v>
                </c:pt>
                <c:pt idx="216">
                  <c:v>0.08</c:v>
                </c:pt>
                <c:pt idx="217">
                  <c:v>0.4</c:v>
                </c:pt>
                <c:pt idx="218">
                  <c:v>0.12</c:v>
                </c:pt>
                <c:pt idx="219">
                  <c:v>0.47</c:v>
                </c:pt>
                <c:pt idx="220">
                  <c:v>0.28000000000000003</c:v>
                </c:pt>
                <c:pt idx="221">
                  <c:v>0.33</c:v>
                </c:pt>
                <c:pt idx="222">
                  <c:v>0.36</c:v>
                </c:pt>
                <c:pt idx="223">
                  <c:v>7.0000000000000007E-2</c:v>
                </c:pt>
                <c:pt idx="224">
                  <c:v>0.11</c:v>
                </c:pt>
                <c:pt idx="225">
                  <c:v>0.08</c:v>
                </c:pt>
                <c:pt idx="226">
                  <c:v>0.18</c:v>
                </c:pt>
                <c:pt idx="227">
                  <c:v>0.37</c:v>
                </c:pt>
                <c:pt idx="228">
                  <c:v>0.14000000000000001</c:v>
                </c:pt>
                <c:pt idx="229">
                  <c:v>0.36</c:v>
                </c:pt>
                <c:pt idx="230">
                  <c:v>0.51</c:v>
                </c:pt>
                <c:pt idx="231">
                  <c:v>0.26</c:v>
                </c:pt>
                <c:pt idx="232">
                  <c:v>0.23</c:v>
                </c:pt>
                <c:pt idx="233">
                  <c:v>0.47</c:v>
                </c:pt>
                <c:pt idx="234">
                  <c:v>0.17</c:v>
                </c:pt>
                <c:pt idx="235">
                  <c:v>0.16</c:v>
                </c:pt>
                <c:pt idx="236">
                  <c:v>0.56000000000000005</c:v>
                </c:pt>
                <c:pt idx="237">
                  <c:v>0.25</c:v>
                </c:pt>
                <c:pt idx="238">
                  <c:v>0.17</c:v>
                </c:pt>
                <c:pt idx="239">
                  <c:v>0.26</c:v>
                </c:pt>
                <c:pt idx="240">
                  <c:v>0.49</c:v>
                </c:pt>
                <c:pt idx="241">
                  <c:v>0.05</c:v>
                </c:pt>
                <c:pt idx="242">
                  <c:v>0.09</c:v>
                </c:pt>
                <c:pt idx="243">
                  <c:v>0.18</c:v>
                </c:pt>
                <c:pt idx="244">
                  <c:v>0.13</c:v>
                </c:pt>
                <c:pt idx="245">
                  <c:v>0.18</c:v>
                </c:pt>
                <c:pt idx="246">
                  <c:v>0.47</c:v>
                </c:pt>
                <c:pt idx="247">
                  <c:v>0.28000000000000003</c:v>
                </c:pt>
                <c:pt idx="248">
                  <c:v>0.32</c:v>
                </c:pt>
                <c:pt idx="249">
                  <c:v>0.11</c:v>
                </c:pt>
                <c:pt idx="250">
                  <c:v>0.22</c:v>
                </c:pt>
                <c:pt idx="251">
                  <c:v>0.1</c:v>
                </c:pt>
                <c:pt idx="252">
                  <c:v>0.32</c:v>
                </c:pt>
                <c:pt idx="253">
                  <c:v>7.0000000000000007E-2</c:v>
                </c:pt>
                <c:pt idx="254">
                  <c:v>0.15</c:v>
                </c:pt>
                <c:pt idx="255">
                  <c:v>0.17</c:v>
                </c:pt>
                <c:pt idx="256">
                  <c:v>0.12</c:v>
                </c:pt>
                <c:pt idx="257">
                  <c:v>0.14000000000000001</c:v>
                </c:pt>
                <c:pt idx="258">
                  <c:v>0.09</c:v>
                </c:pt>
                <c:pt idx="259">
                  <c:v>0.36</c:v>
                </c:pt>
                <c:pt idx="260">
                  <c:v>0.09</c:v>
                </c:pt>
                <c:pt idx="261">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A0F-4713-90B9-A8B869A7146B}"/>
              </c:ext>
            </c:extLst>
          </c:dPt>
          <c:dPt>
            <c:idx val="211"/>
            <c:invertIfNegative val="1"/>
            <c:bubble3D val="0"/>
            <c:spPr>
              <a:solidFill>
                <a:srgbClr val="AEABAB"/>
              </a:solidFill>
            </c:spPr>
            <c:extLst>
              <c:ext xmlns:c16="http://schemas.microsoft.com/office/drawing/2014/chart" uri="{C3380CC4-5D6E-409C-BE32-E72D297353CC}">
                <c16:uniqueId val="{000001A9-DA0F-4713-90B9-A8B869A7146B}"/>
              </c:ext>
            </c:extLst>
          </c:dPt>
          <c:dPt>
            <c:idx val="212"/>
            <c:invertIfNegative val="1"/>
            <c:bubble3D val="0"/>
            <c:spPr>
              <a:solidFill>
                <a:srgbClr val="AEABAB"/>
              </a:solidFill>
            </c:spPr>
            <c:extLst>
              <c:ext xmlns:c16="http://schemas.microsoft.com/office/drawing/2014/chart" uri="{C3380CC4-5D6E-409C-BE32-E72D297353CC}">
                <c16:uniqueId val="{000001AB-DA0F-4713-90B9-A8B869A7146B}"/>
              </c:ext>
            </c:extLst>
          </c:dPt>
          <c:dPt>
            <c:idx val="213"/>
            <c:invertIfNegative val="1"/>
            <c:bubble3D val="0"/>
            <c:spPr>
              <a:solidFill>
                <a:srgbClr val="AEABAB"/>
              </a:solidFill>
            </c:spPr>
            <c:extLst>
              <c:ext xmlns:c16="http://schemas.microsoft.com/office/drawing/2014/chart" uri="{C3380CC4-5D6E-409C-BE32-E72D297353CC}">
                <c16:uniqueId val="{000001AD-DA0F-4713-90B9-A8B869A7146B}"/>
              </c:ext>
            </c:extLst>
          </c:dPt>
          <c:dPt>
            <c:idx val="214"/>
            <c:invertIfNegative val="1"/>
            <c:bubble3D val="0"/>
            <c:spPr>
              <a:solidFill>
                <a:srgbClr val="AEABAB"/>
              </a:solidFill>
            </c:spPr>
            <c:extLst>
              <c:ext xmlns:c16="http://schemas.microsoft.com/office/drawing/2014/chart" uri="{C3380CC4-5D6E-409C-BE32-E72D297353CC}">
                <c16:uniqueId val="{000001AF-DA0F-4713-90B9-A8B869A7146B}"/>
              </c:ext>
            </c:extLst>
          </c:dPt>
          <c:dPt>
            <c:idx val="215"/>
            <c:invertIfNegative val="1"/>
            <c:bubble3D val="0"/>
            <c:spPr>
              <a:solidFill>
                <a:srgbClr val="AEABAB"/>
              </a:solidFill>
            </c:spPr>
            <c:extLst>
              <c:ext xmlns:c16="http://schemas.microsoft.com/office/drawing/2014/chart" uri="{C3380CC4-5D6E-409C-BE32-E72D297353CC}">
                <c16:uniqueId val="{000001B1-DA0F-4713-90B9-A8B869A7146B}"/>
              </c:ext>
            </c:extLst>
          </c:dPt>
          <c:dPt>
            <c:idx val="216"/>
            <c:invertIfNegative val="1"/>
            <c:bubble3D val="0"/>
            <c:spPr>
              <a:solidFill>
                <a:srgbClr val="AEABAB"/>
              </a:solidFill>
            </c:spPr>
            <c:extLst>
              <c:ext xmlns:c16="http://schemas.microsoft.com/office/drawing/2014/chart" uri="{C3380CC4-5D6E-409C-BE32-E72D297353CC}">
                <c16:uniqueId val="{000001B3-DA0F-4713-90B9-A8B869A7146B}"/>
              </c:ext>
            </c:extLst>
          </c:dPt>
          <c:dPt>
            <c:idx val="217"/>
            <c:invertIfNegative val="1"/>
            <c:bubble3D val="0"/>
            <c:spPr>
              <a:solidFill>
                <a:srgbClr val="AEABAB"/>
              </a:solidFill>
            </c:spPr>
            <c:extLst>
              <c:ext xmlns:c16="http://schemas.microsoft.com/office/drawing/2014/chart" uri="{C3380CC4-5D6E-409C-BE32-E72D297353CC}">
                <c16:uniqueId val="{000001B5-DA0F-4713-90B9-A8B869A7146B}"/>
              </c:ext>
            </c:extLst>
          </c:dPt>
          <c:dPt>
            <c:idx val="218"/>
            <c:invertIfNegative val="1"/>
            <c:bubble3D val="0"/>
            <c:spPr>
              <a:solidFill>
                <a:srgbClr val="AEABAB"/>
              </a:solidFill>
            </c:spPr>
            <c:extLst>
              <c:ext xmlns:c16="http://schemas.microsoft.com/office/drawing/2014/chart" uri="{C3380CC4-5D6E-409C-BE32-E72D297353CC}">
                <c16:uniqueId val="{000001B7-DA0F-4713-90B9-A8B869A7146B}"/>
              </c:ext>
            </c:extLst>
          </c:dPt>
          <c:dPt>
            <c:idx val="219"/>
            <c:invertIfNegative val="1"/>
            <c:bubble3D val="0"/>
            <c:spPr>
              <a:solidFill>
                <a:srgbClr val="AEABAB"/>
              </a:solidFill>
            </c:spPr>
            <c:extLst>
              <c:ext xmlns:c16="http://schemas.microsoft.com/office/drawing/2014/chart" uri="{C3380CC4-5D6E-409C-BE32-E72D297353CC}">
                <c16:uniqueId val="{000001B9-DA0F-4713-90B9-A8B869A7146B}"/>
              </c:ext>
            </c:extLst>
          </c:dPt>
          <c:dPt>
            <c:idx val="220"/>
            <c:invertIfNegative val="1"/>
            <c:bubble3D val="0"/>
            <c:spPr>
              <a:solidFill>
                <a:srgbClr val="AEABAB"/>
              </a:solidFill>
            </c:spPr>
            <c:extLst>
              <c:ext xmlns:c16="http://schemas.microsoft.com/office/drawing/2014/chart" uri="{C3380CC4-5D6E-409C-BE32-E72D297353CC}">
                <c16:uniqueId val="{000001BB-DA0F-4713-90B9-A8B869A7146B}"/>
              </c:ext>
            </c:extLst>
          </c:dPt>
          <c:dPt>
            <c:idx val="221"/>
            <c:invertIfNegative val="1"/>
            <c:bubble3D val="0"/>
            <c:spPr>
              <a:solidFill>
                <a:srgbClr val="AEABAB"/>
              </a:solidFill>
            </c:spPr>
            <c:extLst>
              <c:ext xmlns:c16="http://schemas.microsoft.com/office/drawing/2014/chart" uri="{C3380CC4-5D6E-409C-BE32-E72D297353CC}">
                <c16:uniqueId val="{000001BD-DA0F-4713-90B9-A8B869A7146B}"/>
              </c:ext>
            </c:extLst>
          </c:dPt>
          <c:dPt>
            <c:idx val="222"/>
            <c:invertIfNegative val="1"/>
            <c:bubble3D val="0"/>
            <c:spPr>
              <a:solidFill>
                <a:srgbClr val="AEABAB"/>
              </a:solidFill>
            </c:spPr>
            <c:extLst>
              <c:ext xmlns:c16="http://schemas.microsoft.com/office/drawing/2014/chart" uri="{C3380CC4-5D6E-409C-BE32-E72D297353CC}">
                <c16:uniqueId val="{000001BF-DA0F-4713-90B9-A8B869A7146B}"/>
              </c:ext>
            </c:extLst>
          </c:dPt>
          <c:dPt>
            <c:idx val="223"/>
            <c:invertIfNegative val="1"/>
            <c:bubble3D val="0"/>
            <c:spPr>
              <a:solidFill>
                <a:srgbClr val="AEABAB"/>
              </a:solidFill>
            </c:spPr>
            <c:extLst>
              <c:ext xmlns:c16="http://schemas.microsoft.com/office/drawing/2014/chart" uri="{C3380CC4-5D6E-409C-BE32-E72D297353CC}">
                <c16:uniqueId val="{000001C1-DA0F-4713-90B9-A8B869A7146B}"/>
              </c:ext>
            </c:extLst>
          </c:dPt>
          <c:dPt>
            <c:idx val="224"/>
            <c:invertIfNegative val="1"/>
            <c:bubble3D val="0"/>
            <c:spPr>
              <a:solidFill>
                <a:srgbClr val="AEABAB"/>
              </a:solidFill>
            </c:spPr>
            <c:extLst>
              <c:ext xmlns:c16="http://schemas.microsoft.com/office/drawing/2014/chart" uri="{C3380CC4-5D6E-409C-BE32-E72D297353CC}">
                <c16:uniqueId val="{000001C3-DA0F-4713-90B9-A8B869A7146B}"/>
              </c:ext>
            </c:extLst>
          </c:dPt>
          <c:dPt>
            <c:idx val="225"/>
            <c:invertIfNegative val="1"/>
            <c:bubble3D val="0"/>
            <c:spPr>
              <a:solidFill>
                <a:srgbClr val="AEABAB"/>
              </a:solidFill>
            </c:spPr>
            <c:extLst>
              <c:ext xmlns:c16="http://schemas.microsoft.com/office/drawing/2014/chart" uri="{C3380CC4-5D6E-409C-BE32-E72D297353CC}">
                <c16:uniqueId val="{000001C5-DA0F-4713-90B9-A8B869A7146B}"/>
              </c:ext>
            </c:extLst>
          </c:dPt>
          <c:dPt>
            <c:idx val="226"/>
            <c:invertIfNegative val="1"/>
            <c:bubble3D val="0"/>
            <c:spPr>
              <a:solidFill>
                <a:srgbClr val="AEABAB"/>
              </a:solidFill>
            </c:spPr>
            <c:extLst>
              <c:ext xmlns:c16="http://schemas.microsoft.com/office/drawing/2014/chart" uri="{C3380CC4-5D6E-409C-BE32-E72D297353CC}">
                <c16:uniqueId val="{000001C7-DA0F-4713-90B9-A8B869A7146B}"/>
              </c:ext>
            </c:extLst>
          </c:dPt>
          <c:dPt>
            <c:idx val="227"/>
            <c:invertIfNegative val="1"/>
            <c:bubble3D val="0"/>
            <c:spPr>
              <a:solidFill>
                <a:srgbClr val="AEABAB"/>
              </a:solidFill>
            </c:spPr>
            <c:extLst>
              <c:ext xmlns:c16="http://schemas.microsoft.com/office/drawing/2014/chart" uri="{C3380CC4-5D6E-409C-BE32-E72D297353CC}">
                <c16:uniqueId val="{000001C9-DA0F-4713-90B9-A8B869A7146B}"/>
              </c:ext>
            </c:extLst>
          </c:dPt>
          <c:dPt>
            <c:idx val="228"/>
            <c:invertIfNegative val="1"/>
            <c:bubble3D val="0"/>
            <c:spPr>
              <a:solidFill>
                <a:srgbClr val="AEABAB"/>
              </a:solidFill>
            </c:spPr>
            <c:extLst>
              <c:ext xmlns:c16="http://schemas.microsoft.com/office/drawing/2014/chart" uri="{C3380CC4-5D6E-409C-BE32-E72D297353CC}">
                <c16:uniqueId val="{000001CB-DA0F-4713-90B9-A8B869A7146B}"/>
              </c:ext>
            </c:extLst>
          </c:dPt>
          <c:dPt>
            <c:idx val="229"/>
            <c:invertIfNegative val="1"/>
            <c:bubble3D val="0"/>
            <c:spPr>
              <a:solidFill>
                <a:srgbClr val="AEABAB"/>
              </a:solidFill>
            </c:spPr>
            <c:extLst>
              <c:ext xmlns:c16="http://schemas.microsoft.com/office/drawing/2014/chart" uri="{C3380CC4-5D6E-409C-BE32-E72D297353CC}">
                <c16:uniqueId val="{000001CD-DA0F-4713-90B9-A8B869A7146B}"/>
              </c:ext>
            </c:extLst>
          </c:dPt>
          <c:dPt>
            <c:idx val="230"/>
            <c:invertIfNegative val="1"/>
            <c:bubble3D val="0"/>
            <c:spPr>
              <a:solidFill>
                <a:srgbClr val="AEABAB"/>
              </a:solidFill>
            </c:spPr>
            <c:extLst>
              <c:ext xmlns:c16="http://schemas.microsoft.com/office/drawing/2014/chart" uri="{C3380CC4-5D6E-409C-BE32-E72D297353CC}">
                <c16:uniqueId val="{000001CF-DA0F-4713-90B9-A8B869A7146B}"/>
              </c:ext>
            </c:extLst>
          </c:dPt>
          <c:dPt>
            <c:idx val="231"/>
            <c:invertIfNegative val="1"/>
            <c:bubble3D val="0"/>
            <c:spPr>
              <a:solidFill>
                <a:srgbClr val="AEABAB"/>
              </a:solidFill>
            </c:spPr>
            <c:extLst>
              <c:ext xmlns:c16="http://schemas.microsoft.com/office/drawing/2014/chart" uri="{C3380CC4-5D6E-409C-BE32-E72D297353CC}">
                <c16:uniqueId val="{000001D1-DA0F-4713-90B9-A8B869A7146B}"/>
              </c:ext>
            </c:extLst>
          </c:dPt>
          <c:dPt>
            <c:idx val="232"/>
            <c:invertIfNegative val="1"/>
            <c:bubble3D val="0"/>
            <c:spPr>
              <a:solidFill>
                <a:srgbClr val="AEABAB"/>
              </a:solidFill>
            </c:spPr>
            <c:extLst>
              <c:ext xmlns:c16="http://schemas.microsoft.com/office/drawing/2014/chart" uri="{C3380CC4-5D6E-409C-BE32-E72D297353CC}">
                <c16:uniqueId val="{000001D3-DA0F-4713-90B9-A8B869A7146B}"/>
              </c:ext>
            </c:extLst>
          </c:dPt>
          <c:dPt>
            <c:idx val="233"/>
            <c:invertIfNegative val="1"/>
            <c:bubble3D val="0"/>
            <c:spPr>
              <a:solidFill>
                <a:srgbClr val="AEABAB"/>
              </a:solidFill>
            </c:spPr>
            <c:extLst>
              <c:ext xmlns:c16="http://schemas.microsoft.com/office/drawing/2014/chart" uri="{C3380CC4-5D6E-409C-BE32-E72D297353CC}">
                <c16:uniqueId val="{000001D5-DA0F-4713-90B9-A8B869A7146B}"/>
              </c:ext>
            </c:extLst>
          </c:dPt>
          <c:dPt>
            <c:idx val="234"/>
            <c:invertIfNegative val="1"/>
            <c:bubble3D val="0"/>
            <c:spPr>
              <a:solidFill>
                <a:srgbClr val="AEABAB"/>
              </a:solidFill>
            </c:spPr>
            <c:extLst>
              <c:ext xmlns:c16="http://schemas.microsoft.com/office/drawing/2014/chart" uri="{C3380CC4-5D6E-409C-BE32-E72D297353CC}">
                <c16:uniqueId val="{000001D7-DA0F-4713-90B9-A8B869A7146B}"/>
              </c:ext>
            </c:extLst>
          </c:dPt>
          <c:dPt>
            <c:idx val="235"/>
            <c:invertIfNegative val="1"/>
            <c:bubble3D val="0"/>
            <c:spPr>
              <a:solidFill>
                <a:srgbClr val="AEABAB"/>
              </a:solidFill>
            </c:spPr>
            <c:extLst>
              <c:ext xmlns:c16="http://schemas.microsoft.com/office/drawing/2014/chart" uri="{C3380CC4-5D6E-409C-BE32-E72D297353CC}">
                <c16:uniqueId val="{000001D9-DA0F-4713-90B9-A8B869A7146B}"/>
              </c:ext>
            </c:extLst>
          </c:dPt>
          <c:dPt>
            <c:idx val="236"/>
            <c:invertIfNegative val="1"/>
            <c:bubble3D val="0"/>
            <c:spPr>
              <a:solidFill>
                <a:srgbClr val="AEABAB"/>
              </a:solidFill>
            </c:spPr>
            <c:extLst>
              <c:ext xmlns:c16="http://schemas.microsoft.com/office/drawing/2014/chart" uri="{C3380CC4-5D6E-409C-BE32-E72D297353CC}">
                <c16:uniqueId val="{000001DB-DA0F-4713-90B9-A8B869A7146B}"/>
              </c:ext>
            </c:extLst>
          </c:dPt>
          <c:dPt>
            <c:idx val="237"/>
            <c:invertIfNegative val="1"/>
            <c:bubble3D val="0"/>
            <c:spPr>
              <a:solidFill>
                <a:srgbClr val="AEABAB"/>
              </a:solidFill>
            </c:spPr>
            <c:extLst>
              <c:ext xmlns:c16="http://schemas.microsoft.com/office/drawing/2014/chart" uri="{C3380CC4-5D6E-409C-BE32-E72D297353CC}">
                <c16:uniqueId val="{000001DD-DA0F-4713-90B9-A8B869A7146B}"/>
              </c:ext>
            </c:extLst>
          </c:dPt>
          <c:dPt>
            <c:idx val="238"/>
            <c:invertIfNegative val="1"/>
            <c:bubble3D val="0"/>
            <c:spPr>
              <a:solidFill>
                <a:srgbClr val="AEABAB"/>
              </a:solidFill>
            </c:spPr>
            <c:extLst>
              <c:ext xmlns:c16="http://schemas.microsoft.com/office/drawing/2014/chart" uri="{C3380CC4-5D6E-409C-BE32-E72D297353CC}">
                <c16:uniqueId val="{000001DF-DA0F-4713-90B9-A8B869A7146B}"/>
              </c:ext>
            </c:extLst>
          </c:dPt>
          <c:dPt>
            <c:idx val="239"/>
            <c:invertIfNegative val="1"/>
            <c:bubble3D val="0"/>
            <c:spPr>
              <a:solidFill>
                <a:srgbClr val="AEABAB"/>
              </a:solidFill>
            </c:spPr>
            <c:extLst>
              <c:ext xmlns:c16="http://schemas.microsoft.com/office/drawing/2014/chart" uri="{C3380CC4-5D6E-409C-BE32-E72D297353CC}">
                <c16:uniqueId val="{000001E1-DA0F-4713-90B9-A8B869A7146B}"/>
              </c:ext>
            </c:extLst>
          </c:dPt>
          <c:dPt>
            <c:idx val="240"/>
            <c:invertIfNegative val="1"/>
            <c:bubble3D val="0"/>
            <c:spPr>
              <a:solidFill>
                <a:srgbClr val="AEABAB"/>
              </a:solidFill>
            </c:spPr>
            <c:extLst>
              <c:ext xmlns:c16="http://schemas.microsoft.com/office/drawing/2014/chart" uri="{C3380CC4-5D6E-409C-BE32-E72D297353CC}">
                <c16:uniqueId val="{000001E3-DA0F-4713-90B9-A8B869A7146B}"/>
              </c:ext>
            </c:extLst>
          </c:dPt>
          <c:dPt>
            <c:idx val="241"/>
            <c:invertIfNegative val="1"/>
            <c:bubble3D val="0"/>
            <c:spPr>
              <a:solidFill>
                <a:srgbClr val="AEABAB"/>
              </a:solidFill>
            </c:spPr>
            <c:extLst>
              <c:ext xmlns:c16="http://schemas.microsoft.com/office/drawing/2014/chart" uri="{C3380CC4-5D6E-409C-BE32-E72D297353CC}">
                <c16:uniqueId val="{000001E5-DA0F-4713-90B9-A8B869A7146B}"/>
              </c:ext>
            </c:extLst>
          </c:dPt>
          <c:dPt>
            <c:idx val="242"/>
            <c:invertIfNegative val="1"/>
            <c:bubble3D val="0"/>
            <c:spPr>
              <a:solidFill>
                <a:srgbClr val="AEABAB"/>
              </a:solidFill>
            </c:spPr>
            <c:extLst>
              <c:ext xmlns:c16="http://schemas.microsoft.com/office/drawing/2014/chart" uri="{C3380CC4-5D6E-409C-BE32-E72D297353CC}">
                <c16:uniqueId val="{000001E7-DA0F-4713-90B9-A8B869A7146B}"/>
              </c:ext>
            </c:extLst>
          </c:dPt>
          <c:dPt>
            <c:idx val="243"/>
            <c:invertIfNegative val="1"/>
            <c:bubble3D val="0"/>
            <c:spPr>
              <a:solidFill>
                <a:srgbClr val="AEABAB"/>
              </a:solidFill>
            </c:spPr>
            <c:extLst>
              <c:ext xmlns:c16="http://schemas.microsoft.com/office/drawing/2014/chart" uri="{C3380CC4-5D6E-409C-BE32-E72D297353CC}">
                <c16:uniqueId val="{000001E9-DA0F-4713-90B9-A8B869A7146B}"/>
              </c:ext>
            </c:extLst>
          </c:dPt>
          <c:dPt>
            <c:idx val="244"/>
            <c:invertIfNegative val="1"/>
            <c:bubble3D val="0"/>
            <c:spPr>
              <a:solidFill>
                <a:srgbClr val="AEABAB"/>
              </a:solidFill>
            </c:spPr>
            <c:extLst>
              <c:ext xmlns:c16="http://schemas.microsoft.com/office/drawing/2014/chart" uri="{C3380CC4-5D6E-409C-BE32-E72D297353CC}">
                <c16:uniqueId val="{000001EB-DA0F-4713-90B9-A8B869A7146B}"/>
              </c:ext>
            </c:extLst>
          </c:dPt>
          <c:dPt>
            <c:idx val="245"/>
            <c:invertIfNegative val="1"/>
            <c:bubble3D val="0"/>
            <c:spPr>
              <a:solidFill>
                <a:srgbClr val="AEABAB"/>
              </a:solidFill>
            </c:spPr>
            <c:extLst>
              <c:ext xmlns:c16="http://schemas.microsoft.com/office/drawing/2014/chart" uri="{C3380CC4-5D6E-409C-BE32-E72D297353CC}">
                <c16:uniqueId val="{000001ED-DA0F-4713-90B9-A8B869A7146B}"/>
              </c:ext>
            </c:extLst>
          </c:dPt>
          <c:dPt>
            <c:idx val="246"/>
            <c:invertIfNegative val="1"/>
            <c:bubble3D val="0"/>
            <c:spPr>
              <a:solidFill>
                <a:srgbClr val="AEABAB"/>
              </a:solidFill>
            </c:spPr>
            <c:extLst>
              <c:ext xmlns:c16="http://schemas.microsoft.com/office/drawing/2014/chart" uri="{C3380CC4-5D6E-409C-BE32-E72D297353CC}">
                <c16:uniqueId val="{000001EF-DA0F-4713-90B9-A8B869A7146B}"/>
              </c:ext>
            </c:extLst>
          </c:dPt>
          <c:dPt>
            <c:idx val="247"/>
            <c:invertIfNegative val="1"/>
            <c:bubble3D val="0"/>
            <c:spPr>
              <a:solidFill>
                <a:srgbClr val="AEABAB"/>
              </a:solidFill>
            </c:spPr>
            <c:extLst>
              <c:ext xmlns:c16="http://schemas.microsoft.com/office/drawing/2014/chart" uri="{C3380CC4-5D6E-409C-BE32-E72D297353CC}">
                <c16:uniqueId val="{000001F1-DA0F-4713-90B9-A8B869A7146B}"/>
              </c:ext>
            </c:extLst>
          </c:dPt>
          <c:dPt>
            <c:idx val="248"/>
            <c:invertIfNegative val="1"/>
            <c:bubble3D val="0"/>
            <c:spPr>
              <a:solidFill>
                <a:srgbClr val="AEABAB"/>
              </a:solidFill>
            </c:spPr>
            <c:extLst>
              <c:ext xmlns:c16="http://schemas.microsoft.com/office/drawing/2014/chart" uri="{C3380CC4-5D6E-409C-BE32-E72D297353CC}">
                <c16:uniqueId val="{000001F3-DA0F-4713-90B9-A8B869A7146B}"/>
              </c:ext>
            </c:extLst>
          </c:dPt>
          <c:dPt>
            <c:idx val="249"/>
            <c:invertIfNegative val="1"/>
            <c:bubble3D val="0"/>
            <c:spPr>
              <a:solidFill>
                <a:srgbClr val="AEABAB"/>
              </a:solidFill>
            </c:spPr>
            <c:extLst>
              <c:ext xmlns:c16="http://schemas.microsoft.com/office/drawing/2014/chart" uri="{C3380CC4-5D6E-409C-BE32-E72D297353CC}">
                <c16:uniqueId val="{000001F5-DA0F-4713-90B9-A8B869A7146B}"/>
              </c:ext>
            </c:extLst>
          </c:dPt>
          <c:dPt>
            <c:idx val="250"/>
            <c:invertIfNegative val="1"/>
            <c:bubble3D val="0"/>
            <c:spPr>
              <a:solidFill>
                <a:srgbClr val="AEABAB"/>
              </a:solidFill>
            </c:spPr>
            <c:extLst>
              <c:ext xmlns:c16="http://schemas.microsoft.com/office/drawing/2014/chart" uri="{C3380CC4-5D6E-409C-BE32-E72D297353CC}">
                <c16:uniqueId val="{000001F7-DA0F-4713-90B9-A8B869A7146B}"/>
              </c:ext>
            </c:extLst>
          </c:dPt>
          <c:dPt>
            <c:idx val="251"/>
            <c:invertIfNegative val="1"/>
            <c:bubble3D val="0"/>
            <c:spPr>
              <a:solidFill>
                <a:srgbClr val="AEABAB"/>
              </a:solidFill>
            </c:spPr>
            <c:extLst>
              <c:ext xmlns:c16="http://schemas.microsoft.com/office/drawing/2014/chart" uri="{C3380CC4-5D6E-409C-BE32-E72D297353CC}">
                <c16:uniqueId val="{000001F9-DA0F-4713-90B9-A8B869A7146B}"/>
              </c:ext>
            </c:extLst>
          </c:dPt>
          <c:dPt>
            <c:idx val="252"/>
            <c:invertIfNegative val="1"/>
            <c:bubble3D val="0"/>
            <c:spPr>
              <a:solidFill>
                <a:srgbClr val="AEABAB"/>
              </a:solidFill>
            </c:spPr>
            <c:extLst>
              <c:ext xmlns:c16="http://schemas.microsoft.com/office/drawing/2014/chart" uri="{C3380CC4-5D6E-409C-BE32-E72D297353CC}">
                <c16:uniqueId val="{000001FB-DA0F-4713-90B9-A8B869A7146B}"/>
              </c:ext>
            </c:extLst>
          </c:dPt>
          <c:dPt>
            <c:idx val="253"/>
            <c:invertIfNegative val="1"/>
            <c:bubble3D val="0"/>
            <c:spPr>
              <a:solidFill>
                <a:srgbClr val="AEABAB"/>
              </a:solidFill>
            </c:spPr>
            <c:extLst>
              <c:ext xmlns:c16="http://schemas.microsoft.com/office/drawing/2014/chart" uri="{C3380CC4-5D6E-409C-BE32-E72D297353CC}">
                <c16:uniqueId val="{000001FD-DA0F-4713-90B9-A8B869A7146B}"/>
              </c:ext>
            </c:extLst>
          </c:dPt>
          <c:dPt>
            <c:idx val="254"/>
            <c:invertIfNegative val="1"/>
            <c:bubble3D val="0"/>
            <c:spPr>
              <a:solidFill>
                <a:srgbClr val="AEABAB"/>
              </a:solidFill>
            </c:spPr>
            <c:extLst>
              <c:ext xmlns:c16="http://schemas.microsoft.com/office/drawing/2014/chart" uri="{C3380CC4-5D6E-409C-BE32-E72D297353CC}">
                <c16:uniqueId val="{000001FF-DA0F-4713-90B9-A8B869A7146B}"/>
              </c:ext>
            </c:extLst>
          </c:dPt>
          <c:dPt>
            <c:idx val="255"/>
            <c:invertIfNegative val="1"/>
            <c:bubble3D val="0"/>
            <c:spPr>
              <a:solidFill>
                <a:srgbClr val="AEABAB"/>
              </a:solidFill>
            </c:spPr>
            <c:extLst>
              <c:ext xmlns:c16="http://schemas.microsoft.com/office/drawing/2014/chart" uri="{C3380CC4-5D6E-409C-BE32-E72D297353CC}">
                <c16:uniqueId val="{00000201-DA0F-4713-90B9-A8B869A7146B}"/>
              </c:ext>
            </c:extLst>
          </c:dPt>
          <c:dPt>
            <c:idx val="256"/>
            <c:invertIfNegative val="1"/>
            <c:bubble3D val="0"/>
            <c:spPr>
              <a:solidFill>
                <a:srgbClr val="AEABAB"/>
              </a:solidFill>
            </c:spPr>
            <c:extLst>
              <c:ext xmlns:c16="http://schemas.microsoft.com/office/drawing/2014/chart" uri="{C3380CC4-5D6E-409C-BE32-E72D297353CC}">
                <c16:uniqueId val="{00000203-DA0F-4713-90B9-A8B869A7146B}"/>
              </c:ext>
            </c:extLst>
          </c:dPt>
          <c:dPt>
            <c:idx val="257"/>
            <c:invertIfNegative val="1"/>
            <c:bubble3D val="0"/>
            <c:spPr>
              <a:solidFill>
                <a:srgbClr val="AEABAB"/>
              </a:solidFill>
            </c:spPr>
            <c:extLst>
              <c:ext xmlns:c16="http://schemas.microsoft.com/office/drawing/2014/chart" uri="{C3380CC4-5D6E-409C-BE32-E72D297353CC}">
                <c16:uniqueId val="{00000205-DA0F-4713-90B9-A8B869A7146B}"/>
              </c:ext>
            </c:extLst>
          </c:dPt>
          <c:dPt>
            <c:idx val="258"/>
            <c:invertIfNegative val="1"/>
            <c:bubble3D val="0"/>
            <c:spPr>
              <a:solidFill>
                <a:srgbClr val="AEABAB"/>
              </a:solidFill>
            </c:spPr>
            <c:extLst>
              <c:ext xmlns:c16="http://schemas.microsoft.com/office/drawing/2014/chart" uri="{C3380CC4-5D6E-409C-BE32-E72D297353CC}">
                <c16:uniqueId val="{00000207-DA0F-4713-90B9-A8B869A7146B}"/>
              </c:ext>
            </c:extLst>
          </c:dPt>
          <c:dPt>
            <c:idx val="259"/>
            <c:invertIfNegative val="1"/>
            <c:bubble3D val="0"/>
            <c:spPr>
              <a:solidFill>
                <a:srgbClr val="AEABAB"/>
              </a:solidFill>
            </c:spPr>
            <c:extLst>
              <c:ext xmlns:c16="http://schemas.microsoft.com/office/drawing/2014/chart" uri="{C3380CC4-5D6E-409C-BE32-E72D297353CC}">
                <c16:uniqueId val="{00000209-DA0F-4713-90B9-A8B869A7146B}"/>
              </c:ext>
            </c:extLst>
          </c:dPt>
          <c:dPt>
            <c:idx val="260"/>
            <c:invertIfNegative val="1"/>
            <c:bubble3D val="0"/>
            <c:spPr>
              <a:solidFill>
                <a:srgbClr val="AEABAB"/>
              </a:solidFill>
            </c:spPr>
            <c:extLst>
              <c:ext xmlns:c16="http://schemas.microsoft.com/office/drawing/2014/chart" uri="{C3380CC4-5D6E-409C-BE32-E72D297353CC}">
                <c16:uniqueId val="{0000020B-DA0F-4713-90B9-A8B869A7146B}"/>
              </c:ext>
            </c:extLst>
          </c:dPt>
          <c:dPt>
            <c:idx val="261"/>
            <c:invertIfNegative val="1"/>
            <c:bubble3D val="0"/>
            <c:spPr>
              <a:solidFill>
                <a:srgbClr val="AEABAB"/>
              </a:solidFill>
            </c:spPr>
            <c:extLst>
              <c:ext xmlns:c16="http://schemas.microsoft.com/office/drawing/2014/chart" uri="{C3380CC4-5D6E-409C-BE32-E72D297353CC}">
                <c16:uniqueId val="{0000020D-DA0F-4713-90B9-A8B869A7146B}"/>
              </c:ext>
            </c:extLst>
          </c:dPt>
          <c:cat>
            <c:strRef>
              <c:f>Sheet1!$A$2:$A$263</c:f>
              <c:strCache>
                <c:ptCount val="262"/>
                <c:pt idx="0">
                  <c:v>Ruinart</c:v>
                </c:pt>
                <c:pt idx="1">
                  <c:v>Ruinart</c:v>
                </c:pt>
                <c:pt idx="2">
                  <c:v>Nicolas</c:v>
                </c:pt>
                <c:pt idx="3">
                  <c:v>Deutz</c:v>
                </c:pt>
                <c:pt idx="4">
                  <c:v>Ruinart</c:v>
                </c:pt>
                <c:pt idx="5">
                  <c:v>Heidsieck &amp;</c:v>
                </c:pt>
                <c:pt idx="6">
                  <c:v>De Bligny</c:v>
                </c:pt>
                <c:pt idx="7">
                  <c:v>Ayala</c:v>
                </c:pt>
                <c:pt idx="8">
                  <c:v>Laurent Per</c:v>
                </c:pt>
                <c:pt idx="9">
                  <c:v>Canard Duch</c:v>
                </c:pt>
                <c:pt idx="10">
                  <c:v>Nicolas Feu</c:v>
                </c:pt>
                <c:pt idx="11">
                  <c:v>Ruinart</c:v>
                </c:pt>
                <c:pt idx="12">
                  <c:v>Taittinger</c:v>
                </c:pt>
                <c:pt idx="13">
                  <c:v>Ruinart</c:v>
                </c:pt>
                <c:pt idx="14">
                  <c:v>Demoiselle</c:v>
                </c:pt>
                <c:pt idx="15">
                  <c:v>Bollinger</c:v>
                </c:pt>
                <c:pt idx="16">
                  <c:v>All Others</c:v>
                </c:pt>
                <c:pt idx="17">
                  <c:v>Malard</c:v>
                </c:pt>
                <c:pt idx="18">
                  <c:v>Dom Perigno</c:v>
                </c:pt>
                <c:pt idx="19">
                  <c:v>Ruinart</c:v>
                </c:pt>
                <c:pt idx="20">
                  <c:v>Deutz</c:v>
                </c:pt>
                <c:pt idx="21">
                  <c:v>Ruinart</c:v>
                </c:pt>
                <c:pt idx="22">
                  <c:v>Perrier Jou</c:v>
                </c:pt>
                <c:pt idx="23">
                  <c:v>Vesselle</c:v>
                </c:pt>
                <c:pt idx="24">
                  <c:v>Ruinart</c:v>
                </c:pt>
                <c:pt idx="25">
                  <c:v>Deutz</c:v>
                </c:pt>
                <c:pt idx="26">
                  <c:v>Savian</c:v>
                </c:pt>
                <c:pt idx="27">
                  <c:v>Laurent Per</c:v>
                </c:pt>
                <c:pt idx="28">
                  <c:v>Pommery</c:v>
                </c:pt>
                <c:pt idx="29">
                  <c:v>Bottega</c:v>
                </c:pt>
                <c:pt idx="30">
                  <c:v>Moët &amp; Chan</c:v>
                </c:pt>
                <c:pt idx="31">
                  <c:v>Taittinger</c:v>
                </c:pt>
                <c:pt idx="32">
                  <c:v>Dom Perigno</c:v>
                </c:pt>
                <c:pt idx="33">
                  <c:v>Besserat De</c:v>
                </c:pt>
                <c:pt idx="34">
                  <c:v>Laurent Per</c:v>
                </c:pt>
                <c:pt idx="35">
                  <c:v>Malard</c:v>
                </c:pt>
                <c:pt idx="36">
                  <c:v>Krug</c:v>
                </c:pt>
                <c:pt idx="37">
                  <c:v>Mure</c:v>
                </c:pt>
                <c:pt idx="38">
                  <c:v>All Others</c:v>
                </c:pt>
                <c:pt idx="39">
                  <c:v>Nicolas</c:v>
                </c:pt>
                <c:pt idx="40">
                  <c:v>Patriarche</c:v>
                </c:pt>
                <c:pt idx="41">
                  <c:v>Roederer</c:v>
                </c:pt>
                <c:pt idx="42">
                  <c:v>De Chanceny</c:v>
                </c:pt>
                <c:pt idx="43">
                  <c:v>Campari: Al</c:v>
                </c:pt>
                <c:pt idx="44">
                  <c:v>Ruinart</c:v>
                </c:pt>
                <c:pt idx="45">
                  <c:v>Veuve Clicq</c:v>
                </c:pt>
                <c:pt idx="46">
                  <c:v>Dom Perigno</c:v>
                </c:pt>
                <c:pt idx="47">
                  <c:v>Demoiselle</c:v>
                </c:pt>
                <c:pt idx="48">
                  <c:v>Malard</c:v>
                </c:pt>
                <c:pt idx="49">
                  <c:v>Besserat De</c:v>
                </c:pt>
                <c:pt idx="50">
                  <c:v>Henriot</c:v>
                </c:pt>
                <c:pt idx="51">
                  <c:v>Ayala</c:v>
                </c:pt>
                <c:pt idx="52">
                  <c:v>De Bligny</c:v>
                </c:pt>
                <c:pt idx="53">
                  <c:v>Nicolas</c:v>
                </c:pt>
                <c:pt idx="54">
                  <c:v>Bollinger</c:v>
                </c:pt>
                <c:pt idx="55">
                  <c:v>Savian</c:v>
                </c:pt>
                <c:pt idx="56">
                  <c:v>Moët &amp; Chan</c:v>
                </c:pt>
                <c:pt idx="57">
                  <c:v>Roederer</c:v>
                </c:pt>
                <c:pt idx="58">
                  <c:v>Demoiselle</c:v>
                </c:pt>
                <c:pt idx="59">
                  <c:v>Veuve Clicq</c:v>
                </c:pt>
                <c:pt idx="60">
                  <c:v>Ruinart</c:v>
                </c:pt>
                <c:pt idx="61">
                  <c:v>Roederer</c:v>
                </c:pt>
                <c:pt idx="62">
                  <c:v>Ruinart</c:v>
                </c:pt>
                <c:pt idx="63">
                  <c:v>All Others</c:v>
                </c:pt>
                <c:pt idx="64">
                  <c:v>Roederer</c:v>
                </c:pt>
                <c:pt idx="65">
                  <c:v>Pommery</c:v>
                </c:pt>
                <c:pt idx="66">
                  <c:v>Deutz</c:v>
                </c:pt>
                <c:pt idx="67">
                  <c:v>Chateau Mon</c:v>
                </c:pt>
                <c:pt idx="68">
                  <c:v>Nicolas Feu</c:v>
                </c:pt>
                <c:pt idx="69">
                  <c:v>Piper Heids</c:v>
                </c:pt>
                <c:pt idx="70">
                  <c:v>All Others</c:v>
                </c:pt>
                <c:pt idx="71">
                  <c:v>Nicolas Feu</c:v>
                </c:pt>
                <c:pt idx="72">
                  <c:v>Veuve Clicq</c:v>
                </c:pt>
                <c:pt idx="73">
                  <c:v>Campari: Al</c:v>
                </c:pt>
                <c:pt idx="74">
                  <c:v>Vilaveroni</c:v>
                </c:pt>
                <c:pt idx="75">
                  <c:v>Moët &amp; Chan</c:v>
                </c:pt>
                <c:pt idx="76">
                  <c:v>Nicolas Feu</c:v>
                </c:pt>
                <c:pt idx="77">
                  <c:v>All Others</c:v>
                </c:pt>
                <c:pt idx="78">
                  <c:v>De Venoge</c:v>
                </c:pt>
                <c:pt idx="79">
                  <c:v>Lyre's</c:v>
                </c:pt>
                <c:pt idx="80">
                  <c:v>Malard</c:v>
                </c:pt>
                <c:pt idx="81">
                  <c:v>Roederer</c:v>
                </c:pt>
                <c:pt idx="82">
                  <c:v>Malard</c:v>
                </c:pt>
                <c:pt idx="83">
                  <c:v>Bouvet-Ladu</c:v>
                </c:pt>
                <c:pt idx="84">
                  <c:v>Lanson</c:v>
                </c:pt>
                <c:pt idx="85">
                  <c:v>De Chanceny</c:v>
                </c:pt>
                <c:pt idx="86">
                  <c:v>All Others</c:v>
                </c:pt>
                <c:pt idx="87">
                  <c:v>Louis Marti</c:v>
                </c:pt>
                <c:pt idx="88">
                  <c:v>All Others</c:v>
                </c:pt>
                <c:pt idx="89">
                  <c:v>De Venoge</c:v>
                </c:pt>
                <c:pt idx="90">
                  <c:v>Besserat De</c:v>
                </c:pt>
                <c:pt idx="91">
                  <c:v>Henriot</c:v>
                </c:pt>
                <c:pt idx="92">
                  <c:v>Malard</c:v>
                </c:pt>
                <c:pt idx="93">
                  <c:v>Perrier Jou</c:v>
                </c:pt>
                <c:pt idx="94">
                  <c:v>All Others</c:v>
                </c:pt>
                <c:pt idx="95">
                  <c:v>All Others</c:v>
                </c:pt>
                <c:pt idx="96">
                  <c:v>Veuve Clicq</c:v>
                </c:pt>
                <c:pt idx="97">
                  <c:v>Ruinart</c:v>
                </c:pt>
                <c:pt idx="98">
                  <c:v>Canard Duch</c:v>
                </c:pt>
                <c:pt idx="99">
                  <c:v>Roederer</c:v>
                </c:pt>
                <c:pt idx="100">
                  <c:v>Ruinart</c:v>
                </c:pt>
                <c:pt idx="101">
                  <c:v>Canard Duch</c:v>
                </c:pt>
                <c:pt idx="102">
                  <c:v>Delamotte</c:v>
                </c:pt>
                <c:pt idx="103">
                  <c:v>Patriarche</c:v>
                </c:pt>
                <c:pt idx="104">
                  <c:v>Nicolas</c:v>
                </c:pt>
                <c:pt idx="105">
                  <c:v>Nicolas</c:v>
                </c:pt>
                <c:pt idx="106">
                  <c:v>Bottega</c:v>
                </c:pt>
                <c:pt idx="107">
                  <c:v>All Others</c:v>
                </c:pt>
                <c:pt idx="108">
                  <c:v>Laurent Per</c:v>
                </c:pt>
                <c:pt idx="109">
                  <c:v>Laurent Per</c:v>
                </c:pt>
                <c:pt idx="110">
                  <c:v>Dom Perigno</c:v>
                </c:pt>
                <c:pt idx="111">
                  <c:v>Roederer</c:v>
                </c:pt>
                <c:pt idx="112">
                  <c:v>Deutz</c:v>
                </c:pt>
                <c:pt idx="113">
                  <c:v>All Others</c:v>
                </c:pt>
                <c:pt idx="114">
                  <c:v>Deutz</c:v>
                </c:pt>
                <c:pt idx="115">
                  <c:v>All Others</c:v>
                </c:pt>
                <c:pt idx="116">
                  <c:v>Nicolas</c:v>
                </c:pt>
                <c:pt idx="117">
                  <c:v>Taittinger</c:v>
                </c:pt>
                <c:pt idx="118">
                  <c:v>All Others</c:v>
                </c:pt>
                <c:pt idx="119">
                  <c:v>Canard Duch</c:v>
                </c:pt>
                <c:pt idx="120">
                  <c:v>All Others</c:v>
                </c:pt>
                <c:pt idx="121">
                  <c:v>Nicolas</c:v>
                </c:pt>
                <c:pt idx="122">
                  <c:v>Roederer</c:v>
                </c:pt>
                <c:pt idx="123">
                  <c:v>Contarini</c:v>
                </c:pt>
                <c:pt idx="124">
                  <c:v>Henriot</c:v>
                </c:pt>
                <c:pt idx="125">
                  <c:v>Pommery</c:v>
                </c:pt>
                <c:pt idx="126">
                  <c:v>Nicolas</c:v>
                </c:pt>
                <c:pt idx="127">
                  <c:v>Ruinart</c:v>
                </c:pt>
                <c:pt idx="128">
                  <c:v>Delamotte</c:v>
                </c:pt>
                <c:pt idx="129">
                  <c:v>All Others</c:v>
                </c:pt>
                <c:pt idx="130">
                  <c:v>Ruinart</c:v>
                </c:pt>
                <c:pt idx="131">
                  <c:v>Moët &amp; Chan</c:v>
                </c:pt>
                <c:pt idx="132">
                  <c:v>Canard Duch</c:v>
                </c:pt>
                <c:pt idx="133">
                  <c:v>Perrier Jou</c:v>
                </c:pt>
                <c:pt idx="134">
                  <c:v>Veuve Clicq</c:v>
                </c:pt>
                <c:pt idx="135">
                  <c:v>All Others</c:v>
                </c:pt>
                <c:pt idx="136">
                  <c:v>Nicolas</c:v>
                </c:pt>
                <c:pt idx="137">
                  <c:v>Kriter</c:v>
                </c:pt>
                <c:pt idx="138">
                  <c:v>Bollinger</c:v>
                </c:pt>
                <c:pt idx="139">
                  <c:v>All Others</c:v>
                </c:pt>
                <c:pt idx="140">
                  <c:v>Lanson</c:v>
                </c:pt>
                <c:pt idx="141">
                  <c:v>Deutz</c:v>
                </c:pt>
                <c:pt idx="142">
                  <c:v>De Venoge</c:v>
                </c:pt>
                <c:pt idx="143">
                  <c:v>Henriot</c:v>
                </c:pt>
                <c:pt idx="144">
                  <c:v>Vilaveroni</c:v>
                </c:pt>
                <c:pt idx="145">
                  <c:v>Roederer</c:v>
                </c:pt>
                <c:pt idx="146">
                  <c:v>Ruinart</c:v>
                </c:pt>
                <c:pt idx="147">
                  <c:v>Vesselle</c:v>
                </c:pt>
                <c:pt idx="148">
                  <c:v>Laurent Per</c:v>
                </c:pt>
                <c:pt idx="149">
                  <c:v>Dom Perigno</c:v>
                </c:pt>
                <c:pt idx="150">
                  <c:v>Vranken</c:v>
                </c:pt>
                <c:pt idx="151">
                  <c:v>All Others</c:v>
                </c:pt>
                <c:pt idx="152">
                  <c:v>Nicolas Feu</c:v>
                </c:pt>
                <c:pt idx="153">
                  <c:v>Dom Perigno</c:v>
                </c:pt>
                <c:pt idx="154">
                  <c:v>Demoiselle</c:v>
                </c:pt>
                <c:pt idx="155">
                  <c:v>De Venoge</c:v>
                </c:pt>
                <c:pt idx="156">
                  <c:v>All Others</c:v>
                </c:pt>
                <c:pt idx="157">
                  <c:v>All Others</c:v>
                </c:pt>
                <c:pt idx="158">
                  <c:v>Vranken</c:v>
                </c:pt>
                <c:pt idx="159">
                  <c:v>Roederer</c:v>
                </c:pt>
                <c:pt idx="160">
                  <c:v>Deutz</c:v>
                </c:pt>
                <c:pt idx="161">
                  <c:v>All Others</c:v>
                </c:pt>
                <c:pt idx="162">
                  <c:v>All Others</c:v>
                </c:pt>
                <c:pt idx="163">
                  <c:v>Mure</c:v>
                </c:pt>
                <c:pt idx="164">
                  <c:v>Nicolas</c:v>
                </c:pt>
                <c:pt idx="165">
                  <c:v>Nicolas</c:v>
                </c:pt>
                <c:pt idx="166">
                  <c:v>All Others</c:v>
                </c:pt>
                <c:pt idx="167">
                  <c:v>Mure</c:v>
                </c:pt>
                <c:pt idx="168">
                  <c:v>Nicolas</c:v>
                </c:pt>
                <c:pt idx="169">
                  <c:v>Nicolas</c:v>
                </c:pt>
                <c:pt idx="170">
                  <c:v>Pommery</c:v>
                </c:pt>
                <c:pt idx="171">
                  <c:v>Besserat De</c:v>
                </c:pt>
                <c:pt idx="172">
                  <c:v>Nicolas</c:v>
                </c:pt>
                <c:pt idx="173">
                  <c:v>Perrier Jou</c:v>
                </c:pt>
                <c:pt idx="174">
                  <c:v>Nicolas</c:v>
                </c:pt>
                <c:pt idx="175">
                  <c:v>All Others</c:v>
                </c:pt>
                <c:pt idx="176">
                  <c:v>Roederer</c:v>
                </c:pt>
                <c:pt idx="177">
                  <c:v>Laurent Per</c:v>
                </c:pt>
                <c:pt idx="178">
                  <c:v>All Others</c:v>
                </c:pt>
                <c:pt idx="179">
                  <c:v>Nicolas</c:v>
                </c:pt>
                <c:pt idx="180">
                  <c:v>All Others</c:v>
                </c:pt>
                <c:pt idx="181">
                  <c:v>Demoiselle</c:v>
                </c:pt>
                <c:pt idx="182">
                  <c:v>Dom Perigno</c:v>
                </c:pt>
                <c:pt idx="183">
                  <c:v>All Others</c:v>
                </c:pt>
                <c:pt idx="184">
                  <c:v>Pommery</c:v>
                </c:pt>
                <c:pt idx="185">
                  <c:v>Pommery</c:v>
                </c:pt>
                <c:pt idx="186">
                  <c:v>Roederer</c:v>
                </c:pt>
                <c:pt idx="187">
                  <c:v>Roederer</c:v>
                </c:pt>
                <c:pt idx="188">
                  <c:v>Louis Marti</c:v>
                </c:pt>
                <c:pt idx="189">
                  <c:v>Moët &amp; Chan</c:v>
                </c:pt>
                <c:pt idx="190">
                  <c:v>Besserat De</c:v>
                </c:pt>
                <c:pt idx="191">
                  <c:v>Cru La Maqu</c:v>
                </c:pt>
                <c:pt idx="192">
                  <c:v>Contarini</c:v>
                </c:pt>
                <c:pt idx="193">
                  <c:v>Ruinart</c:v>
                </c:pt>
                <c:pt idx="194">
                  <c:v>All Others</c:v>
                </c:pt>
                <c:pt idx="195">
                  <c:v>Ayala</c:v>
                </c:pt>
                <c:pt idx="196">
                  <c:v>Bollinger</c:v>
                </c:pt>
                <c:pt idx="197">
                  <c:v>All Others</c:v>
                </c:pt>
                <c:pt idx="198">
                  <c:v>All Others</c:v>
                </c:pt>
                <c:pt idx="199">
                  <c:v>Bollinger</c:v>
                </c:pt>
                <c:pt idx="200">
                  <c:v>Dom Perigno</c:v>
                </c:pt>
                <c:pt idx="201">
                  <c:v>Laurent Per</c:v>
                </c:pt>
                <c:pt idx="202">
                  <c:v>Roederer</c:v>
                </c:pt>
                <c:pt idx="203">
                  <c:v>Moët &amp; Chan</c:v>
                </c:pt>
                <c:pt idx="204">
                  <c:v>All Others</c:v>
                </c:pt>
                <c:pt idx="205">
                  <c:v>Canard Duch</c:v>
                </c:pt>
                <c:pt idx="206">
                  <c:v>Vilaveroni</c:v>
                </c:pt>
                <c:pt idx="207">
                  <c:v>Roederer</c:v>
                </c:pt>
                <c:pt idx="208">
                  <c:v>All Others</c:v>
                </c:pt>
                <c:pt idx="209">
                  <c:v>Nicolas Feu</c:v>
                </c:pt>
                <c:pt idx="210">
                  <c:v>Moët &amp; Chan</c:v>
                </c:pt>
                <c:pt idx="211">
                  <c:v>Ruinart</c:v>
                </c:pt>
                <c:pt idx="212">
                  <c:v>Vesselle</c:v>
                </c:pt>
                <c:pt idx="213">
                  <c:v>Dom Perigno</c:v>
                </c:pt>
                <c:pt idx="214">
                  <c:v>Bouvet-Ladu</c:v>
                </c:pt>
                <c:pt idx="215">
                  <c:v>Piper Heids</c:v>
                </c:pt>
                <c:pt idx="216">
                  <c:v>Veuve Clicq</c:v>
                </c:pt>
                <c:pt idx="217">
                  <c:v>All Others</c:v>
                </c:pt>
                <c:pt idx="218">
                  <c:v>Taittinger</c:v>
                </c:pt>
                <c:pt idx="219">
                  <c:v>Henriot</c:v>
                </c:pt>
                <c:pt idx="220">
                  <c:v>Canard Duch</c:v>
                </c:pt>
                <c:pt idx="221">
                  <c:v>Vilaveroni</c:v>
                </c:pt>
                <c:pt idx="222">
                  <c:v>Bollinger</c:v>
                </c:pt>
                <c:pt idx="223">
                  <c:v>Pommery</c:v>
                </c:pt>
                <c:pt idx="224">
                  <c:v>Perrier Jou</c:v>
                </c:pt>
                <c:pt idx="225">
                  <c:v>Nicolas</c:v>
                </c:pt>
                <c:pt idx="226">
                  <c:v>Moët &amp; Chan</c:v>
                </c:pt>
                <c:pt idx="227">
                  <c:v>Laurent Per</c:v>
                </c:pt>
                <c:pt idx="228">
                  <c:v>Taittinger</c:v>
                </c:pt>
                <c:pt idx="229">
                  <c:v>Piper Heids</c:v>
                </c:pt>
                <c:pt idx="230">
                  <c:v>Veuve Clicq</c:v>
                </c:pt>
                <c:pt idx="231">
                  <c:v>Bouvet-Ladu</c:v>
                </c:pt>
                <c:pt idx="232">
                  <c:v>All Others</c:v>
                </c:pt>
                <c:pt idx="233">
                  <c:v>Pommery</c:v>
                </c:pt>
                <c:pt idx="234">
                  <c:v>Nicolas</c:v>
                </c:pt>
                <c:pt idx="235">
                  <c:v>Bouvet-Ladu</c:v>
                </c:pt>
                <c:pt idx="236">
                  <c:v>Celene</c:v>
                </c:pt>
                <c:pt idx="237">
                  <c:v>All Others</c:v>
                </c:pt>
                <c:pt idx="238">
                  <c:v>Nicolas</c:v>
                </c:pt>
                <c:pt idx="239">
                  <c:v>All Others</c:v>
                </c:pt>
                <c:pt idx="240">
                  <c:v>All Others</c:v>
                </c:pt>
                <c:pt idx="241">
                  <c:v>Laurent Per</c:v>
                </c:pt>
                <c:pt idx="242">
                  <c:v>Canard Duch</c:v>
                </c:pt>
                <c:pt idx="243">
                  <c:v>Roederer</c:v>
                </c:pt>
                <c:pt idx="244">
                  <c:v>De Venoge</c:v>
                </c:pt>
                <c:pt idx="245">
                  <c:v>Bottega</c:v>
                </c:pt>
                <c:pt idx="246">
                  <c:v>All Others</c:v>
                </c:pt>
                <c:pt idx="247">
                  <c:v>Henriot</c:v>
                </c:pt>
                <c:pt idx="248">
                  <c:v>All Others</c:v>
                </c:pt>
                <c:pt idx="249">
                  <c:v>De Bligny</c:v>
                </c:pt>
                <c:pt idx="250">
                  <c:v>Piper Heids</c:v>
                </c:pt>
                <c:pt idx="251">
                  <c:v>All Others</c:v>
                </c:pt>
                <c:pt idx="252">
                  <c:v>Piper Heids</c:v>
                </c:pt>
                <c:pt idx="253">
                  <c:v>Ayala</c:v>
                </c:pt>
                <c:pt idx="254">
                  <c:v>Martel</c:v>
                </c:pt>
                <c:pt idx="255">
                  <c:v>Demoiselle</c:v>
                </c:pt>
                <c:pt idx="256">
                  <c:v>Malard</c:v>
                </c:pt>
                <c:pt idx="257">
                  <c:v>Roederer</c:v>
                </c:pt>
                <c:pt idx="258">
                  <c:v>Vranken</c:v>
                </c:pt>
                <c:pt idx="259">
                  <c:v>All Others</c:v>
                </c:pt>
                <c:pt idx="260">
                  <c:v>Celene</c:v>
                </c:pt>
                <c:pt idx="261">
                  <c:v>Jaillance</c:v>
                </c:pt>
              </c:strCache>
            </c:strRef>
          </c:cat>
          <c:val>
            <c:numRef>
              <c:f>Sheet1!$C$2:$C$263</c:f>
              <c:numCache>
                <c:formatCode>General</c:formatCode>
                <c:ptCount val="262"/>
                <c:pt idx="0">
                  <c:v>0.10635891842213066</c:v>
                </c:pt>
                <c:pt idx="1">
                  <c:v>0.15934131976441362</c:v>
                </c:pt>
                <c:pt idx="2">
                  <c:v>0.20524517351313296</c:v>
                </c:pt>
                <c:pt idx="3">
                  <c:v>0.24762978631895083</c:v>
                </c:pt>
                <c:pt idx="4">
                  <c:v>0.28260714919406604</c:v>
                </c:pt>
                <c:pt idx="5">
                  <c:v>0.31028192357915962</c:v>
                </c:pt>
                <c:pt idx="6">
                  <c:v>0.33121421171537646</c:v>
                </c:pt>
                <c:pt idx="7">
                  <c:v>0.3509984946741227</c:v>
                </c:pt>
                <c:pt idx="8">
                  <c:v>0.37053011837372474</c:v>
                </c:pt>
                <c:pt idx="9">
                  <c:v>0.38935773035124543</c:v>
                </c:pt>
                <c:pt idx="10">
                  <c:v>0.40722049467248739</c:v>
                </c:pt>
                <c:pt idx="11">
                  <c:v>0.42450353273245678</c:v>
                </c:pt>
                <c:pt idx="12">
                  <c:v>0.44067127231516834</c:v>
                </c:pt>
                <c:pt idx="13">
                  <c:v>0.45664522469911883</c:v>
                </c:pt>
                <c:pt idx="14">
                  <c:v>0.47085546827409197</c:v>
                </c:pt>
                <c:pt idx="15">
                  <c:v>0.48500765745618735</c:v>
                </c:pt>
                <c:pt idx="16">
                  <c:v>0.49872402985794662</c:v>
                </c:pt>
                <c:pt idx="17">
                  <c:v>0.51227523342363113</c:v>
                </c:pt>
                <c:pt idx="18">
                  <c:v>0.52484523598293042</c:v>
                </c:pt>
                <c:pt idx="19">
                  <c:v>0.53708571853758535</c:v>
                </c:pt>
                <c:pt idx="20">
                  <c:v>0.54873339215088257</c:v>
                </c:pt>
                <c:pt idx="21">
                  <c:v>0.55947754317080012</c:v>
                </c:pt>
                <c:pt idx="22">
                  <c:v>0.56992406321878086</c:v>
                </c:pt>
                <c:pt idx="23">
                  <c:v>0.579989550209282</c:v>
                </c:pt>
                <c:pt idx="24">
                  <c:v>0.58997735878677771</c:v>
                </c:pt>
                <c:pt idx="25">
                  <c:v>0.59989484795881576</c:v>
                </c:pt>
                <c:pt idx="26">
                  <c:v>0.60901020530813399</c:v>
                </c:pt>
                <c:pt idx="27">
                  <c:v>0.61810757397233507</c:v>
                </c:pt>
                <c:pt idx="28">
                  <c:v>0.62649030123688565</c:v>
                </c:pt>
                <c:pt idx="29">
                  <c:v>0.6343521743005468</c:v>
                </c:pt>
                <c:pt idx="30">
                  <c:v>0.64188289202455295</c:v>
                </c:pt>
                <c:pt idx="31">
                  <c:v>0.64932284865546852</c:v>
                </c:pt>
                <c:pt idx="32">
                  <c:v>0.65647089798698444</c:v>
                </c:pt>
                <c:pt idx="33">
                  <c:v>0.66345541381743622</c:v>
                </c:pt>
                <c:pt idx="34">
                  <c:v>0.6704186702927496</c:v>
                </c:pt>
                <c:pt idx="35">
                  <c:v>0.67732305470767984</c:v>
                </c:pt>
                <c:pt idx="36">
                  <c:v>0.68415711971715254</c:v>
                </c:pt>
                <c:pt idx="37">
                  <c:v>0.690942124676306</c:v>
                </c:pt>
                <c:pt idx="38">
                  <c:v>0.69767398124761359</c:v>
                </c:pt>
                <c:pt idx="39">
                  <c:v>0.7042316746402878</c:v>
                </c:pt>
                <c:pt idx="40">
                  <c:v>0.71005264961066783</c:v>
                </c:pt>
                <c:pt idx="41">
                  <c:v>0.71561115331183978</c:v>
                </c:pt>
                <c:pt idx="42">
                  <c:v>0.7207485582477714</c:v>
                </c:pt>
                <c:pt idx="43">
                  <c:v>0.72587533350613387</c:v>
                </c:pt>
                <c:pt idx="44">
                  <c:v>0.73099965576198045</c:v>
                </c:pt>
                <c:pt idx="45">
                  <c:v>0.73605365861236938</c:v>
                </c:pt>
                <c:pt idx="46">
                  <c:v>0.74099237034450804</c:v>
                </c:pt>
                <c:pt idx="47">
                  <c:v>0.7458836573613381</c:v>
                </c:pt>
                <c:pt idx="48">
                  <c:v>0.75040781166827908</c:v>
                </c:pt>
                <c:pt idx="49">
                  <c:v>0.75492051863014553</c:v>
                </c:pt>
                <c:pt idx="50">
                  <c:v>0.75942423124945346</c:v>
                </c:pt>
                <c:pt idx="51">
                  <c:v>0.76386743647336763</c:v>
                </c:pt>
                <c:pt idx="52">
                  <c:v>0.76829919435220728</c:v>
                </c:pt>
                <c:pt idx="53">
                  <c:v>0.77266880950064254</c:v>
                </c:pt>
                <c:pt idx="54">
                  <c:v>0.77694521055347121</c:v>
                </c:pt>
                <c:pt idx="55">
                  <c:v>0.78112022083564014</c:v>
                </c:pt>
                <c:pt idx="56">
                  <c:v>0.78522000570731953</c:v>
                </c:pt>
                <c:pt idx="57">
                  <c:v>0.78926664219115306</c:v>
                </c:pt>
                <c:pt idx="58">
                  <c:v>0.79314810983891171</c:v>
                </c:pt>
                <c:pt idx="59">
                  <c:v>0.79690774502837758</c:v>
                </c:pt>
                <c:pt idx="60">
                  <c:v>0.80063467351763051</c:v>
                </c:pt>
                <c:pt idx="61">
                  <c:v>0.80425857590121308</c:v>
                </c:pt>
                <c:pt idx="62">
                  <c:v>0.80783014756445504</c:v>
                </c:pt>
                <c:pt idx="63">
                  <c:v>0.81133794116228197</c:v>
                </c:pt>
                <c:pt idx="64">
                  <c:v>0.81477623302215663</c:v>
                </c:pt>
                <c:pt idx="65">
                  <c:v>0.81819653619691424</c:v>
                </c:pt>
                <c:pt idx="66">
                  <c:v>0.82159230934651228</c:v>
                </c:pt>
                <c:pt idx="67">
                  <c:v>0.82498317649107833</c:v>
                </c:pt>
                <c:pt idx="68">
                  <c:v>0.82828246487504842</c:v>
                </c:pt>
                <c:pt idx="69">
                  <c:v>0.83153759921373116</c:v>
                </c:pt>
                <c:pt idx="70">
                  <c:v>0.83468153077169027</c:v>
                </c:pt>
                <c:pt idx="71">
                  <c:v>0.83777313160930889</c:v>
                </c:pt>
                <c:pt idx="72">
                  <c:v>0.84078868936893258</c:v>
                </c:pt>
                <c:pt idx="73">
                  <c:v>0.84378135243840735</c:v>
                </c:pt>
                <c:pt idx="74">
                  <c:v>0.84676992717035549</c:v>
                </c:pt>
                <c:pt idx="75">
                  <c:v>0.84966528780669703</c:v>
                </c:pt>
                <c:pt idx="76">
                  <c:v>0.85253693608538428</c:v>
                </c:pt>
                <c:pt idx="77">
                  <c:v>0.85540122535652363</c:v>
                </c:pt>
                <c:pt idx="78">
                  <c:v>0.85820582489977459</c:v>
                </c:pt>
                <c:pt idx="79">
                  <c:v>0.86100061243296167</c:v>
                </c:pt>
                <c:pt idx="80">
                  <c:v>0.86362287212252598</c:v>
                </c:pt>
                <c:pt idx="81">
                  <c:v>0.8661519177164837</c:v>
                </c:pt>
                <c:pt idx="82">
                  <c:v>0.86860655556745725</c:v>
                </c:pt>
                <c:pt idx="83">
                  <c:v>0.87100477436056367</c:v>
                </c:pt>
                <c:pt idx="84">
                  <c:v>0.87338336913354242</c:v>
                </c:pt>
                <c:pt idx="85">
                  <c:v>0.87575460489897328</c:v>
                </c:pt>
                <c:pt idx="86">
                  <c:v>0.87808904562666468</c:v>
                </c:pt>
                <c:pt idx="87">
                  <c:v>0.88038996198663788</c:v>
                </c:pt>
                <c:pt idx="88">
                  <c:v>0.88265898931390363</c:v>
                </c:pt>
                <c:pt idx="89">
                  <c:v>0.88492229296863212</c:v>
                </c:pt>
                <c:pt idx="90">
                  <c:v>0.887135718905536</c:v>
                </c:pt>
                <c:pt idx="91">
                  <c:v>0.88933197382482809</c:v>
                </c:pt>
                <c:pt idx="92">
                  <c:v>0.89143583231601897</c:v>
                </c:pt>
                <c:pt idx="93">
                  <c:v>0.8935266081271247</c:v>
                </c:pt>
                <c:pt idx="94">
                  <c:v>0.89557322989294308</c:v>
                </c:pt>
                <c:pt idx="95">
                  <c:v>0.89755852659586244</c:v>
                </c:pt>
                <c:pt idx="96">
                  <c:v>0.89953237595370727</c:v>
                </c:pt>
                <c:pt idx="97">
                  <c:v>0.90149968397150948</c:v>
                </c:pt>
                <c:pt idx="98">
                  <c:v>0.90343673829161486</c:v>
                </c:pt>
                <c:pt idx="99">
                  <c:v>0.90534599191653931</c:v>
                </c:pt>
                <c:pt idx="100">
                  <c:v>0.9072446158638946</c:v>
                </c:pt>
                <c:pt idx="101">
                  <c:v>0.90910889777602644</c:v>
                </c:pt>
                <c:pt idx="102">
                  <c:v>0.9109723620206529</c:v>
                </c:pt>
                <c:pt idx="103">
                  <c:v>0.91280066656255054</c:v>
                </c:pt>
                <c:pt idx="104">
                  <c:v>0.91462733576943755</c:v>
                </c:pt>
                <c:pt idx="105">
                  <c:v>0.91636242621572861</c:v>
                </c:pt>
                <c:pt idx="106">
                  <c:v>0.91803864460163664</c:v>
                </c:pt>
                <c:pt idx="107">
                  <c:v>0.91970832164750205</c:v>
                </c:pt>
                <c:pt idx="108">
                  <c:v>0.92124308355498952</c:v>
                </c:pt>
                <c:pt idx="109">
                  <c:v>0.92274759176478005</c:v>
                </c:pt>
                <c:pt idx="110">
                  <c:v>0.92421939327435776</c:v>
                </c:pt>
                <c:pt idx="111">
                  <c:v>0.92567729443634506</c:v>
                </c:pt>
                <c:pt idx="112">
                  <c:v>0.92710494190063542</c:v>
                </c:pt>
                <c:pt idx="113">
                  <c:v>0.92852441268987262</c:v>
                </c:pt>
                <c:pt idx="114">
                  <c:v>0.92992998313151942</c:v>
                </c:pt>
                <c:pt idx="115">
                  <c:v>0.93132982990062896</c:v>
                </c:pt>
                <c:pt idx="116">
                  <c:v>0.93265526892675421</c:v>
                </c:pt>
                <c:pt idx="117">
                  <c:v>0.9339774372828582</c:v>
                </c:pt>
                <c:pt idx="118">
                  <c:v>0.93527344027879189</c:v>
                </c:pt>
                <c:pt idx="119">
                  <c:v>0.93652692456444897</c:v>
                </c:pt>
                <c:pt idx="120">
                  <c:v>0.93776896150503153</c:v>
                </c:pt>
                <c:pt idx="121">
                  <c:v>0.93900527477307683</c:v>
                </c:pt>
                <c:pt idx="122">
                  <c:v>0.94021542268095182</c:v>
                </c:pt>
                <c:pt idx="123">
                  <c:v>0.94140758190370977</c:v>
                </c:pt>
                <c:pt idx="124">
                  <c:v>0.94259728812395183</c:v>
                </c:pt>
                <c:pt idx="125">
                  <c:v>0.94378454134167789</c:v>
                </c:pt>
                <c:pt idx="126">
                  <c:v>0.94496852388938268</c:v>
                </c:pt>
                <c:pt idx="127">
                  <c:v>0.94612634107691718</c:v>
                </c:pt>
                <c:pt idx="128">
                  <c:v>0.94724818089421758</c:v>
                </c:pt>
                <c:pt idx="129">
                  <c:v>0.94833322567377853</c:v>
                </c:pt>
                <c:pt idx="130">
                  <c:v>0.94941172911329685</c:v>
                </c:pt>
                <c:pt idx="131">
                  <c:v>0.95042645448740015</c:v>
                </c:pt>
                <c:pt idx="132">
                  <c:v>0.95143218551894493</c:v>
                </c:pt>
                <c:pt idx="133">
                  <c:v>0.95243628121547907</c:v>
                </c:pt>
                <c:pt idx="134">
                  <c:v>0.95340930554681103</c:v>
                </c:pt>
                <c:pt idx="135">
                  <c:v>0.95437824154061635</c:v>
                </c:pt>
                <c:pt idx="136">
                  <c:v>0.95533736552435788</c:v>
                </c:pt>
                <c:pt idx="137">
                  <c:v>0.95626460047539186</c:v>
                </c:pt>
                <c:pt idx="138">
                  <c:v>0.95717139373879279</c:v>
                </c:pt>
                <c:pt idx="139">
                  <c:v>0.95804384496697026</c:v>
                </c:pt>
                <c:pt idx="140">
                  <c:v>0.95890566651757858</c:v>
                </c:pt>
                <c:pt idx="141">
                  <c:v>0.95976667040068153</c:v>
                </c:pt>
                <c:pt idx="142">
                  <c:v>0.96062276827875259</c:v>
                </c:pt>
                <c:pt idx="143">
                  <c:v>0.96142408243396715</c:v>
                </c:pt>
                <c:pt idx="144">
                  <c:v>0.96221885524913908</c:v>
                </c:pt>
                <c:pt idx="145">
                  <c:v>0.96301199272930038</c:v>
                </c:pt>
                <c:pt idx="146">
                  <c:v>0.96377160584174359</c:v>
                </c:pt>
                <c:pt idx="147">
                  <c:v>0.96449033557892072</c:v>
                </c:pt>
                <c:pt idx="148">
                  <c:v>0.96520742998108722</c:v>
                </c:pt>
                <c:pt idx="149">
                  <c:v>0.96588609401050363</c:v>
                </c:pt>
                <c:pt idx="150">
                  <c:v>0.96655903436738277</c:v>
                </c:pt>
                <c:pt idx="151">
                  <c:v>0.96721889204417677</c:v>
                </c:pt>
                <c:pt idx="152">
                  <c:v>0.96787466138344413</c:v>
                </c:pt>
                <c:pt idx="153">
                  <c:v>0.96852879538770087</c:v>
                </c:pt>
                <c:pt idx="154">
                  <c:v>0.96917393504939908</c:v>
                </c:pt>
                <c:pt idx="155">
                  <c:v>0.96981743937608667</c:v>
                </c:pt>
                <c:pt idx="156">
                  <c:v>0.97045194936021573</c:v>
                </c:pt>
                <c:pt idx="157">
                  <c:v>0.97107746500178627</c:v>
                </c:pt>
                <c:pt idx="158">
                  <c:v>0.97170134530834618</c:v>
                </c:pt>
                <c:pt idx="159">
                  <c:v>0.97232440794740072</c:v>
                </c:pt>
                <c:pt idx="160">
                  <c:v>0.97294583525144462</c:v>
                </c:pt>
                <c:pt idx="161">
                  <c:v>0.97354845620286623</c:v>
                </c:pt>
                <c:pt idx="162">
                  <c:v>0.97414862415177184</c:v>
                </c:pt>
                <c:pt idx="163">
                  <c:v>0.97474715676566681</c:v>
                </c:pt>
                <c:pt idx="164">
                  <c:v>0.97532770069444474</c:v>
                </c:pt>
                <c:pt idx="165">
                  <c:v>0.97590252095068541</c:v>
                </c:pt>
                <c:pt idx="166">
                  <c:v>0.97646344085933556</c:v>
                </c:pt>
                <c:pt idx="167">
                  <c:v>0.97701373109041656</c:v>
                </c:pt>
                <c:pt idx="168">
                  <c:v>0.97754112663134862</c:v>
                </c:pt>
                <c:pt idx="169">
                  <c:v>0.97806852217228069</c:v>
                </c:pt>
                <c:pt idx="170">
                  <c:v>0.97858365270063286</c:v>
                </c:pt>
                <c:pt idx="171">
                  <c:v>0.97909142422143713</c:v>
                </c:pt>
                <c:pt idx="172">
                  <c:v>0.97959837807473615</c:v>
                </c:pt>
                <c:pt idx="173">
                  <c:v>0.98010369659302454</c:v>
                </c:pt>
                <c:pt idx="174">
                  <c:v>0.98059920310124904</c:v>
                </c:pt>
                <c:pt idx="175">
                  <c:v>0.98109062127194691</c:v>
                </c:pt>
                <c:pt idx="176">
                  <c:v>0.98157958644012888</c:v>
                </c:pt>
                <c:pt idx="177">
                  <c:v>0.98206201026826823</c:v>
                </c:pt>
                <c:pt idx="178">
                  <c:v>0.98254034575888094</c:v>
                </c:pt>
                <c:pt idx="179">
                  <c:v>0.98300968690693513</c:v>
                </c:pt>
                <c:pt idx="180">
                  <c:v>0.98347412204995743</c:v>
                </c:pt>
                <c:pt idx="181">
                  <c:v>0.98392956285042121</c:v>
                </c:pt>
                <c:pt idx="182">
                  <c:v>0.98437927997834773</c:v>
                </c:pt>
                <c:pt idx="183">
                  <c:v>0.98482899710627425</c:v>
                </c:pt>
                <c:pt idx="184">
                  <c:v>0.98527544356417951</c:v>
                </c:pt>
                <c:pt idx="185">
                  <c:v>0.98571861935206351</c:v>
                </c:pt>
                <c:pt idx="186">
                  <c:v>0.98616015980493688</c:v>
                </c:pt>
                <c:pt idx="187">
                  <c:v>0.98660006492279961</c:v>
                </c:pt>
                <c:pt idx="188">
                  <c:v>0.98703506403563035</c:v>
                </c:pt>
                <c:pt idx="189">
                  <c:v>0.98745125679583867</c:v>
                </c:pt>
                <c:pt idx="190">
                  <c:v>0.98786090821600447</c:v>
                </c:pt>
                <c:pt idx="191">
                  <c:v>0.98827055963617028</c:v>
                </c:pt>
                <c:pt idx="192">
                  <c:v>0.98867039904627219</c:v>
                </c:pt>
                <c:pt idx="193">
                  <c:v>0.98906860312136347</c:v>
                </c:pt>
                <c:pt idx="194">
                  <c:v>0.98946598952894949</c:v>
                </c:pt>
                <c:pt idx="195">
                  <c:v>0.98985438159397698</c:v>
                </c:pt>
                <c:pt idx="196">
                  <c:v>0.99020924929128629</c:v>
                </c:pt>
                <c:pt idx="197">
                  <c:v>0.99055266964352107</c:v>
                </c:pt>
                <c:pt idx="198">
                  <c:v>0.99087319530560691</c:v>
                </c:pt>
                <c:pt idx="199">
                  <c:v>0.99119208563268213</c:v>
                </c:pt>
                <c:pt idx="200">
                  <c:v>0.99150279928470408</c:v>
                </c:pt>
                <c:pt idx="201">
                  <c:v>0.99180043025664089</c:v>
                </c:pt>
                <c:pt idx="202">
                  <c:v>0.99209479055855643</c:v>
                </c:pt>
                <c:pt idx="203">
                  <c:v>0.99238179185292408</c:v>
                </c:pt>
                <c:pt idx="204">
                  <c:v>0.99266225180724921</c:v>
                </c:pt>
                <c:pt idx="205">
                  <c:v>0.99294189409406897</c:v>
                </c:pt>
                <c:pt idx="206">
                  <c:v>0.99321908337837272</c:v>
                </c:pt>
                <c:pt idx="207">
                  <c:v>0.9934840076500967</c:v>
                </c:pt>
                <c:pt idx="208">
                  <c:v>0.99373830224425153</c:v>
                </c:pt>
                <c:pt idx="209">
                  <c:v>0.99398932616838509</c:v>
                </c:pt>
                <c:pt idx="210">
                  <c:v>0.99423462641998139</c:v>
                </c:pt>
                <c:pt idx="211">
                  <c:v>0.99447583833405107</c:v>
                </c:pt>
                <c:pt idx="212">
                  <c:v>0.99470478523554096</c:v>
                </c:pt>
                <c:pt idx="213">
                  <c:v>0.99492964379950422</c:v>
                </c:pt>
                <c:pt idx="214">
                  <c:v>0.99515368469596222</c:v>
                </c:pt>
                <c:pt idx="215">
                  <c:v>0.9953540132347658</c:v>
                </c:pt>
                <c:pt idx="216">
                  <c:v>0.99555025343604286</c:v>
                </c:pt>
                <c:pt idx="217">
                  <c:v>0.9957448583023093</c:v>
                </c:pt>
                <c:pt idx="218">
                  <c:v>0.99593373949603847</c:v>
                </c:pt>
                <c:pt idx="219">
                  <c:v>0.99612016768725165</c:v>
                </c:pt>
                <c:pt idx="220">
                  <c:v>0.99630496054345419</c:v>
                </c:pt>
                <c:pt idx="221">
                  <c:v>0.99648975339965673</c:v>
                </c:pt>
                <c:pt idx="222">
                  <c:v>0.99667045791833264</c:v>
                </c:pt>
                <c:pt idx="223">
                  <c:v>0.99684870943449266</c:v>
                </c:pt>
                <c:pt idx="224">
                  <c:v>0.99702614328314731</c:v>
                </c:pt>
                <c:pt idx="225">
                  <c:v>0.99720357713180197</c:v>
                </c:pt>
                <c:pt idx="226">
                  <c:v>0.99736711063286621</c:v>
                </c:pt>
                <c:pt idx="227">
                  <c:v>0.99753064413393044</c:v>
                </c:pt>
                <c:pt idx="228">
                  <c:v>0.99768109495490953</c:v>
                </c:pt>
                <c:pt idx="229">
                  <c:v>0.9978151924257822</c:v>
                </c:pt>
                <c:pt idx="230">
                  <c:v>0.99794601922663351</c:v>
                </c:pt>
                <c:pt idx="231">
                  <c:v>0.99806621634991566</c:v>
                </c:pt>
                <c:pt idx="232">
                  <c:v>0.99818232513567129</c:v>
                </c:pt>
                <c:pt idx="233">
                  <c:v>0.99829516325140555</c:v>
                </c:pt>
                <c:pt idx="234">
                  <c:v>0.99839737168957066</c:v>
                </c:pt>
                <c:pt idx="235">
                  <c:v>0.99849303878769324</c:v>
                </c:pt>
                <c:pt idx="236">
                  <c:v>0.99858870588581583</c:v>
                </c:pt>
                <c:pt idx="237">
                  <c:v>0.99868028464641179</c:v>
                </c:pt>
                <c:pt idx="238">
                  <c:v>0.99877104573950237</c:v>
                </c:pt>
                <c:pt idx="239">
                  <c:v>0.9988609891650877</c:v>
                </c:pt>
                <c:pt idx="240">
                  <c:v>0.99894520891813576</c:v>
                </c:pt>
                <c:pt idx="241">
                  <c:v>0.99902615800116257</c:v>
                </c:pt>
                <c:pt idx="242">
                  <c:v>0.99910138341165211</c:v>
                </c:pt>
                <c:pt idx="243">
                  <c:v>0.99917660882214165</c:v>
                </c:pt>
                <c:pt idx="244">
                  <c:v>0.99925019889762057</c:v>
                </c:pt>
                <c:pt idx="245">
                  <c:v>0.99932378897309948</c:v>
                </c:pt>
                <c:pt idx="246">
                  <c:v>0.99939329071105176</c:v>
                </c:pt>
                <c:pt idx="247">
                  <c:v>0.99946197478149867</c:v>
                </c:pt>
                <c:pt idx="248">
                  <c:v>0.9995257528469137</c:v>
                </c:pt>
                <c:pt idx="249">
                  <c:v>0.9995829895722862</c:v>
                </c:pt>
                <c:pt idx="250">
                  <c:v>0.99963859096264807</c:v>
                </c:pt>
                <c:pt idx="251">
                  <c:v>0.99969092168298856</c:v>
                </c:pt>
                <c:pt idx="252">
                  <c:v>0.9997399817333078</c:v>
                </c:pt>
                <c:pt idx="253">
                  <c:v>0.99978168277607915</c:v>
                </c:pt>
                <c:pt idx="254">
                  <c:v>0.99982174848383987</c:v>
                </c:pt>
                <c:pt idx="255">
                  <c:v>0.99985772585407395</c:v>
                </c:pt>
                <c:pt idx="256">
                  <c:v>0.99988879721927615</c:v>
                </c:pt>
                <c:pt idx="257">
                  <c:v>0.99991741558196234</c:v>
                </c:pt>
                <c:pt idx="258">
                  <c:v>0.99994276327462728</c:v>
                </c:pt>
                <c:pt idx="259">
                  <c:v>0.99996729329978695</c:v>
                </c:pt>
                <c:pt idx="260">
                  <c:v>0.99998364664989337</c:v>
                </c:pt>
                <c:pt idx="261">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Ayala</c:v>
                </c:pt>
                <c:pt idx="5">
                  <c:v>Laurent Perrier</c:v>
                </c:pt>
                <c:pt idx="6">
                  <c:v>Canard Duchêne</c:v>
                </c:pt>
                <c:pt idx="7">
                  <c:v>Nicolas Feuillatte</c:v>
                </c:pt>
                <c:pt idx="8">
                  <c:v>Heidsieck &amp; Co Monopole</c:v>
                </c:pt>
                <c:pt idx="9">
                  <c:v>Others</c:v>
                </c:pt>
              </c:strCache>
            </c:strRef>
          </c:cat>
          <c:val>
            <c:numRef>
              <c:f>Sheet1!$B$2:$B$11</c:f>
              <c:numCache>
                <c:formatCode>General</c:formatCode>
                <c:ptCount val="10"/>
                <c:pt idx="0">
                  <c:v>0.23298343852861092</c:v>
                </c:pt>
                <c:pt idx="1">
                  <c:v>0.13401076337665094</c:v>
                </c:pt>
                <c:pt idx="2">
                  <c:v>8.1668315279603942E-2</c:v>
                </c:pt>
                <c:pt idx="3">
                  <c:v>4.463082817078496E-2</c:v>
                </c:pt>
                <c:pt idx="4">
                  <c:v>3.869825198420896E-2</c:v>
                </c:pt>
                <c:pt idx="5">
                  <c:v>3.8258351824532494E-2</c:v>
                </c:pt>
                <c:pt idx="6">
                  <c:v>3.6741789948078821E-2</c:v>
                </c:pt>
                <c:pt idx="7">
                  <c:v>3.3557982162575106E-2</c:v>
                </c:pt>
                <c:pt idx="8">
                  <c:v>3.1791900490209184E-2</c:v>
                </c:pt>
                <c:pt idx="9">
                  <c:v>0.3276583782347446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Ayala</c:v>
                </c:pt>
                <c:pt idx="5">
                  <c:v>Laurent Perrier</c:v>
                </c:pt>
                <c:pt idx="6">
                  <c:v>Canard Duchêne</c:v>
                </c:pt>
                <c:pt idx="7">
                  <c:v>Nicolas Feuillatte</c:v>
                </c:pt>
                <c:pt idx="8">
                  <c:v>Heidsieck &amp; Co Monopole</c:v>
                </c:pt>
                <c:pt idx="9">
                  <c:v>Others</c:v>
                </c:pt>
              </c:strCache>
            </c:strRef>
          </c:cat>
          <c:val>
            <c:numRef>
              <c:f>Sheet1!$C$2:$C$11</c:f>
              <c:numCache>
                <c:formatCode>General</c:formatCode>
                <c:ptCount val="10"/>
                <c:pt idx="0">
                  <c:v>0.10785562632696384</c:v>
                </c:pt>
                <c:pt idx="1">
                  <c:v>0.10644019815994335</c:v>
                </c:pt>
                <c:pt idx="2">
                  <c:v>5.6192498230714767E-2</c:v>
                </c:pt>
                <c:pt idx="3">
                  <c:v>5.2512384996461402E-2</c:v>
                </c:pt>
                <c:pt idx="4">
                  <c:v>2.3354564755838629E-2</c:v>
                </c:pt>
                <c:pt idx="5">
                  <c:v>3.9773531493276691E-2</c:v>
                </c:pt>
                <c:pt idx="6">
                  <c:v>4.4444444444444425E-2</c:v>
                </c:pt>
                <c:pt idx="7">
                  <c:v>3.963198867657465E-2</c:v>
                </c:pt>
                <c:pt idx="8">
                  <c:v>1.2738853503184707E-2</c:v>
                </c:pt>
                <c:pt idx="9">
                  <c:v>0.5170559094125970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Ayala</c:v>
                </c:pt>
                <c:pt idx="5">
                  <c:v>Laurent Perrier</c:v>
                </c:pt>
                <c:pt idx="6">
                  <c:v>Canard Duchêne</c:v>
                </c:pt>
                <c:pt idx="7">
                  <c:v>Nicolas Feuillatte</c:v>
                </c:pt>
                <c:pt idx="8">
                  <c:v>Heidsieck &amp; Co Monopole</c:v>
                </c:pt>
                <c:pt idx="9">
                  <c:v>Others</c:v>
                </c:pt>
              </c:strCache>
            </c:strRef>
          </c:cat>
          <c:val>
            <c:numRef>
              <c:f>Sheet1!$D$2:$D$11</c:f>
              <c:numCache>
                <c:formatCode>General</c:formatCode>
                <c:ptCount val="10"/>
                <c:pt idx="0">
                  <c:v>46.293258872011592</c:v>
                </c:pt>
                <c:pt idx="1">
                  <c:v>79.42660386224523</c:v>
                </c:pt>
                <c:pt idx="2">
                  <c:v>68.805751702274222</c:v>
                </c:pt>
                <c:pt idx="3">
                  <c:v>117.65944560902335</c:v>
                </c:pt>
                <c:pt idx="4">
                  <c:v>60.350438478121937</c:v>
                </c:pt>
                <c:pt idx="5">
                  <c:v>103.9603892914504</c:v>
                </c:pt>
                <c:pt idx="6">
                  <c:v>120.96428755172384</c:v>
                </c:pt>
                <c:pt idx="7">
                  <c:v>118.10003499189372</c:v>
                </c:pt>
                <c:pt idx="8">
                  <c:v>40.069493508599265</c:v>
                </c:pt>
                <c:pt idx="9">
                  <c:v>157.8033536631137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9</c:f>
              <c:strCache>
                <c:ptCount val="258"/>
                <c:pt idx="0">
                  <c:v>Ruinart</c:v>
                </c:pt>
                <c:pt idx="1">
                  <c:v>Nicolas</c:v>
                </c:pt>
                <c:pt idx="2">
                  <c:v>Deutz</c:v>
                </c:pt>
                <c:pt idx="3">
                  <c:v>Ruinart</c:v>
                </c:pt>
                <c:pt idx="4">
                  <c:v>Heidsieck &amp;</c:v>
                </c:pt>
                <c:pt idx="5">
                  <c:v>De Bligny</c:v>
                </c:pt>
                <c:pt idx="6">
                  <c:v>Ayala</c:v>
                </c:pt>
                <c:pt idx="7">
                  <c:v>Malard</c:v>
                </c:pt>
                <c:pt idx="8">
                  <c:v>Canard Duch</c:v>
                </c:pt>
                <c:pt idx="9">
                  <c:v>Besserat De</c:v>
                </c:pt>
                <c:pt idx="10">
                  <c:v>Nicolas Feu</c:v>
                </c:pt>
                <c:pt idx="11">
                  <c:v>Ruinart</c:v>
                </c:pt>
                <c:pt idx="12">
                  <c:v>Ruinart</c:v>
                </c:pt>
                <c:pt idx="13">
                  <c:v>Laurent Per</c:v>
                </c:pt>
                <c:pt idx="14">
                  <c:v>Demoiselle</c:v>
                </c:pt>
                <c:pt idx="15">
                  <c:v>Taittinger</c:v>
                </c:pt>
                <c:pt idx="16">
                  <c:v>Bollinger</c:v>
                </c:pt>
                <c:pt idx="17">
                  <c:v>Savian</c:v>
                </c:pt>
                <c:pt idx="18">
                  <c:v>All Others</c:v>
                </c:pt>
                <c:pt idx="19">
                  <c:v>Ruinart</c:v>
                </c:pt>
                <c:pt idx="20">
                  <c:v>Roederer</c:v>
                </c:pt>
                <c:pt idx="21">
                  <c:v>Laurent Per</c:v>
                </c:pt>
                <c:pt idx="22">
                  <c:v>Deutz</c:v>
                </c:pt>
                <c:pt idx="23">
                  <c:v>Vesselle</c:v>
                </c:pt>
                <c:pt idx="24">
                  <c:v>Campari: Al</c:v>
                </c:pt>
                <c:pt idx="25">
                  <c:v>Perrier Jou</c:v>
                </c:pt>
                <c:pt idx="26">
                  <c:v>Pommery</c:v>
                </c:pt>
                <c:pt idx="27">
                  <c:v>Ruinart</c:v>
                </c:pt>
                <c:pt idx="28">
                  <c:v>Demoiselle</c:v>
                </c:pt>
                <c:pt idx="29">
                  <c:v>All Others</c:v>
                </c:pt>
                <c:pt idx="30">
                  <c:v>Ruinart</c:v>
                </c:pt>
                <c:pt idx="31">
                  <c:v>All Others</c:v>
                </c:pt>
                <c:pt idx="32">
                  <c:v>Piper Heids</c:v>
                </c:pt>
                <c:pt idx="33">
                  <c:v>Ruinart</c:v>
                </c:pt>
                <c:pt idx="34">
                  <c:v>Taittinger</c:v>
                </c:pt>
                <c:pt idx="35">
                  <c:v>Dom Perigno</c:v>
                </c:pt>
                <c:pt idx="36">
                  <c:v>Roederer</c:v>
                </c:pt>
                <c:pt idx="37">
                  <c:v>Moët &amp; Chan</c:v>
                </c:pt>
                <c:pt idx="38">
                  <c:v>Deutz</c:v>
                </c:pt>
                <c:pt idx="39">
                  <c:v>Nicolas</c:v>
                </c:pt>
                <c:pt idx="40">
                  <c:v>All Others</c:v>
                </c:pt>
                <c:pt idx="41">
                  <c:v>De Bligny</c:v>
                </c:pt>
                <c:pt idx="42">
                  <c:v>Malard</c:v>
                </c:pt>
                <c:pt idx="43">
                  <c:v>Dom Perigno</c:v>
                </c:pt>
                <c:pt idx="44">
                  <c:v>Malard</c:v>
                </c:pt>
                <c:pt idx="45">
                  <c:v>Besserat De</c:v>
                </c:pt>
                <c:pt idx="46">
                  <c:v>Nicolas Feu</c:v>
                </c:pt>
                <c:pt idx="47">
                  <c:v>Canard Duch</c:v>
                </c:pt>
                <c:pt idx="48">
                  <c:v>Henriot</c:v>
                </c:pt>
                <c:pt idx="49">
                  <c:v>Patriarche</c:v>
                </c:pt>
                <c:pt idx="50">
                  <c:v>Laurent Per</c:v>
                </c:pt>
                <c:pt idx="51">
                  <c:v>Dom Perigno</c:v>
                </c:pt>
                <c:pt idx="52">
                  <c:v>All Others</c:v>
                </c:pt>
                <c:pt idx="53">
                  <c:v>De Chanceny</c:v>
                </c:pt>
                <c:pt idx="54">
                  <c:v>Veuve Clicq</c:v>
                </c:pt>
                <c:pt idx="55">
                  <c:v>Nicolas</c:v>
                </c:pt>
                <c:pt idx="56">
                  <c:v>Pommery</c:v>
                </c:pt>
                <c:pt idx="57">
                  <c:v>Louis Marti</c:v>
                </c:pt>
                <c:pt idx="58">
                  <c:v>Chateau Mon</c:v>
                </c:pt>
                <c:pt idx="59">
                  <c:v>Lyre's</c:v>
                </c:pt>
                <c:pt idx="60">
                  <c:v>Bouvet-Ladu</c:v>
                </c:pt>
                <c:pt idx="61">
                  <c:v>De Venoge</c:v>
                </c:pt>
                <c:pt idx="62">
                  <c:v>Veuve Clicq</c:v>
                </c:pt>
                <c:pt idx="63">
                  <c:v>Bottega</c:v>
                </c:pt>
                <c:pt idx="64">
                  <c:v>Nicolas</c:v>
                </c:pt>
                <c:pt idx="65">
                  <c:v>Moët &amp; Chan</c:v>
                </c:pt>
                <c:pt idx="66">
                  <c:v>Savian</c:v>
                </c:pt>
                <c:pt idx="67">
                  <c:v>Mure</c:v>
                </c:pt>
                <c:pt idx="68">
                  <c:v>Ayala</c:v>
                </c:pt>
                <c:pt idx="69">
                  <c:v>Ruinart</c:v>
                </c:pt>
                <c:pt idx="70">
                  <c:v>Veuve Clicq</c:v>
                </c:pt>
                <c:pt idx="71">
                  <c:v>Ruinart</c:v>
                </c:pt>
                <c:pt idx="72">
                  <c:v>Canard Duch</c:v>
                </c:pt>
                <c:pt idx="73">
                  <c:v>Campari: Al</c:v>
                </c:pt>
                <c:pt idx="74">
                  <c:v>Nicolas Feu</c:v>
                </c:pt>
                <c:pt idx="75">
                  <c:v>Moët &amp; Chan</c:v>
                </c:pt>
                <c:pt idx="76">
                  <c:v>Deutz</c:v>
                </c:pt>
                <c:pt idx="77">
                  <c:v>Nicolas</c:v>
                </c:pt>
                <c:pt idx="78">
                  <c:v>Henriot</c:v>
                </c:pt>
                <c:pt idx="79">
                  <c:v>All Others</c:v>
                </c:pt>
                <c:pt idx="80">
                  <c:v>Canard Duch</c:v>
                </c:pt>
                <c:pt idx="81">
                  <c:v>Bollinger</c:v>
                </c:pt>
                <c:pt idx="82">
                  <c:v>Besserat De</c:v>
                </c:pt>
                <c:pt idx="83">
                  <c:v>Lanson</c:v>
                </c:pt>
                <c:pt idx="84">
                  <c:v>Ruinart</c:v>
                </c:pt>
                <c:pt idx="85">
                  <c:v>Nicolas Feu</c:v>
                </c:pt>
                <c:pt idx="86">
                  <c:v>Malard</c:v>
                </c:pt>
                <c:pt idx="87">
                  <c:v>Malard</c:v>
                </c:pt>
                <c:pt idx="88">
                  <c:v>De Chanceny</c:v>
                </c:pt>
                <c:pt idx="89">
                  <c:v>Krug</c:v>
                </c:pt>
                <c:pt idx="90">
                  <c:v>Laurent Per</c:v>
                </c:pt>
                <c:pt idx="91">
                  <c:v>Roederer</c:v>
                </c:pt>
                <c:pt idx="92">
                  <c:v>Henriot</c:v>
                </c:pt>
                <c:pt idx="93">
                  <c:v>Vranken</c:v>
                </c:pt>
                <c:pt idx="94">
                  <c:v>De Venoge</c:v>
                </c:pt>
                <c:pt idx="95">
                  <c:v>Kriter</c:v>
                </c:pt>
                <c:pt idx="96">
                  <c:v>Roederer</c:v>
                </c:pt>
                <c:pt idx="97">
                  <c:v>De Venoge</c:v>
                </c:pt>
                <c:pt idx="98">
                  <c:v>Patriarche</c:v>
                </c:pt>
                <c:pt idx="99">
                  <c:v>Ruinart</c:v>
                </c:pt>
                <c:pt idx="100">
                  <c:v>Veuve Clicq</c:v>
                </c:pt>
                <c:pt idx="101">
                  <c:v>Canard Duch</c:v>
                </c:pt>
                <c:pt idx="102">
                  <c:v>All Others</c:v>
                </c:pt>
                <c:pt idx="103">
                  <c:v>Malard</c:v>
                </c:pt>
                <c:pt idx="104">
                  <c:v>All Others</c:v>
                </c:pt>
                <c:pt idx="105">
                  <c:v>Henriot</c:v>
                </c:pt>
                <c:pt idx="106">
                  <c:v>Ruinart</c:v>
                </c:pt>
                <c:pt idx="107">
                  <c:v>Delamotte</c:v>
                </c:pt>
                <c:pt idx="108">
                  <c:v>Nicolas</c:v>
                </c:pt>
                <c:pt idx="109">
                  <c:v>All Others</c:v>
                </c:pt>
                <c:pt idx="110">
                  <c:v>All Others</c:v>
                </c:pt>
                <c:pt idx="111">
                  <c:v>All Others</c:v>
                </c:pt>
                <c:pt idx="112">
                  <c:v>Contarini</c:v>
                </c:pt>
                <c:pt idx="113">
                  <c:v>Nicolas</c:v>
                </c:pt>
                <c:pt idx="114">
                  <c:v>Roederer</c:v>
                </c:pt>
                <c:pt idx="115">
                  <c:v>Roederer</c:v>
                </c:pt>
                <c:pt idx="116">
                  <c:v>Bollinger</c:v>
                </c:pt>
                <c:pt idx="117">
                  <c:v>Roederer</c:v>
                </c:pt>
                <c:pt idx="118">
                  <c:v>Moët &amp; Chan</c:v>
                </c:pt>
                <c:pt idx="119">
                  <c:v>Roederer</c:v>
                </c:pt>
                <c:pt idx="120">
                  <c:v>De Venoge</c:v>
                </c:pt>
                <c:pt idx="121">
                  <c:v>Ruinart</c:v>
                </c:pt>
                <c:pt idx="122">
                  <c:v>Roederer</c:v>
                </c:pt>
                <c:pt idx="123">
                  <c:v>Nicolas</c:v>
                </c:pt>
                <c:pt idx="124">
                  <c:v>Bottega</c:v>
                </c:pt>
                <c:pt idx="125">
                  <c:v>Roederer</c:v>
                </c:pt>
                <c:pt idx="126">
                  <c:v>Nicolas</c:v>
                </c:pt>
                <c:pt idx="127">
                  <c:v>Perrier Jou</c:v>
                </c:pt>
                <c:pt idx="128">
                  <c:v>Nicolas</c:v>
                </c:pt>
                <c:pt idx="129">
                  <c:v>Deutz</c:v>
                </c:pt>
                <c:pt idx="130">
                  <c:v>All Others</c:v>
                </c:pt>
                <c:pt idx="131">
                  <c:v>Ruinart</c:v>
                </c:pt>
                <c:pt idx="132">
                  <c:v>Canard Duch</c:v>
                </c:pt>
                <c:pt idx="133">
                  <c:v>Ruinart</c:v>
                </c:pt>
                <c:pt idx="134">
                  <c:v>Delamotte</c:v>
                </c:pt>
                <c:pt idx="135">
                  <c:v>Nicolas</c:v>
                </c:pt>
                <c:pt idx="136">
                  <c:v>Vesselle</c:v>
                </c:pt>
                <c:pt idx="137">
                  <c:v>Roederer</c:v>
                </c:pt>
                <c:pt idx="138">
                  <c:v>Ruinart</c:v>
                </c:pt>
                <c:pt idx="139">
                  <c:v>Vranken</c:v>
                </c:pt>
                <c:pt idx="140">
                  <c:v>Cru La Maqu</c:v>
                </c:pt>
                <c:pt idx="141">
                  <c:v>Ruinart</c:v>
                </c:pt>
                <c:pt idx="142">
                  <c:v>Deutz</c:v>
                </c:pt>
                <c:pt idx="143">
                  <c:v>Deutz</c:v>
                </c:pt>
                <c:pt idx="144">
                  <c:v>Ayala</c:v>
                </c:pt>
                <c:pt idx="145">
                  <c:v>All Others</c:v>
                </c:pt>
                <c:pt idx="146">
                  <c:v>Roederer</c:v>
                </c:pt>
                <c:pt idx="147">
                  <c:v>All Others</c:v>
                </c:pt>
                <c:pt idx="148">
                  <c:v>All Others</c:v>
                </c:pt>
                <c:pt idx="149">
                  <c:v>All Others</c:v>
                </c:pt>
                <c:pt idx="150">
                  <c:v>Besserat De</c:v>
                </c:pt>
                <c:pt idx="151">
                  <c:v>Demoiselle</c:v>
                </c:pt>
                <c:pt idx="152">
                  <c:v>Nicolas</c:v>
                </c:pt>
                <c:pt idx="153">
                  <c:v>Nicolas Feu</c:v>
                </c:pt>
                <c:pt idx="154">
                  <c:v>All Others</c:v>
                </c:pt>
                <c:pt idx="155">
                  <c:v>Lanson</c:v>
                </c:pt>
                <c:pt idx="156">
                  <c:v>Taittinger</c:v>
                </c:pt>
                <c:pt idx="157">
                  <c:v>Nicolas</c:v>
                </c:pt>
                <c:pt idx="158">
                  <c:v>Ruinart</c:v>
                </c:pt>
                <c:pt idx="159">
                  <c:v>Bollinger</c:v>
                </c:pt>
                <c:pt idx="160">
                  <c:v>Nicolas</c:v>
                </c:pt>
                <c:pt idx="161">
                  <c:v>All Others</c:v>
                </c:pt>
                <c:pt idx="162">
                  <c:v>Roederer</c:v>
                </c:pt>
                <c:pt idx="163">
                  <c:v>All Others</c:v>
                </c:pt>
                <c:pt idx="164">
                  <c:v>Nicolas</c:v>
                </c:pt>
                <c:pt idx="165">
                  <c:v>Laurent Per</c:v>
                </c:pt>
                <c:pt idx="166">
                  <c:v>Louis Marti</c:v>
                </c:pt>
                <c:pt idx="167">
                  <c:v>Piper Heids</c:v>
                </c:pt>
                <c:pt idx="168">
                  <c:v>Piper Heids</c:v>
                </c:pt>
                <c:pt idx="169">
                  <c:v>Nicolas</c:v>
                </c:pt>
                <c:pt idx="170">
                  <c:v>All Others</c:v>
                </c:pt>
                <c:pt idx="171">
                  <c:v>Deutz</c:v>
                </c:pt>
                <c:pt idx="172">
                  <c:v>Lanson</c:v>
                </c:pt>
                <c:pt idx="173">
                  <c:v>Deutz</c:v>
                </c:pt>
                <c:pt idx="174">
                  <c:v>Laurent Per</c:v>
                </c:pt>
                <c:pt idx="175">
                  <c:v>Laurent Per</c:v>
                </c:pt>
                <c:pt idx="176">
                  <c:v>Vesselle</c:v>
                </c:pt>
                <c:pt idx="177">
                  <c:v>Roederer</c:v>
                </c:pt>
                <c:pt idx="178">
                  <c:v>All Others</c:v>
                </c:pt>
                <c:pt idx="179">
                  <c:v>Bouvet-Ladu</c:v>
                </c:pt>
                <c:pt idx="180">
                  <c:v>Perrier Jou</c:v>
                </c:pt>
                <c:pt idx="181">
                  <c:v>Laurent Per</c:v>
                </c:pt>
                <c:pt idx="182">
                  <c:v>Nicolas</c:v>
                </c:pt>
                <c:pt idx="183">
                  <c:v>Contarini</c:v>
                </c:pt>
                <c:pt idx="184">
                  <c:v>All Others</c:v>
                </c:pt>
                <c:pt idx="185">
                  <c:v>Pommery</c:v>
                </c:pt>
                <c:pt idx="186">
                  <c:v>Roederer</c:v>
                </c:pt>
                <c:pt idx="187">
                  <c:v>Pommery</c:v>
                </c:pt>
                <c:pt idx="188">
                  <c:v>All Others</c:v>
                </c:pt>
                <c:pt idx="189">
                  <c:v>Laurent Per</c:v>
                </c:pt>
                <c:pt idx="190">
                  <c:v>Ruinart</c:v>
                </c:pt>
                <c:pt idx="191">
                  <c:v>Nicolas</c:v>
                </c:pt>
                <c:pt idx="192">
                  <c:v>Vranken</c:v>
                </c:pt>
                <c:pt idx="193">
                  <c:v>Nicolas</c:v>
                </c:pt>
                <c:pt idx="194">
                  <c:v>Dom Perigno</c:v>
                </c:pt>
                <c:pt idx="195">
                  <c:v>Pommery</c:v>
                </c:pt>
                <c:pt idx="196">
                  <c:v>De Venoge</c:v>
                </c:pt>
                <c:pt idx="197">
                  <c:v>Henriot</c:v>
                </c:pt>
                <c:pt idx="198">
                  <c:v>Piper Heids</c:v>
                </c:pt>
                <c:pt idx="199">
                  <c:v>Moët &amp; Chan</c:v>
                </c:pt>
                <c:pt idx="200">
                  <c:v>Besserat De</c:v>
                </c:pt>
                <c:pt idx="201">
                  <c:v>Bouvet-Ladu</c:v>
                </c:pt>
                <c:pt idx="202">
                  <c:v>Demoiselle</c:v>
                </c:pt>
                <c:pt idx="203">
                  <c:v>Nicolas</c:v>
                </c:pt>
                <c:pt idx="204">
                  <c:v>Taittinger</c:v>
                </c:pt>
                <c:pt idx="205">
                  <c:v>Taittinger</c:v>
                </c:pt>
                <c:pt idx="206">
                  <c:v>Nicolas</c:v>
                </c:pt>
                <c:pt idx="207">
                  <c:v>All Others</c:v>
                </c:pt>
                <c:pt idx="208">
                  <c:v>Nicolas Feu</c:v>
                </c:pt>
                <c:pt idx="209">
                  <c:v>Perrier Jou</c:v>
                </c:pt>
                <c:pt idx="210">
                  <c:v>Bouvet-Ladu</c:v>
                </c:pt>
                <c:pt idx="211">
                  <c:v>Bollinger</c:v>
                </c:pt>
                <c:pt idx="212">
                  <c:v>Roederer</c:v>
                </c:pt>
                <c:pt idx="213">
                  <c:v>Bouvet-Ladu</c:v>
                </c:pt>
                <c:pt idx="214">
                  <c:v>Laurent Per</c:v>
                </c:pt>
                <c:pt idx="215">
                  <c:v>Pommery</c:v>
                </c:pt>
                <c:pt idx="216">
                  <c:v>Celene</c:v>
                </c:pt>
                <c:pt idx="217">
                  <c:v>Ruinart</c:v>
                </c:pt>
                <c:pt idx="218">
                  <c:v>Celene</c:v>
                </c:pt>
                <c:pt idx="219">
                  <c:v>Roederer</c:v>
                </c:pt>
                <c:pt idx="220">
                  <c:v>Henriot</c:v>
                </c:pt>
                <c:pt idx="221">
                  <c:v>Pommery</c:v>
                </c:pt>
                <c:pt idx="222">
                  <c:v>Pommery</c:v>
                </c:pt>
                <c:pt idx="223">
                  <c:v>Laurent Per</c:v>
                </c:pt>
                <c:pt idx="224">
                  <c:v>Roederer</c:v>
                </c:pt>
                <c:pt idx="225">
                  <c:v>All Others</c:v>
                </c:pt>
                <c:pt idx="226">
                  <c:v>Bollinger</c:v>
                </c:pt>
                <c:pt idx="227">
                  <c:v>All Others</c:v>
                </c:pt>
                <c:pt idx="228">
                  <c:v>Roederer</c:v>
                </c:pt>
                <c:pt idx="229">
                  <c:v>All Others</c:v>
                </c:pt>
                <c:pt idx="230">
                  <c:v>All Others</c:v>
                </c:pt>
                <c:pt idx="231">
                  <c:v>All Others</c:v>
                </c:pt>
                <c:pt idx="232">
                  <c:v>De Venoge</c:v>
                </c:pt>
                <c:pt idx="233">
                  <c:v>Roederer</c:v>
                </c:pt>
                <c:pt idx="234">
                  <c:v>Malard</c:v>
                </c:pt>
                <c:pt idx="235">
                  <c:v>De Bligny</c:v>
                </c:pt>
                <c:pt idx="236">
                  <c:v>Moët &amp; Chan</c:v>
                </c:pt>
                <c:pt idx="237">
                  <c:v>Bouvet-Ladu</c:v>
                </c:pt>
                <c:pt idx="238">
                  <c:v>De Venoge</c:v>
                </c:pt>
                <c:pt idx="239">
                  <c:v>Roederer</c:v>
                </c:pt>
                <c:pt idx="240">
                  <c:v>Bollinger</c:v>
                </c:pt>
                <c:pt idx="241">
                  <c:v>Deutz</c:v>
                </c:pt>
                <c:pt idx="242">
                  <c:v>All Others</c:v>
                </c:pt>
                <c:pt idx="243">
                  <c:v>Bottega</c:v>
                </c:pt>
                <c:pt idx="244">
                  <c:v>Henriot</c:v>
                </c:pt>
                <c:pt idx="245">
                  <c:v>All Others</c:v>
                </c:pt>
                <c:pt idx="246">
                  <c:v>All Others</c:v>
                </c:pt>
                <c:pt idx="247">
                  <c:v>All Others</c:v>
                </c:pt>
                <c:pt idx="248">
                  <c:v>Besserat De</c:v>
                </c:pt>
                <c:pt idx="249">
                  <c:v>All Others</c:v>
                </c:pt>
                <c:pt idx="250">
                  <c:v>Bottega</c:v>
                </c:pt>
                <c:pt idx="251">
                  <c:v>Vesselle</c:v>
                </c:pt>
                <c:pt idx="252">
                  <c:v>Bouvet-Ladu</c:v>
                </c:pt>
                <c:pt idx="253">
                  <c:v>All Others</c:v>
                </c:pt>
                <c:pt idx="254">
                  <c:v>All Others</c:v>
                </c:pt>
                <c:pt idx="255">
                  <c:v>All Others</c:v>
                </c:pt>
                <c:pt idx="256">
                  <c:v>Jaillance</c:v>
                </c:pt>
                <c:pt idx="257">
                  <c:v>Bottega</c:v>
                </c:pt>
              </c:strCache>
            </c:strRef>
          </c:cat>
          <c:val>
            <c:numRef>
              <c:f>Sheet1!$B$2:$B$259</c:f>
              <c:numCache>
                <c:formatCode>General</c:formatCode>
                <c:ptCount val="258"/>
                <c:pt idx="0">
                  <c:v>1</c:v>
                </c:pt>
                <c:pt idx="1">
                  <c:v>1</c:v>
                </c:pt>
                <c:pt idx="2">
                  <c:v>1</c:v>
                </c:pt>
                <c:pt idx="3">
                  <c:v>0.98</c:v>
                </c:pt>
                <c:pt idx="4">
                  <c:v>0.99</c:v>
                </c:pt>
                <c:pt idx="5">
                  <c:v>1</c:v>
                </c:pt>
                <c:pt idx="6">
                  <c:v>1</c:v>
                </c:pt>
                <c:pt idx="7">
                  <c:v>1</c:v>
                </c:pt>
                <c:pt idx="8">
                  <c:v>1</c:v>
                </c:pt>
                <c:pt idx="9">
                  <c:v>0.96</c:v>
                </c:pt>
                <c:pt idx="10">
                  <c:v>1</c:v>
                </c:pt>
                <c:pt idx="11">
                  <c:v>0.88</c:v>
                </c:pt>
                <c:pt idx="12">
                  <c:v>0.7</c:v>
                </c:pt>
                <c:pt idx="13">
                  <c:v>0.91</c:v>
                </c:pt>
                <c:pt idx="14">
                  <c:v>1</c:v>
                </c:pt>
                <c:pt idx="15">
                  <c:v>0.82</c:v>
                </c:pt>
                <c:pt idx="16">
                  <c:v>0.81</c:v>
                </c:pt>
                <c:pt idx="17">
                  <c:v>0.97</c:v>
                </c:pt>
                <c:pt idx="18">
                  <c:v>1</c:v>
                </c:pt>
                <c:pt idx="19">
                  <c:v>0.56999999999999995</c:v>
                </c:pt>
                <c:pt idx="20">
                  <c:v>0.69</c:v>
                </c:pt>
                <c:pt idx="21">
                  <c:v>0.81</c:v>
                </c:pt>
                <c:pt idx="22">
                  <c:v>0.72</c:v>
                </c:pt>
                <c:pt idx="23">
                  <c:v>0.85</c:v>
                </c:pt>
                <c:pt idx="24">
                  <c:v>0.68</c:v>
                </c:pt>
                <c:pt idx="25">
                  <c:v>0.93</c:v>
                </c:pt>
                <c:pt idx="26">
                  <c:v>0.76</c:v>
                </c:pt>
                <c:pt idx="27">
                  <c:v>0.77</c:v>
                </c:pt>
                <c:pt idx="28">
                  <c:v>0.86</c:v>
                </c:pt>
                <c:pt idx="29">
                  <c:v>0.92</c:v>
                </c:pt>
                <c:pt idx="30">
                  <c:v>0.56000000000000005</c:v>
                </c:pt>
                <c:pt idx="31">
                  <c:v>0.61</c:v>
                </c:pt>
                <c:pt idx="32">
                  <c:v>0.68</c:v>
                </c:pt>
                <c:pt idx="33">
                  <c:v>0.41</c:v>
                </c:pt>
                <c:pt idx="34">
                  <c:v>0.54</c:v>
                </c:pt>
                <c:pt idx="35">
                  <c:v>0.34</c:v>
                </c:pt>
                <c:pt idx="36">
                  <c:v>0.47</c:v>
                </c:pt>
                <c:pt idx="37">
                  <c:v>0.86</c:v>
                </c:pt>
                <c:pt idx="38">
                  <c:v>0.77</c:v>
                </c:pt>
                <c:pt idx="39">
                  <c:v>0.55000000000000004</c:v>
                </c:pt>
                <c:pt idx="40">
                  <c:v>0.73</c:v>
                </c:pt>
                <c:pt idx="41">
                  <c:v>0.55000000000000004</c:v>
                </c:pt>
                <c:pt idx="42">
                  <c:v>0.86</c:v>
                </c:pt>
                <c:pt idx="43">
                  <c:v>0.28000000000000003</c:v>
                </c:pt>
                <c:pt idx="44">
                  <c:v>0.69</c:v>
                </c:pt>
                <c:pt idx="45">
                  <c:v>0.46</c:v>
                </c:pt>
                <c:pt idx="46">
                  <c:v>0.59</c:v>
                </c:pt>
                <c:pt idx="47">
                  <c:v>0.45</c:v>
                </c:pt>
                <c:pt idx="48">
                  <c:v>0.65</c:v>
                </c:pt>
                <c:pt idx="49">
                  <c:v>0.83</c:v>
                </c:pt>
                <c:pt idx="50">
                  <c:v>0.61</c:v>
                </c:pt>
                <c:pt idx="51">
                  <c:v>0.27</c:v>
                </c:pt>
                <c:pt idx="52">
                  <c:v>0.55000000000000004</c:v>
                </c:pt>
                <c:pt idx="53">
                  <c:v>0.86</c:v>
                </c:pt>
                <c:pt idx="54">
                  <c:v>0.69</c:v>
                </c:pt>
                <c:pt idx="55">
                  <c:v>0.75</c:v>
                </c:pt>
                <c:pt idx="56">
                  <c:v>0.61</c:v>
                </c:pt>
                <c:pt idx="57">
                  <c:v>0.61</c:v>
                </c:pt>
                <c:pt idx="58">
                  <c:v>0.81</c:v>
                </c:pt>
                <c:pt idx="59">
                  <c:v>0.9</c:v>
                </c:pt>
                <c:pt idx="60">
                  <c:v>0.75</c:v>
                </c:pt>
                <c:pt idx="61">
                  <c:v>0.49</c:v>
                </c:pt>
                <c:pt idx="62">
                  <c:v>0.49</c:v>
                </c:pt>
                <c:pt idx="63">
                  <c:v>0.69</c:v>
                </c:pt>
                <c:pt idx="64">
                  <c:v>0.75</c:v>
                </c:pt>
                <c:pt idx="65">
                  <c:v>0.45</c:v>
                </c:pt>
                <c:pt idx="66">
                  <c:v>0.77</c:v>
                </c:pt>
                <c:pt idx="67">
                  <c:v>0.89</c:v>
                </c:pt>
                <c:pt idx="68">
                  <c:v>0.67</c:v>
                </c:pt>
                <c:pt idx="69">
                  <c:v>0.53</c:v>
                </c:pt>
                <c:pt idx="70">
                  <c:v>0.39</c:v>
                </c:pt>
                <c:pt idx="71">
                  <c:v>0.43</c:v>
                </c:pt>
                <c:pt idx="72">
                  <c:v>0.84</c:v>
                </c:pt>
                <c:pt idx="73">
                  <c:v>0.64</c:v>
                </c:pt>
                <c:pt idx="74">
                  <c:v>0.56999999999999995</c:v>
                </c:pt>
                <c:pt idx="75">
                  <c:v>0.56999999999999995</c:v>
                </c:pt>
                <c:pt idx="76">
                  <c:v>0.75</c:v>
                </c:pt>
                <c:pt idx="77">
                  <c:v>0.46</c:v>
                </c:pt>
                <c:pt idx="78">
                  <c:v>0.47</c:v>
                </c:pt>
                <c:pt idx="79">
                  <c:v>0.41</c:v>
                </c:pt>
                <c:pt idx="80">
                  <c:v>0.34</c:v>
                </c:pt>
                <c:pt idx="81">
                  <c:v>0.31</c:v>
                </c:pt>
                <c:pt idx="82">
                  <c:v>0.36</c:v>
                </c:pt>
                <c:pt idx="83">
                  <c:v>0.64</c:v>
                </c:pt>
                <c:pt idx="84">
                  <c:v>0.44</c:v>
                </c:pt>
                <c:pt idx="85">
                  <c:v>0.4</c:v>
                </c:pt>
                <c:pt idx="86">
                  <c:v>0.55000000000000004</c:v>
                </c:pt>
                <c:pt idx="87">
                  <c:v>0.33</c:v>
                </c:pt>
                <c:pt idx="88">
                  <c:v>0.41</c:v>
                </c:pt>
                <c:pt idx="89">
                  <c:v>0.23</c:v>
                </c:pt>
                <c:pt idx="90">
                  <c:v>0.28000000000000003</c:v>
                </c:pt>
                <c:pt idx="91">
                  <c:v>0.48</c:v>
                </c:pt>
                <c:pt idx="92">
                  <c:v>0.68</c:v>
                </c:pt>
                <c:pt idx="93">
                  <c:v>0.2</c:v>
                </c:pt>
                <c:pt idx="94">
                  <c:v>0.34</c:v>
                </c:pt>
                <c:pt idx="95">
                  <c:v>0.54</c:v>
                </c:pt>
                <c:pt idx="96">
                  <c:v>0.26</c:v>
                </c:pt>
                <c:pt idx="97">
                  <c:v>0.37</c:v>
                </c:pt>
                <c:pt idx="98">
                  <c:v>0.6</c:v>
                </c:pt>
                <c:pt idx="99">
                  <c:v>0.2</c:v>
                </c:pt>
                <c:pt idx="100">
                  <c:v>0.36</c:v>
                </c:pt>
                <c:pt idx="101">
                  <c:v>0.18</c:v>
                </c:pt>
                <c:pt idx="102">
                  <c:v>0.44</c:v>
                </c:pt>
                <c:pt idx="103">
                  <c:v>0.54</c:v>
                </c:pt>
                <c:pt idx="104">
                  <c:v>0.59</c:v>
                </c:pt>
                <c:pt idx="105">
                  <c:v>0.22</c:v>
                </c:pt>
                <c:pt idx="106">
                  <c:v>0.35</c:v>
                </c:pt>
                <c:pt idx="107">
                  <c:v>0.24</c:v>
                </c:pt>
                <c:pt idx="108">
                  <c:v>0.61</c:v>
                </c:pt>
                <c:pt idx="109">
                  <c:v>0.38</c:v>
                </c:pt>
                <c:pt idx="110">
                  <c:v>0.44</c:v>
                </c:pt>
                <c:pt idx="111">
                  <c:v>0.79</c:v>
                </c:pt>
                <c:pt idx="112">
                  <c:v>0.92</c:v>
                </c:pt>
                <c:pt idx="113">
                  <c:v>0.4</c:v>
                </c:pt>
                <c:pt idx="114">
                  <c:v>0.24</c:v>
                </c:pt>
                <c:pt idx="115">
                  <c:v>0.19</c:v>
                </c:pt>
                <c:pt idx="116">
                  <c:v>0.21</c:v>
                </c:pt>
                <c:pt idx="117">
                  <c:v>0.34</c:v>
                </c:pt>
                <c:pt idx="118">
                  <c:v>0.36</c:v>
                </c:pt>
                <c:pt idx="119">
                  <c:v>0.19</c:v>
                </c:pt>
                <c:pt idx="120">
                  <c:v>0.44</c:v>
                </c:pt>
                <c:pt idx="121">
                  <c:v>0.38</c:v>
                </c:pt>
                <c:pt idx="122">
                  <c:v>0.22</c:v>
                </c:pt>
                <c:pt idx="123">
                  <c:v>0.35</c:v>
                </c:pt>
                <c:pt idx="124">
                  <c:v>0.41</c:v>
                </c:pt>
                <c:pt idx="125">
                  <c:v>0.33</c:v>
                </c:pt>
                <c:pt idx="126">
                  <c:v>0.56000000000000005</c:v>
                </c:pt>
                <c:pt idx="127">
                  <c:v>0.22</c:v>
                </c:pt>
                <c:pt idx="128">
                  <c:v>0.3</c:v>
                </c:pt>
                <c:pt idx="129">
                  <c:v>0.47</c:v>
                </c:pt>
                <c:pt idx="130">
                  <c:v>0.46</c:v>
                </c:pt>
                <c:pt idx="131">
                  <c:v>0.16</c:v>
                </c:pt>
                <c:pt idx="132">
                  <c:v>0.28000000000000003</c:v>
                </c:pt>
                <c:pt idx="133">
                  <c:v>0.24</c:v>
                </c:pt>
                <c:pt idx="134">
                  <c:v>0.11</c:v>
                </c:pt>
                <c:pt idx="135">
                  <c:v>0.28000000000000003</c:v>
                </c:pt>
                <c:pt idx="136">
                  <c:v>0.28000000000000003</c:v>
                </c:pt>
                <c:pt idx="137">
                  <c:v>0.28000000000000003</c:v>
                </c:pt>
                <c:pt idx="138">
                  <c:v>0.22</c:v>
                </c:pt>
                <c:pt idx="139">
                  <c:v>0.3</c:v>
                </c:pt>
                <c:pt idx="140">
                  <c:v>0.28000000000000003</c:v>
                </c:pt>
                <c:pt idx="141">
                  <c:v>0.15</c:v>
                </c:pt>
                <c:pt idx="142">
                  <c:v>0.27</c:v>
                </c:pt>
                <c:pt idx="143">
                  <c:v>0.18</c:v>
                </c:pt>
                <c:pt idx="144">
                  <c:v>0.1</c:v>
                </c:pt>
                <c:pt idx="145">
                  <c:v>0.22</c:v>
                </c:pt>
                <c:pt idx="146">
                  <c:v>0.28000000000000003</c:v>
                </c:pt>
                <c:pt idx="147">
                  <c:v>0.15</c:v>
                </c:pt>
                <c:pt idx="148">
                  <c:v>0.28000000000000003</c:v>
                </c:pt>
                <c:pt idx="149">
                  <c:v>0.23</c:v>
                </c:pt>
                <c:pt idx="150">
                  <c:v>0.3</c:v>
                </c:pt>
                <c:pt idx="151">
                  <c:v>0.48</c:v>
                </c:pt>
                <c:pt idx="152">
                  <c:v>0.11</c:v>
                </c:pt>
                <c:pt idx="153">
                  <c:v>0.28000000000000003</c:v>
                </c:pt>
                <c:pt idx="154">
                  <c:v>0.13</c:v>
                </c:pt>
                <c:pt idx="155">
                  <c:v>0.24</c:v>
                </c:pt>
                <c:pt idx="156">
                  <c:v>0.16</c:v>
                </c:pt>
                <c:pt idx="157">
                  <c:v>0.36</c:v>
                </c:pt>
                <c:pt idx="158">
                  <c:v>0.23</c:v>
                </c:pt>
                <c:pt idx="159">
                  <c:v>0.18</c:v>
                </c:pt>
                <c:pt idx="160">
                  <c:v>0.2</c:v>
                </c:pt>
                <c:pt idx="161">
                  <c:v>0.22</c:v>
                </c:pt>
                <c:pt idx="162">
                  <c:v>0.24</c:v>
                </c:pt>
                <c:pt idx="163">
                  <c:v>0.32</c:v>
                </c:pt>
                <c:pt idx="164">
                  <c:v>0.21</c:v>
                </c:pt>
                <c:pt idx="165">
                  <c:v>0.18</c:v>
                </c:pt>
                <c:pt idx="166">
                  <c:v>0.19</c:v>
                </c:pt>
                <c:pt idx="167">
                  <c:v>0.04</c:v>
                </c:pt>
                <c:pt idx="168">
                  <c:v>0.17</c:v>
                </c:pt>
                <c:pt idx="169">
                  <c:v>0.18</c:v>
                </c:pt>
                <c:pt idx="170">
                  <c:v>0.11</c:v>
                </c:pt>
                <c:pt idx="171">
                  <c:v>0.15</c:v>
                </c:pt>
                <c:pt idx="172">
                  <c:v>0.1</c:v>
                </c:pt>
                <c:pt idx="173">
                  <c:v>0.17</c:v>
                </c:pt>
                <c:pt idx="174">
                  <c:v>0.14000000000000001</c:v>
                </c:pt>
                <c:pt idx="175">
                  <c:v>7.0000000000000007E-2</c:v>
                </c:pt>
                <c:pt idx="176">
                  <c:v>0.16</c:v>
                </c:pt>
                <c:pt idx="177">
                  <c:v>0.12</c:v>
                </c:pt>
                <c:pt idx="178">
                  <c:v>0.17</c:v>
                </c:pt>
                <c:pt idx="179">
                  <c:v>0.19</c:v>
                </c:pt>
                <c:pt idx="180">
                  <c:v>0.14000000000000001</c:v>
                </c:pt>
                <c:pt idx="181">
                  <c:v>0.17</c:v>
                </c:pt>
                <c:pt idx="182">
                  <c:v>7.0000000000000007E-2</c:v>
                </c:pt>
                <c:pt idx="183">
                  <c:v>0.24</c:v>
                </c:pt>
                <c:pt idx="184">
                  <c:v>0.19</c:v>
                </c:pt>
                <c:pt idx="185">
                  <c:v>0.23</c:v>
                </c:pt>
                <c:pt idx="186">
                  <c:v>0.11</c:v>
                </c:pt>
                <c:pt idx="187">
                  <c:v>0.2</c:v>
                </c:pt>
                <c:pt idx="188">
                  <c:v>0.1</c:v>
                </c:pt>
                <c:pt idx="189">
                  <c:v>0.06</c:v>
                </c:pt>
                <c:pt idx="190">
                  <c:v>0.09</c:v>
                </c:pt>
                <c:pt idx="191">
                  <c:v>0.24</c:v>
                </c:pt>
                <c:pt idx="192">
                  <c:v>0.1</c:v>
                </c:pt>
                <c:pt idx="193">
                  <c:v>0.12</c:v>
                </c:pt>
                <c:pt idx="194">
                  <c:v>7.0000000000000007E-2</c:v>
                </c:pt>
                <c:pt idx="195">
                  <c:v>0.24</c:v>
                </c:pt>
                <c:pt idx="196">
                  <c:v>0.06</c:v>
                </c:pt>
                <c:pt idx="197">
                  <c:v>0.08</c:v>
                </c:pt>
                <c:pt idx="198">
                  <c:v>0.04</c:v>
                </c:pt>
                <c:pt idx="199">
                  <c:v>0.23</c:v>
                </c:pt>
                <c:pt idx="200">
                  <c:v>0.15</c:v>
                </c:pt>
                <c:pt idx="201">
                  <c:v>0.08</c:v>
                </c:pt>
                <c:pt idx="202">
                  <c:v>0.27</c:v>
                </c:pt>
                <c:pt idx="203">
                  <c:v>0.13</c:v>
                </c:pt>
                <c:pt idx="204">
                  <c:v>0.05</c:v>
                </c:pt>
                <c:pt idx="205">
                  <c:v>0.11</c:v>
                </c:pt>
                <c:pt idx="206">
                  <c:v>7.0000000000000007E-2</c:v>
                </c:pt>
                <c:pt idx="207">
                  <c:v>0.15</c:v>
                </c:pt>
                <c:pt idx="208">
                  <c:v>0.24</c:v>
                </c:pt>
                <c:pt idx="209">
                  <c:v>0.08</c:v>
                </c:pt>
                <c:pt idx="210">
                  <c:v>0.08</c:v>
                </c:pt>
                <c:pt idx="211">
                  <c:v>0.13</c:v>
                </c:pt>
                <c:pt idx="212">
                  <c:v>0.1</c:v>
                </c:pt>
                <c:pt idx="213">
                  <c:v>0.12</c:v>
                </c:pt>
                <c:pt idx="214">
                  <c:v>0.08</c:v>
                </c:pt>
                <c:pt idx="215">
                  <c:v>0.1</c:v>
                </c:pt>
                <c:pt idx="216">
                  <c:v>0.09</c:v>
                </c:pt>
                <c:pt idx="217">
                  <c:v>0.02</c:v>
                </c:pt>
                <c:pt idx="218">
                  <c:v>0.17</c:v>
                </c:pt>
                <c:pt idx="219">
                  <c:v>0.04</c:v>
                </c:pt>
                <c:pt idx="220">
                  <c:v>0.1</c:v>
                </c:pt>
                <c:pt idx="221">
                  <c:v>0.03</c:v>
                </c:pt>
                <c:pt idx="222">
                  <c:v>0.13</c:v>
                </c:pt>
                <c:pt idx="223">
                  <c:v>0.04</c:v>
                </c:pt>
                <c:pt idx="224">
                  <c:v>7.0000000000000007E-2</c:v>
                </c:pt>
                <c:pt idx="225">
                  <c:v>0.15</c:v>
                </c:pt>
                <c:pt idx="226">
                  <c:v>0.18</c:v>
                </c:pt>
                <c:pt idx="227">
                  <c:v>0.11</c:v>
                </c:pt>
                <c:pt idx="228">
                  <c:v>0.04</c:v>
                </c:pt>
                <c:pt idx="229">
                  <c:v>0.05</c:v>
                </c:pt>
                <c:pt idx="230">
                  <c:v>0.05</c:v>
                </c:pt>
                <c:pt idx="231">
                  <c:v>0.15</c:v>
                </c:pt>
                <c:pt idx="232">
                  <c:v>0.1</c:v>
                </c:pt>
                <c:pt idx="233">
                  <c:v>0.02</c:v>
                </c:pt>
                <c:pt idx="234">
                  <c:v>0.05</c:v>
                </c:pt>
                <c:pt idx="235">
                  <c:v>0.05</c:v>
                </c:pt>
                <c:pt idx="236">
                  <c:v>0.1</c:v>
                </c:pt>
                <c:pt idx="237">
                  <c:v>7.0000000000000007E-2</c:v>
                </c:pt>
                <c:pt idx="238">
                  <c:v>0.06</c:v>
                </c:pt>
                <c:pt idx="239">
                  <c:v>0.04</c:v>
                </c:pt>
                <c:pt idx="240">
                  <c:v>0.09</c:v>
                </c:pt>
                <c:pt idx="241">
                  <c:v>0.1</c:v>
                </c:pt>
                <c:pt idx="242">
                  <c:v>0.12</c:v>
                </c:pt>
                <c:pt idx="243">
                  <c:v>0.05</c:v>
                </c:pt>
                <c:pt idx="244">
                  <c:v>0.08</c:v>
                </c:pt>
                <c:pt idx="245">
                  <c:v>0.16</c:v>
                </c:pt>
                <c:pt idx="246">
                  <c:v>0.05</c:v>
                </c:pt>
                <c:pt idx="247">
                  <c:v>0.06</c:v>
                </c:pt>
                <c:pt idx="248">
                  <c:v>0.04</c:v>
                </c:pt>
                <c:pt idx="249">
                  <c:v>0.04</c:v>
                </c:pt>
                <c:pt idx="250">
                  <c:v>0.02</c:v>
                </c:pt>
                <c:pt idx="251">
                  <c:v>0.03</c:v>
                </c:pt>
                <c:pt idx="252">
                  <c:v>0.04</c:v>
                </c:pt>
                <c:pt idx="253">
                  <c:v>7.0000000000000007E-2</c:v>
                </c:pt>
                <c:pt idx="254">
                  <c:v>0.02</c:v>
                </c:pt>
                <c:pt idx="255">
                  <c:v>0.05</c:v>
                </c:pt>
                <c:pt idx="256">
                  <c:v>0.03</c:v>
                </c:pt>
                <c:pt idx="257">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3BD-4AB2-9FB0-D96CC53B42ED}"/>
              </c:ext>
            </c:extLst>
          </c:dPt>
          <c:dPt>
            <c:idx val="211"/>
            <c:invertIfNegative val="1"/>
            <c:bubble3D val="0"/>
            <c:spPr>
              <a:solidFill>
                <a:srgbClr val="AEABAB"/>
              </a:solidFill>
            </c:spPr>
            <c:extLst>
              <c:ext xmlns:c16="http://schemas.microsoft.com/office/drawing/2014/chart" uri="{C3380CC4-5D6E-409C-BE32-E72D297353CC}">
                <c16:uniqueId val="{000001A9-E3BD-4AB2-9FB0-D96CC53B42ED}"/>
              </c:ext>
            </c:extLst>
          </c:dPt>
          <c:dPt>
            <c:idx val="212"/>
            <c:invertIfNegative val="1"/>
            <c:bubble3D val="0"/>
            <c:spPr>
              <a:solidFill>
                <a:srgbClr val="AEABAB"/>
              </a:solidFill>
            </c:spPr>
            <c:extLst>
              <c:ext xmlns:c16="http://schemas.microsoft.com/office/drawing/2014/chart" uri="{C3380CC4-5D6E-409C-BE32-E72D297353CC}">
                <c16:uniqueId val="{000001AB-E3BD-4AB2-9FB0-D96CC53B42ED}"/>
              </c:ext>
            </c:extLst>
          </c:dPt>
          <c:dPt>
            <c:idx val="213"/>
            <c:invertIfNegative val="1"/>
            <c:bubble3D val="0"/>
            <c:spPr>
              <a:solidFill>
                <a:srgbClr val="AEABAB"/>
              </a:solidFill>
            </c:spPr>
            <c:extLst>
              <c:ext xmlns:c16="http://schemas.microsoft.com/office/drawing/2014/chart" uri="{C3380CC4-5D6E-409C-BE32-E72D297353CC}">
                <c16:uniqueId val="{000001AD-E3BD-4AB2-9FB0-D96CC53B42ED}"/>
              </c:ext>
            </c:extLst>
          </c:dPt>
          <c:dPt>
            <c:idx val="214"/>
            <c:invertIfNegative val="1"/>
            <c:bubble3D val="0"/>
            <c:spPr>
              <a:solidFill>
                <a:srgbClr val="AEABAB"/>
              </a:solidFill>
            </c:spPr>
            <c:extLst>
              <c:ext xmlns:c16="http://schemas.microsoft.com/office/drawing/2014/chart" uri="{C3380CC4-5D6E-409C-BE32-E72D297353CC}">
                <c16:uniqueId val="{000001AF-E3BD-4AB2-9FB0-D96CC53B42ED}"/>
              </c:ext>
            </c:extLst>
          </c:dPt>
          <c:dPt>
            <c:idx val="215"/>
            <c:invertIfNegative val="1"/>
            <c:bubble3D val="0"/>
            <c:spPr>
              <a:solidFill>
                <a:srgbClr val="AEABAB"/>
              </a:solidFill>
            </c:spPr>
            <c:extLst>
              <c:ext xmlns:c16="http://schemas.microsoft.com/office/drawing/2014/chart" uri="{C3380CC4-5D6E-409C-BE32-E72D297353CC}">
                <c16:uniqueId val="{000001B1-E3BD-4AB2-9FB0-D96CC53B42ED}"/>
              </c:ext>
            </c:extLst>
          </c:dPt>
          <c:dPt>
            <c:idx val="216"/>
            <c:invertIfNegative val="1"/>
            <c:bubble3D val="0"/>
            <c:spPr>
              <a:solidFill>
                <a:srgbClr val="AEABAB"/>
              </a:solidFill>
            </c:spPr>
            <c:extLst>
              <c:ext xmlns:c16="http://schemas.microsoft.com/office/drawing/2014/chart" uri="{C3380CC4-5D6E-409C-BE32-E72D297353CC}">
                <c16:uniqueId val="{000001B3-E3BD-4AB2-9FB0-D96CC53B42ED}"/>
              </c:ext>
            </c:extLst>
          </c:dPt>
          <c:dPt>
            <c:idx val="217"/>
            <c:invertIfNegative val="1"/>
            <c:bubble3D val="0"/>
            <c:spPr>
              <a:solidFill>
                <a:srgbClr val="AEABAB"/>
              </a:solidFill>
            </c:spPr>
            <c:extLst>
              <c:ext xmlns:c16="http://schemas.microsoft.com/office/drawing/2014/chart" uri="{C3380CC4-5D6E-409C-BE32-E72D297353CC}">
                <c16:uniqueId val="{000001B5-E3BD-4AB2-9FB0-D96CC53B42ED}"/>
              </c:ext>
            </c:extLst>
          </c:dPt>
          <c:dPt>
            <c:idx val="218"/>
            <c:invertIfNegative val="1"/>
            <c:bubble3D val="0"/>
            <c:spPr>
              <a:solidFill>
                <a:srgbClr val="AEABAB"/>
              </a:solidFill>
            </c:spPr>
            <c:extLst>
              <c:ext xmlns:c16="http://schemas.microsoft.com/office/drawing/2014/chart" uri="{C3380CC4-5D6E-409C-BE32-E72D297353CC}">
                <c16:uniqueId val="{000001B7-E3BD-4AB2-9FB0-D96CC53B42ED}"/>
              </c:ext>
            </c:extLst>
          </c:dPt>
          <c:dPt>
            <c:idx val="219"/>
            <c:invertIfNegative val="1"/>
            <c:bubble3D val="0"/>
            <c:spPr>
              <a:solidFill>
                <a:srgbClr val="AEABAB"/>
              </a:solidFill>
            </c:spPr>
            <c:extLst>
              <c:ext xmlns:c16="http://schemas.microsoft.com/office/drawing/2014/chart" uri="{C3380CC4-5D6E-409C-BE32-E72D297353CC}">
                <c16:uniqueId val="{000001B9-E3BD-4AB2-9FB0-D96CC53B42ED}"/>
              </c:ext>
            </c:extLst>
          </c:dPt>
          <c:dPt>
            <c:idx val="220"/>
            <c:invertIfNegative val="1"/>
            <c:bubble3D val="0"/>
            <c:spPr>
              <a:solidFill>
                <a:srgbClr val="AEABAB"/>
              </a:solidFill>
            </c:spPr>
            <c:extLst>
              <c:ext xmlns:c16="http://schemas.microsoft.com/office/drawing/2014/chart" uri="{C3380CC4-5D6E-409C-BE32-E72D297353CC}">
                <c16:uniqueId val="{000001BB-E3BD-4AB2-9FB0-D96CC53B42ED}"/>
              </c:ext>
            </c:extLst>
          </c:dPt>
          <c:dPt>
            <c:idx val="221"/>
            <c:invertIfNegative val="1"/>
            <c:bubble3D val="0"/>
            <c:spPr>
              <a:solidFill>
                <a:srgbClr val="AEABAB"/>
              </a:solidFill>
            </c:spPr>
            <c:extLst>
              <c:ext xmlns:c16="http://schemas.microsoft.com/office/drawing/2014/chart" uri="{C3380CC4-5D6E-409C-BE32-E72D297353CC}">
                <c16:uniqueId val="{000001BD-E3BD-4AB2-9FB0-D96CC53B42ED}"/>
              </c:ext>
            </c:extLst>
          </c:dPt>
          <c:dPt>
            <c:idx val="222"/>
            <c:invertIfNegative val="1"/>
            <c:bubble3D val="0"/>
            <c:spPr>
              <a:solidFill>
                <a:srgbClr val="AEABAB"/>
              </a:solidFill>
            </c:spPr>
            <c:extLst>
              <c:ext xmlns:c16="http://schemas.microsoft.com/office/drawing/2014/chart" uri="{C3380CC4-5D6E-409C-BE32-E72D297353CC}">
                <c16:uniqueId val="{000001BF-E3BD-4AB2-9FB0-D96CC53B42ED}"/>
              </c:ext>
            </c:extLst>
          </c:dPt>
          <c:dPt>
            <c:idx val="223"/>
            <c:invertIfNegative val="1"/>
            <c:bubble3D val="0"/>
            <c:spPr>
              <a:solidFill>
                <a:srgbClr val="AEABAB"/>
              </a:solidFill>
            </c:spPr>
            <c:extLst>
              <c:ext xmlns:c16="http://schemas.microsoft.com/office/drawing/2014/chart" uri="{C3380CC4-5D6E-409C-BE32-E72D297353CC}">
                <c16:uniqueId val="{000001C1-E3BD-4AB2-9FB0-D96CC53B42ED}"/>
              </c:ext>
            </c:extLst>
          </c:dPt>
          <c:dPt>
            <c:idx val="224"/>
            <c:invertIfNegative val="1"/>
            <c:bubble3D val="0"/>
            <c:spPr>
              <a:solidFill>
                <a:srgbClr val="AEABAB"/>
              </a:solidFill>
            </c:spPr>
            <c:extLst>
              <c:ext xmlns:c16="http://schemas.microsoft.com/office/drawing/2014/chart" uri="{C3380CC4-5D6E-409C-BE32-E72D297353CC}">
                <c16:uniqueId val="{000001C3-E3BD-4AB2-9FB0-D96CC53B42ED}"/>
              </c:ext>
            </c:extLst>
          </c:dPt>
          <c:dPt>
            <c:idx val="225"/>
            <c:invertIfNegative val="1"/>
            <c:bubble3D val="0"/>
            <c:spPr>
              <a:solidFill>
                <a:srgbClr val="AEABAB"/>
              </a:solidFill>
            </c:spPr>
            <c:extLst>
              <c:ext xmlns:c16="http://schemas.microsoft.com/office/drawing/2014/chart" uri="{C3380CC4-5D6E-409C-BE32-E72D297353CC}">
                <c16:uniqueId val="{000001C5-E3BD-4AB2-9FB0-D96CC53B42ED}"/>
              </c:ext>
            </c:extLst>
          </c:dPt>
          <c:dPt>
            <c:idx val="226"/>
            <c:invertIfNegative val="1"/>
            <c:bubble3D val="0"/>
            <c:spPr>
              <a:solidFill>
                <a:srgbClr val="AEABAB"/>
              </a:solidFill>
            </c:spPr>
            <c:extLst>
              <c:ext xmlns:c16="http://schemas.microsoft.com/office/drawing/2014/chart" uri="{C3380CC4-5D6E-409C-BE32-E72D297353CC}">
                <c16:uniqueId val="{000001C7-E3BD-4AB2-9FB0-D96CC53B42ED}"/>
              </c:ext>
            </c:extLst>
          </c:dPt>
          <c:dPt>
            <c:idx val="227"/>
            <c:invertIfNegative val="1"/>
            <c:bubble3D val="0"/>
            <c:spPr>
              <a:solidFill>
                <a:srgbClr val="AEABAB"/>
              </a:solidFill>
            </c:spPr>
            <c:extLst>
              <c:ext xmlns:c16="http://schemas.microsoft.com/office/drawing/2014/chart" uri="{C3380CC4-5D6E-409C-BE32-E72D297353CC}">
                <c16:uniqueId val="{000001C9-E3BD-4AB2-9FB0-D96CC53B42ED}"/>
              </c:ext>
            </c:extLst>
          </c:dPt>
          <c:dPt>
            <c:idx val="228"/>
            <c:invertIfNegative val="1"/>
            <c:bubble3D val="0"/>
            <c:spPr>
              <a:solidFill>
                <a:srgbClr val="AEABAB"/>
              </a:solidFill>
            </c:spPr>
            <c:extLst>
              <c:ext xmlns:c16="http://schemas.microsoft.com/office/drawing/2014/chart" uri="{C3380CC4-5D6E-409C-BE32-E72D297353CC}">
                <c16:uniqueId val="{000001CB-E3BD-4AB2-9FB0-D96CC53B42ED}"/>
              </c:ext>
            </c:extLst>
          </c:dPt>
          <c:dPt>
            <c:idx val="229"/>
            <c:invertIfNegative val="1"/>
            <c:bubble3D val="0"/>
            <c:spPr>
              <a:solidFill>
                <a:srgbClr val="AEABAB"/>
              </a:solidFill>
            </c:spPr>
            <c:extLst>
              <c:ext xmlns:c16="http://schemas.microsoft.com/office/drawing/2014/chart" uri="{C3380CC4-5D6E-409C-BE32-E72D297353CC}">
                <c16:uniqueId val="{000001CD-E3BD-4AB2-9FB0-D96CC53B42ED}"/>
              </c:ext>
            </c:extLst>
          </c:dPt>
          <c:dPt>
            <c:idx val="230"/>
            <c:invertIfNegative val="1"/>
            <c:bubble3D val="0"/>
            <c:spPr>
              <a:solidFill>
                <a:srgbClr val="AEABAB"/>
              </a:solidFill>
            </c:spPr>
            <c:extLst>
              <c:ext xmlns:c16="http://schemas.microsoft.com/office/drawing/2014/chart" uri="{C3380CC4-5D6E-409C-BE32-E72D297353CC}">
                <c16:uniqueId val="{000001CF-E3BD-4AB2-9FB0-D96CC53B42ED}"/>
              </c:ext>
            </c:extLst>
          </c:dPt>
          <c:dPt>
            <c:idx val="231"/>
            <c:invertIfNegative val="1"/>
            <c:bubble3D val="0"/>
            <c:spPr>
              <a:solidFill>
                <a:srgbClr val="AEABAB"/>
              </a:solidFill>
            </c:spPr>
            <c:extLst>
              <c:ext xmlns:c16="http://schemas.microsoft.com/office/drawing/2014/chart" uri="{C3380CC4-5D6E-409C-BE32-E72D297353CC}">
                <c16:uniqueId val="{000001D1-E3BD-4AB2-9FB0-D96CC53B42ED}"/>
              </c:ext>
            </c:extLst>
          </c:dPt>
          <c:dPt>
            <c:idx val="232"/>
            <c:invertIfNegative val="1"/>
            <c:bubble3D val="0"/>
            <c:spPr>
              <a:solidFill>
                <a:srgbClr val="AEABAB"/>
              </a:solidFill>
            </c:spPr>
            <c:extLst>
              <c:ext xmlns:c16="http://schemas.microsoft.com/office/drawing/2014/chart" uri="{C3380CC4-5D6E-409C-BE32-E72D297353CC}">
                <c16:uniqueId val="{000001D3-E3BD-4AB2-9FB0-D96CC53B42ED}"/>
              </c:ext>
            </c:extLst>
          </c:dPt>
          <c:dPt>
            <c:idx val="233"/>
            <c:invertIfNegative val="1"/>
            <c:bubble3D val="0"/>
            <c:spPr>
              <a:solidFill>
                <a:srgbClr val="AEABAB"/>
              </a:solidFill>
            </c:spPr>
            <c:extLst>
              <c:ext xmlns:c16="http://schemas.microsoft.com/office/drawing/2014/chart" uri="{C3380CC4-5D6E-409C-BE32-E72D297353CC}">
                <c16:uniqueId val="{000001D5-E3BD-4AB2-9FB0-D96CC53B42ED}"/>
              </c:ext>
            </c:extLst>
          </c:dPt>
          <c:dPt>
            <c:idx val="234"/>
            <c:invertIfNegative val="1"/>
            <c:bubble3D val="0"/>
            <c:spPr>
              <a:solidFill>
                <a:srgbClr val="AEABAB"/>
              </a:solidFill>
            </c:spPr>
            <c:extLst>
              <c:ext xmlns:c16="http://schemas.microsoft.com/office/drawing/2014/chart" uri="{C3380CC4-5D6E-409C-BE32-E72D297353CC}">
                <c16:uniqueId val="{000001D7-E3BD-4AB2-9FB0-D96CC53B42ED}"/>
              </c:ext>
            </c:extLst>
          </c:dPt>
          <c:dPt>
            <c:idx val="235"/>
            <c:invertIfNegative val="1"/>
            <c:bubble3D val="0"/>
            <c:spPr>
              <a:solidFill>
                <a:srgbClr val="AEABAB"/>
              </a:solidFill>
            </c:spPr>
            <c:extLst>
              <c:ext xmlns:c16="http://schemas.microsoft.com/office/drawing/2014/chart" uri="{C3380CC4-5D6E-409C-BE32-E72D297353CC}">
                <c16:uniqueId val="{000001D9-E3BD-4AB2-9FB0-D96CC53B42ED}"/>
              </c:ext>
            </c:extLst>
          </c:dPt>
          <c:dPt>
            <c:idx val="236"/>
            <c:invertIfNegative val="1"/>
            <c:bubble3D val="0"/>
            <c:spPr>
              <a:solidFill>
                <a:srgbClr val="AEABAB"/>
              </a:solidFill>
            </c:spPr>
            <c:extLst>
              <c:ext xmlns:c16="http://schemas.microsoft.com/office/drawing/2014/chart" uri="{C3380CC4-5D6E-409C-BE32-E72D297353CC}">
                <c16:uniqueId val="{000001DB-E3BD-4AB2-9FB0-D96CC53B42ED}"/>
              </c:ext>
            </c:extLst>
          </c:dPt>
          <c:dPt>
            <c:idx val="237"/>
            <c:invertIfNegative val="1"/>
            <c:bubble3D val="0"/>
            <c:spPr>
              <a:solidFill>
                <a:srgbClr val="AEABAB"/>
              </a:solidFill>
            </c:spPr>
            <c:extLst>
              <c:ext xmlns:c16="http://schemas.microsoft.com/office/drawing/2014/chart" uri="{C3380CC4-5D6E-409C-BE32-E72D297353CC}">
                <c16:uniqueId val="{000001DD-E3BD-4AB2-9FB0-D96CC53B42ED}"/>
              </c:ext>
            </c:extLst>
          </c:dPt>
          <c:dPt>
            <c:idx val="238"/>
            <c:invertIfNegative val="1"/>
            <c:bubble3D val="0"/>
            <c:spPr>
              <a:solidFill>
                <a:srgbClr val="AEABAB"/>
              </a:solidFill>
            </c:spPr>
            <c:extLst>
              <c:ext xmlns:c16="http://schemas.microsoft.com/office/drawing/2014/chart" uri="{C3380CC4-5D6E-409C-BE32-E72D297353CC}">
                <c16:uniqueId val="{000001DF-E3BD-4AB2-9FB0-D96CC53B42ED}"/>
              </c:ext>
            </c:extLst>
          </c:dPt>
          <c:dPt>
            <c:idx val="239"/>
            <c:invertIfNegative val="1"/>
            <c:bubble3D val="0"/>
            <c:spPr>
              <a:solidFill>
                <a:srgbClr val="AEABAB"/>
              </a:solidFill>
            </c:spPr>
            <c:extLst>
              <c:ext xmlns:c16="http://schemas.microsoft.com/office/drawing/2014/chart" uri="{C3380CC4-5D6E-409C-BE32-E72D297353CC}">
                <c16:uniqueId val="{000001E1-E3BD-4AB2-9FB0-D96CC53B42ED}"/>
              </c:ext>
            </c:extLst>
          </c:dPt>
          <c:dPt>
            <c:idx val="240"/>
            <c:invertIfNegative val="1"/>
            <c:bubble3D val="0"/>
            <c:spPr>
              <a:solidFill>
                <a:srgbClr val="AEABAB"/>
              </a:solidFill>
            </c:spPr>
            <c:extLst>
              <c:ext xmlns:c16="http://schemas.microsoft.com/office/drawing/2014/chart" uri="{C3380CC4-5D6E-409C-BE32-E72D297353CC}">
                <c16:uniqueId val="{000001E3-E3BD-4AB2-9FB0-D96CC53B42ED}"/>
              </c:ext>
            </c:extLst>
          </c:dPt>
          <c:dPt>
            <c:idx val="241"/>
            <c:invertIfNegative val="1"/>
            <c:bubble3D val="0"/>
            <c:spPr>
              <a:solidFill>
                <a:srgbClr val="AEABAB"/>
              </a:solidFill>
            </c:spPr>
            <c:extLst>
              <c:ext xmlns:c16="http://schemas.microsoft.com/office/drawing/2014/chart" uri="{C3380CC4-5D6E-409C-BE32-E72D297353CC}">
                <c16:uniqueId val="{000001E5-E3BD-4AB2-9FB0-D96CC53B42ED}"/>
              </c:ext>
            </c:extLst>
          </c:dPt>
          <c:dPt>
            <c:idx val="242"/>
            <c:invertIfNegative val="1"/>
            <c:bubble3D val="0"/>
            <c:spPr>
              <a:solidFill>
                <a:srgbClr val="AEABAB"/>
              </a:solidFill>
            </c:spPr>
            <c:extLst>
              <c:ext xmlns:c16="http://schemas.microsoft.com/office/drawing/2014/chart" uri="{C3380CC4-5D6E-409C-BE32-E72D297353CC}">
                <c16:uniqueId val="{000001E7-E3BD-4AB2-9FB0-D96CC53B42ED}"/>
              </c:ext>
            </c:extLst>
          </c:dPt>
          <c:dPt>
            <c:idx val="243"/>
            <c:invertIfNegative val="1"/>
            <c:bubble3D val="0"/>
            <c:spPr>
              <a:solidFill>
                <a:srgbClr val="AEABAB"/>
              </a:solidFill>
            </c:spPr>
            <c:extLst>
              <c:ext xmlns:c16="http://schemas.microsoft.com/office/drawing/2014/chart" uri="{C3380CC4-5D6E-409C-BE32-E72D297353CC}">
                <c16:uniqueId val="{000001E9-E3BD-4AB2-9FB0-D96CC53B42ED}"/>
              </c:ext>
            </c:extLst>
          </c:dPt>
          <c:dPt>
            <c:idx val="244"/>
            <c:invertIfNegative val="1"/>
            <c:bubble3D val="0"/>
            <c:spPr>
              <a:solidFill>
                <a:srgbClr val="AEABAB"/>
              </a:solidFill>
            </c:spPr>
            <c:extLst>
              <c:ext xmlns:c16="http://schemas.microsoft.com/office/drawing/2014/chart" uri="{C3380CC4-5D6E-409C-BE32-E72D297353CC}">
                <c16:uniqueId val="{000001EB-E3BD-4AB2-9FB0-D96CC53B42ED}"/>
              </c:ext>
            </c:extLst>
          </c:dPt>
          <c:dPt>
            <c:idx val="245"/>
            <c:invertIfNegative val="1"/>
            <c:bubble3D val="0"/>
            <c:spPr>
              <a:solidFill>
                <a:srgbClr val="AEABAB"/>
              </a:solidFill>
            </c:spPr>
            <c:extLst>
              <c:ext xmlns:c16="http://schemas.microsoft.com/office/drawing/2014/chart" uri="{C3380CC4-5D6E-409C-BE32-E72D297353CC}">
                <c16:uniqueId val="{000001ED-E3BD-4AB2-9FB0-D96CC53B42ED}"/>
              </c:ext>
            </c:extLst>
          </c:dPt>
          <c:dPt>
            <c:idx val="246"/>
            <c:invertIfNegative val="1"/>
            <c:bubble3D val="0"/>
            <c:spPr>
              <a:solidFill>
                <a:srgbClr val="AEABAB"/>
              </a:solidFill>
            </c:spPr>
            <c:extLst>
              <c:ext xmlns:c16="http://schemas.microsoft.com/office/drawing/2014/chart" uri="{C3380CC4-5D6E-409C-BE32-E72D297353CC}">
                <c16:uniqueId val="{000001EF-E3BD-4AB2-9FB0-D96CC53B42ED}"/>
              </c:ext>
            </c:extLst>
          </c:dPt>
          <c:dPt>
            <c:idx val="247"/>
            <c:invertIfNegative val="1"/>
            <c:bubble3D val="0"/>
            <c:spPr>
              <a:solidFill>
                <a:srgbClr val="AEABAB"/>
              </a:solidFill>
            </c:spPr>
            <c:extLst>
              <c:ext xmlns:c16="http://schemas.microsoft.com/office/drawing/2014/chart" uri="{C3380CC4-5D6E-409C-BE32-E72D297353CC}">
                <c16:uniqueId val="{000001F1-E3BD-4AB2-9FB0-D96CC53B42ED}"/>
              </c:ext>
            </c:extLst>
          </c:dPt>
          <c:dPt>
            <c:idx val="248"/>
            <c:invertIfNegative val="1"/>
            <c:bubble3D val="0"/>
            <c:spPr>
              <a:solidFill>
                <a:srgbClr val="AEABAB"/>
              </a:solidFill>
            </c:spPr>
            <c:extLst>
              <c:ext xmlns:c16="http://schemas.microsoft.com/office/drawing/2014/chart" uri="{C3380CC4-5D6E-409C-BE32-E72D297353CC}">
                <c16:uniqueId val="{000001F3-E3BD-4AB2-9FB0-D96CC53B42ED}"/>
              </c:ext>
            </c:extLst>
          </c:dPt>
          <c:dPt>
            <c:idx val="249"/>
            <c:invertIfNegative val="1"/>
            <c:bubble3D val="0"/>
            <c:spPr>
              <a:solidFill>
                <a:srgbClr val="AEABAB"/>
              </a:solidFill>
            </c:spPr>
            <c:extLst>
              <c:ext xmlns:c16="http://schemas.microsoft.com/office/drawing/2014/chart" uri="{C3380CC4-5D6E-409C-BE32-E72D297353CC}">
                <c16:uniqueId val="{000001F5-E3BD-4AB2-9FB0-D96CC53B42ED}"/>
              </c:ext>
            </c:extLst>
          </c:dPt>
          <c:dPt>
            <c:idx val="250"/>
            <c:invertIfNegative val="1"/>
            <c:bubble3D val="0"/>
            <c:spPr>
              <a:solidFill>
                <a:srgbClr val="AEABAB"/>
              </a:solidFill>
            </c:spPr>
            <c:extLst>
              <c:ext xmlns:c16="http://schemas.microsoft.com/office/drawing/2014/chart" uri="{C3380CC4-5D6E-409C-BE32-E72D297353CC}">
                <c16:uniqueId val="{000001F7-E3BD-4AB2-9FB0-D96CC53B42ED}"/>
              </c:ext>
            </c:extLst>
          </c:dPt>
          <c:dPt>
            <c:idx val="251"/>
            <c:invertIfNegative val="1"/>
            <c:bubble3D val="0"/>
            <c:spPr>
              <a:solidFill>
                <a:srgbClr val="AEABAB"/>
              </a:solidFill>
            </c:spPr>
            <c:extLst>
              <c:ext xmlns:c16="http://schemas.microsoft.com/office/drawing/2014/chart" uri="{C3380CC4-5D6E-409C-BE32-E72D297353CC}">
                <c16:uniqueId val="{000001F9-E3BD-4AB2-9FB0-D96CC53B42ED}"/>
              </c:ext>
            </c:extLst>
          </c:dPt>
          <c:dPt>
            <c:idx val="252"/>
            <c:invertIfNegative val="1"/>
            <c:bubble3D val="0"/>
            <c:spPr>
              <a:solidFill>
                <a:srgbClr val="AEABAB"/>
              </a:solidFill>
            </c:spPr>
            <c:extLst>
              <c:ext xmlns:c16="http://schemas.microsoft.com/office/drawing/2014/chart" uri="{C3380CC4-5D6E-409C-BE32-E72D297353CC}">
                <c16:uniqueId val="{000001FB-E3BD-4AB2-9FB0-D96CC53B42ED}"/>
              </c:ext>
            </c:extLst>
          </c:dPt>
          <c:dPt>
            <c:idx val="253"/>
            <c:invertIfNegative val="1"/>
            <c:bubble3D val="0"/>
            <c:spPr>
              <a:solidFill>
                <a:srgbClr val="AEABAB"/>
              </a:solidFill>
            </c:spPr>
            <c:extLst>
              <c:ext xmlns:c16="http://schemas.microsoft.com/office/drawing/2014/chart" uri="{C3380CC4-5D6E-409C-BE32-E72D297353CC}">
                <c16:uniqueId val="{000001FD-E3BD-4AB2-9FB0-D96CC53B42ED}"/>
              </c:ext>
            </c:extLst>
          </c:dPt>
          <c:dPt>
            <c:idx val="254"/>
            <c:invertIfNegative val="1"/>
            <c:bubble3D val="0"/>
            <c:spPr>
              <a:solidFill>
                <a:srgbClr val="AEABAB"/>
              </a:solidFill>
            </c:spPr>
            <c:extLst>
              <c:ext xmlns:c16="http://schemas.microsoft.com/office/drawing/2014/chart" uri="{C3380CC4-5D6E-409C-BE32-E72D297353CC}">
                <c16:uniqueId val="{000001FF-E3BD-4AB2-9FB0-D96CC53B42ED}"/>
              </c:ext>
            </c:extLst>
          </c:dPt>
          <c:dPt>
            <c:idx val="255"/>
            <c:invertIfNegative val="1"/>
            <c:bubble3D val="0"/>
            <c:spPr>
              <a:solidFill>
                <a:srgbClr val="AEABAB"/>
              </a:solidFill>
            </c:spPr>
            <c:extLst>
              <c:ext xmlns:c16="http://schemas.microsoft.com/office/drawing/2014/chart" uri="{C3380CC4-5D6E-409C-BE32-E72D297353CC}">
                <c16:uniqueId val="{00000201-E3BD-4AB2-9FB0-D96CC53B42ED}"/>
              </c:ext>
            </c:extLst>
          </c:dPt>
          <c:dPt>
            <c:idx val="256"/>
            <c:invertIfNegative val="1"/>
            <c:bubble3D val="0"/>
            <c:spPr>
              <a:solidFill>
                <a:srgbClr val="AEABAB"/>
              </a:solidFill>
            </c:spPr>
            <c:extLst>
              <c:ext xmlns:c16="http://schemas.microsoft.com/office/drawing/2014/chart" uri="{C3380CC4-5D6E-409C-BE32-E72D297353CC}">
                <c16:uniqueId val="{00000203-E3BD-4AB2-9FB0-D96CC53B42ED}"/>
              </c:ext>
            </c:extLst>
          </c:dPt>
          <c:dPt>
            <c:idx val="257"/>
            <c:invertIfNegative val="1"/>
            <c:bubble3D val="0"/>
            <c:spPr>
              <a:solidFill>
                <a:srgbClr val="AEABAB"/>
              </a:solidFill>
            </c:spPr>
            <c:extLst>
              <c:ext xmlns:c16="http://schemas.microsoft.com/office/drawing/2014/chart" uri="{C3380CC4-5D6E-409C-BE32-E72D297353CC}">
                <c16:uniqueId val="{00000205-E3BD-4AB2-9FB0-D96CC53B42ED}"/>
              </c:ext>
            </c:extLst>
          </c:dPt>
          <c:cat>
            <c:strRef>
              <c:f>Sheet1!$A$2:$A$259</c:f>
              <c:strCache>
                <c:ptCount val="258"/>
                <c:pt idx="0">
                  <c:v>Ruinart</c:v>
                </c:pt>
                <c:pt idx="1">
                  <c:v>Nicolas</c:v>
                </c:pt>
                <c:pt idx="2">
                  <c:v>Deutz</c:v>
                </c:pt>
                <c:pt idx="3">
                  <c:v>Ruinart</c:v>
                </c:pt>
                <c:pt idx="4">
                  <c:v>Heidsieck &amp;</c:v>
                </c:pt>
                <c:pt idx="5">
                  <c:v>De Bligny</c:v>
                </c:pt>
                <c:pt idx="6">
                  <c:v>Ayala</c:v>
                </c:pt>
                <c:pt idx="7">
                  <c:v>Malard</c:v>
                </c:pt>
                <c:pt idx="8">
                  <c:v>Canard Duch</c:v>
                </c:pt>
                <c:pt idx="9">
                  <c:v>Besserat De</c:v>
                </c:pt>
                <c:pt idx="10">
                  <c:v>Nicolas Feu</c:v>
                </c:pt>
                <c:pt idx="11">
                  <c:v>Ruinart</c:v>
                </c:pt>
                <c:pt idx="12">
                  <c:v>Ruinart</c:v>
                </c:pt>
                <c:pt idx="13">
                  <c:v>Laurent Per</c:v>
                </c:pt>
                <c:pt idx="14">
                  <c:v>Demoiselle</c:v>
                </c:pt>
                <c:pt idx="15">
                  <c:v>Taittinger</c:v>
                </c:pt>
                <c:pt idx="16">
                  <c:v>Bollinger</c:v>
                </c:pt>
                <c:pt idx="17">
                  <c:v>Savian</c:v>
                </c:pt>
                <c:pt idx="18">
                  <c:v>All Others</c:v>
                </c:pt>
                <c:pt idx="19">
                  <c:v>Ruinart</c:v>
                </c:pt>
                <c:pt idx="20">
                  <c:v>Roederer</c:v>
                </c:pt>
                <c:pt idx="21">
                  <c:v>Laurent Per</c:v>
                </c:pt>
                <c:pt idx="22">
                  <c:v>Deutz</c:v>
                </c:pt>
                <c:pt idx="23">
                  <c:v>Vesselle</c:v>
                </c:pt>
                <c:pt idx="24">
                  <c:v>Campari: Al</c:v>
                </c:pt>
                <c:pt idx="25">
                  <c:v>Perrier Jou</c:v>
                </c:pt>
                <c:pt idx="26">
                  <c:v>Pommery</c:v>
                </c:pt>
                <c:pt idx="27">
                  <c:v>Ruinart</c:v>
                </c:pt>
                <c:pt idx="28">
                  <c:v>Demoiselle</c:v>
                </c:pt>
                <c:pt idx="29">
                  <c:v>All Others</c:v>
                </c:pt>
                <c:pt idx="30">
                  <c:v>Ruinart</c:v>
                </c:pt>
                <c:pt idx="31">
                  <c:v>All Others</c:v>
                </c:pt>
                <c:pt idx="32">
                  <c:v>Piper Heids</c:v>
                </c:pt>
                <c:pt idx="33">
                  <c:v>Ruinart</c:v>
                </c:pt>
                <c:pt idx="34">
                  <c:v>Taittinger</c:v>
                </c:pt>
                <c:pt idx="35">
                  <c:v>Dom Perigno</c:v>
                </c:pt>
                <c:pt idx="36">
                  <c:v>Roederer</c:v>
                </c:pt>
                <c:pt idx="37">
                  <c:v>Moët &amp; Chan</c:v>
                </c:pt>
                <c:pt idx="38">
                  <c:v>Deutz</c:v>
                </c:pt>
                <c:pt idx="39">
                  <c:v>Nicolas</c:v>
                </c:pt>
                <c:pt idx="40">
                  <c:v>All Others</c:v>
                </c:pt>
                <c:pt idx="41">
                  <c:v>De Bligny</c:v>
                </c:pt>
                <c:pt idx="42">
                  <c:v>Malard</c:v>
                </c:pt>
                <c:pt idx="43">
                  <c:v>Dom Perigno</c:v>
                </c:pt>
                <c:pt idx="44">
                  <c:v>Malard</c:v>
                </c:pt>
                <c:pt idx="45">
                  <c:v>Besserat De</c:v>
                </c:pt>
                <c:pt idx="46">
                  <c:v>Nicolas Feu</c:v>
                </c:pt>
                <c:pt idx="47">
                  <c:v>Canard Duch</c:v>
                </c:pt>
                <c:pt idx="48">
                  <c:v>Henriot</c:v>
                </c:pt>
                <c:pt idx="49">
                  <c:v>Patriarche</c:v>
                </c:pt>
                <c:pt idx="50">
                  <c:v>Laurent Per</c:v>
                </c:pt>
                <c:pt idx="51">
                  <c:v>Dom Perigno</c:v>
                </c:pt>
                <c:pt idx="52">
                  <c:v>All Others</c:v>
                </c:pt>
                <c:pt idx="53">
                  <c:v>De Chanceny</c:v>
                </c:pt>
                <c:pt idx="54">
                  <c:v>Veuve Clicq</c:v>
                </c:pt>
                <c:pt idx="55">
                  <c:v>Nicolas</c:v>
                </c:pt>
                <c:pt idx="56">
                  <c:v>Pommery</c:v>
                </c:pt>
                <c:pt idx="57">
                  <c:v>Louis Marti</c:v>
                </c:pt>
                <c:pt idx="58">
                  <c:v>Chateau Mon</c:v>
                </c:pt>
                <c:pt idx="59">
                  <c:v>Lyre's</c:v>
                </c:pt>
                <c:pt idx="60">
                  <c:v>Bouvet-Ladu</c:v>
                </c:pt>
                <c:pt idx="61">
                  <c:v>De Venoge</c:v>
                </c:pt>
                <c:pt idx="62">
                  <c:v>Veuve Clicq</c:v>
                </c:pt>
                <c:pt idx="63">
                  <c:v>Bottega</c:v>
                </c:pt>
                <c:pt idx="64">
                  <c:v>Nicolas</c:v>
                </c:pt>
                <c:pt idx="65">
                  <c:v>Moët &amp; Chan</c:v>
                </c:pt>
                <c:pt idx="66">
                  <c:v>Savian</c:v>
                </c:pt>
                <c:pt idx="67">
                  <c:v>Mure</c:v>
                </c:pt>
                <c:pt idx="68">
                  <c:v>Ayala</c:v>
                </c:pt>
                <c:pt idx="69">
                  <c:v>Ruinart</c:v>
                </c:pt>
                <c:pt idx="70">
                  <c:v>Veuve Clicq</c:v>
                </c:pt>
                <c:pt idx="71">
                  <c:v>Ruinart</c:v>
                </c:pt>
                <c:pt idx="72">
                  <c:v>Canard Duch</c:v>
                </c:pt>
                <c:pt idx="73">
                  <c:v>Campari: Al</c:v>
                </c:pt>
                <c:pt idx="74">
                  <c:v>Nicolas Feu</c:v>
                </c:pt>
                <c:pt idx="75">
                  <c:v>Moët &amp; Chan</c:v>
                </c:pt>
                <c:pt idx="76">
                  <c:v>Deutz</c:v>
                </c:pt>
                <c:pt idx="77">
                  <c:v>Nicolas</c:v>
                </c:pt>
                <c:pt idx="78">
                  <c:v>Henriot</c:v>
                </c:pt>
                <c:pt idx="79">
                  <c:v>All Others</c:v>
                </c:pt>
                <c:pt idx="80">
                  <c:v>Canard Duch</c:v>
                </c:pt>
                <c:pt idx="81">
                  <c:v>Bollinger</c:v>
                </c:pt>
                <c:pt idx="82">
                  <c:v>Besserat De</c:v>
                </c:pt>
                <c:pt idx="83">
                  <c:v>Lanson</c:v>
                </c:pt>
                <c:pt idx="84">
                  <c:v>Ruinart</c:v>
                </c:pt>
                <c:pt idx="85">
                  <c:v>Nicolas Feu</c:v>
                </c:pt>
                <c:pt idx="86">
                  <c:v>Malard</c:v>
                </c:pt>
                <c:pt idx="87">
                  <c:v>Malard</c:v>
                </c:pt>
                <c:pt idx="88">
                  <c:v>De Chanceny</c:v>
                </c:pt>
                <c:pt idx="89">
                  <c:v>Krug</c:v>
                </c:pt>
                <c:pt idx="90">
                  <c:v>Laurent Per</c:v>
                </c:pt>
                <c:pt idx="91">
                  <c:v>Roederer</c:v>
                </c:pt>
                <c:pt idx="92">
                  <c:v>Henriot</c:v>
                </c:pt>
                <c:pt idx="93">
                  <c:v>Vranken</c:v>
                </c:pt>
                <c:pt idx="94">
                  <c:v>De Venoge</c:v>
                </c:pt>
                <c:pt idx="95">
                  <c:v>Kriter</c:v>
                </c:pt>
                <c:pt idx="96">
                  <c:v>Roederer</c:v>
                </c:pt>
                <c:pt idx="97">
                  <c:v>De Venoge</c:v>
                </c:pt>
                <c:pt idx="98">
                  <c:v>Patriarche</c:v>
                </c:pt>
                <c:pt idx="99">
                  <c:v>Ruinart</c:v>
                </c:pt>
                <c:pt idx="100">
                  <c:v>Veuve Clicq</c:v>
                </c:pt>
                <c:pt idx="101">
                  <c:v>Canard Duch</c:v>
                </c:pt>
                <c:pt idx="102">
                  <c:v>All Others</c:v>
                </c:pt>
                <c:pt idx="103">
                  <c:v>Malard</c:v>
                </c:pt>
                <c:pt idx="104">
                  <c:v>All Others</c:v>
                </c:pt>
                <c:pt idx="105">
                  <c:v>Henriot</c:v>
                </c:pt>
                <c:pt idx="106">
                  <c:v>Ruinart</c:v>
                </c:pt>
                <c:pt idx="107">
                  <c:v>Delamotte</c:v>
                </c:pt>
                <c:pt idx="108">
                  <c:v>Nicolas</c:v>
                </c:pt>
                <c:pt idx="109">
                  <c:v>All Others</c:v>
                </c:pt>
                <c:pt idx="110">
                  <c:v>All Others</c:v>
                </c:pt>
                <c:pt idx="111">
                  <c:v>All Others</c:v>
                </c:pt>
                <c:pt idx="112">
                  <c:v>Contarini</c:v>
                </c:pt>
                <c:pt idx="113">
                  <c:v>Nicolas</c:v>
                </c:pt>
                <c:pt idx="114">
                  <c:v>Roederer</c:v>
                </c:pt>
                <c:pt idx="115">
                  <c:v>Roederer</c:v>
                </c:pt>
                <c:pt idx="116">
                  <c:v>Bollinger</c:v>
                </c:pt>
                <c:pt idx="117">
                  <c:v>Roederer</c:v>
                </c:pt>
                <c:pt idx="118">
                  <c:v>Moët &amp; Chan</c:v>
                </c:pt>
                <c:pt idx="119">
                  <c:v>Roederer</c:v>
                </c:pt>
                <c:pt idx="120">
                  <c:v>De Venoge</c:v>
                </c:pt>
                <c:pt idx="121">
                  <c:v>Ruinart</c:v>
                </c:pt>
                <c:pt idx="122">
                  <c:v>Roederer</c:v>
                </c:pt>
                <c:pt idx="123">
                  <c:v>Nicolas</c:v>
                </c:pt>
                <c:pt idx="124">
                  <c:v>Bottega</c:v>
                </c:pt>
                <c:pt idx="125">
                  <c:v>Roederer</c:v>
                </c:pt>
                <c:pt idx="126">
                  <c:v>Nicolas</c:v>
                </c:pt>
                <c:pt idx="127">
                  <c:v>Perrier Jou</c:v>
                </c:pt>
                <c:pt idx="128">
                  <c:v>Nicolas</c:v>
                </c:pt>
                <c:pt idx="129">
                  <c:v>Deutz</c:v>
                </c:pt>
                <c:pt idx="130">
                  <c:v>All Others</c:v>
                </c:pt>
                <c:pt idx="131">
                  <c:v>Ruinart</c:v>
                </c:pt>
                <c:pt idx="132">
                  <c:v>Canard Duch</c:v>
                </c:pt>
                <c:pt idx="133">
                  <c:v>Ruinart</c:v>
                </c:pt>
                <c:pt idx="134">
                  <c:v>Delamotte</c:v>
                </c:pt>
                <c:pt idx="135">
                  <c:v>Nicolas</c:v>
                </c:pt>
                <c:pt idx="136">
                  <c:v>Vesselle</c:v>
                </c:pt>
                <c:pt idx="137">
                  <c:v>Roederer</c:v>
                </c:pt>
                <c:pt idx="138">
                  <c:v>Ruinart</c:v>
                </c:pt>
                <c:pt idx="139">
                  <c:v>Vranken</c:v>
                </c:pt>
                <c:pt idx="140">
                  <c:v>Cru La Maqu</c:v>
                </c:pt>
                <c:pt idx="141">
                  <c:v>Ruinart</c:v>
                </c:pt>
                <c:pt idx="142">
                  <c:v>Deutz</c:v>
                </c:pt>
                <c:pt idx="143">
                  <c:v>Deutz</c:v>
                </c:pt>
                <c:pt idx="144">
                  <c:v>Ayala</c:v>
                </c:pt>
                <c:pt idx="145">
                  <c:v>All Others</c:v>
                </c:pt>
                <c:pt idx="146">
                  <c:v>Roederer</c:v>
                </c:pt>
                <c:pt idx="147">
                  <c:v>All Others</c:v>
                </c:pt>
                <c:pt idx="148">
                  <c:v>All Others</c:v>
                </c:pt>
                <c:pt idx="149">
                  <c:v>All Others</c:v>
                </c:pt>
                <c:pt idx="150">
                  <c:v>Besserat De</c:v>
                </c:pt>
                <c:pt idx="151">
                  <c:v>Demoiselle</c:v>
                </c:pt>
                <c:pt idx="152">
                  <c:v>Nicolas</c:v>
                </c:pt>
                <c:pt idx="153">
                  <c:v>Nicolas Feu</c:v>
                </c:pt>
                <c:pt idx="154">
                  <c:v>All Others</c:v>
                </c:pt>
                <c:pt idx="155">
                  <c:v>Lanson</c:v>
                </c:pt>
                <c:pt idx="156">
                  <c:v>Taittinger</c:v>
                </c:pt>
                <c:pt idx="157">
                  <c:v>Nicolas</c:v>
                </c:pt>
                <c:pt idx="158">
                  <c:v>Ruinart</c:v>
                </c:pt>
                <c:pt idx="159">
                  <c:v>Bollinger</c:v>
                </c:pt>
                <c:pt idx="160">
                  <c:v>Nicolas</c:v>
                </c:pt>
                <c:pt idx="161">
                  <c:v>All Others</c:v>
                </c:pt>
                <c:pt idx="162">
                  <c:v>Roederer</c:v>
                </c:pt>
                <c:pt idx="163">
                  <c:v>All Others</c:v>
                </c:pt>
                <c:pt idx="164">
                  <c:v>Nicolas</c:v>
                </c:pt>
                <c:pt idx="165">
                  <c:v>Laurent Per</c:v>
                </c:pt>
                <c:pt idx="166">
                  <c:v>Louis Marti</c:v>
                </c:pt>
                <c:pt idx="167">
                  <c:v>Piper Heids</c:v>
                </c:pt>
                <c:pt idx="168">
                  <c:v>Piper Heids</c:v>
                </c:pt>
                <c:pt idx="169">
                  <c:v>Nicolas</c:v>
                </c:pt>
                <c:pt idx="170">
                  <c:v>All Others</c:v>
                </c:pt>
                <c:pt idx="171">
                  <c:v>Deutz</c:v>
                </c:pt>
                <c:pt idx="172">
                  <c:v>Lanson</c:v>
                </c:pt>
                <c:pt idx="173">
                  <c:v>Deutz</c:v>
                </c:pt>
                <c:pt idx="174">
                  <c:v>Laurent Per</c:v>
                </c:pt>
                <c:pt idx="175">
                  <c:v>Laurent Per</c:v>
                </c:pt>
                <c:pt idx="176">
                  <c:v>Vesselle</c:v>
                </c:pt>
                <c:pt idx="177">
                  <c:v>Roederer</c:v>
                </c:pt>
                <c:pt idx="178">
                  <c:v>All Others</c:v>
                </c:pt>
                <c:pt idx="179">
                  <c:v>Bouvet-Ladu</c:v>
                </c:pt>
                <c:pt idx="180">
                  <c:v>Perrier Jou</c:v>
                </c:pt>
                <c:pt idx="181">
                  <c:v>Laurent Per</c:v>
                </c:pt>
                <c:pt idx="182">
                  <c:v>Nicolas</c:v>
                </c:pt>
                <c:pt idx="183">
                  <c:v>Contarini</c:v>
                </c:pt>
                <c:pt idx="184">
                  <c:v>All Others</c:v>
                </c:pt>
                <c:pt idx="185">
                  <c:v>Pommery</c:v>
                </c:pt>
                <c:pt idx="186">
                  <c:v>Roederer</c:v>
                </c:pt>
                <c:pt idx="187">
                  <c:v>Pommery</c:v>
                </c:pt>
                <c:pt idx="188">
                  <c:v>All Others</c:v>
                </c:pt>
                <c:pt idx="189">
                  <c:v>Laurent Per</c:v>
                </c:pt>
                <c:pt idx="190">
                  <c:v>Ruinart</c:v>
                </c:pt>
                <c:pt idx="191">
                  <c:v>Nicolas</c:v>
                </c:pt>
                <c:pt idx="192">
                  <c:v>Vranken</c:v>
                </c:pt>
                <c:pt idx="193">
                  <c:v>Nicolas</c:v>
                </c:pt>
                <c:pt idx="194">
                  <c:v>Dom Perigno</c:v>
                </c:pt>
                <c:pt idx="195">
                  <c:v>Pommery</c:v>
                </c:pt>
                <c:pt idx="196">
                  <c:v>De Venoge</c:v>
                </c:pt>
                <c:pt idx="197">
                  <c:v>Henriot</c:v>
                </c:pt>
                <c:pt idx="198">
                  <c:v>Piper Heids</c:v>
                </c:pt>
                <c:pt idx="199">
                  <c:v>Moët &amp; Chan</c:v>
                </c:pt>
                <c:pt idx="200">
                  <c:v>Besserat De</c:v>
                </c:pt>
                <c:pt idx="201">
                  <c:v>Bouvet-Ladu</c:v>
                </c:pt>
                <c:pt idx="202">
                  <c:v>Demoiselle</c:v>
                </c:pt>
                <c:pt idx="203">
                  <c:v>Nicolas</c:v>
                </c:pt>
                <c:pt idx="204">
                  <c:v>Taittinger</c:v>
                </c:pt>
                <c:pt idx="205">
                  <c:v>Taittinger</c:v>
                </c:pt>
                <c:pt idx="206">
                  <c:v>Nicolas</c:v>
                </c:pt>
                <c:pt idx="207">
                  <c:v>All Others</c:v>
                </c:pt>
                <c:pt idx="208">
                  <c:v>Nicolas Feu</c:v>
                </c:pt>
                <c:pt idx="209">
                  <c:v>Perrier Jou</c:v>
                </c:pt>
                <c:pt idx="210">
                  <c:v>Bouvet-Ladu</c:v>
                </c:pt>
                <c:pt idx="211">
                  <c:v>Bollinger</c:v>
                </c:pt>
                <c:pt idx="212">
                  <c:v>Roederer</c:v>
                </c:pt>
                <c:pt idx="213">
                  <c:v>Bouvet-Ladu</c:v>
                </c:pt>
                <c:pt idx="214">
                  <c:v>Laurent Per</c:v>
                </c:pt>
                <c:pt idx="215">
                  <c:v>Pommery</c:v>
                </c:pt>
                <c:pt idx="216">
                  <c:v>Celene</c:v>
                </c:pt>
                <c:pt idx="217">
                  <c:v>Ruinart</c:v>
                </c:pt>
                <c:pt idx="218">
                  <c:v>Celene</c:v>
                </c:pt>
                <c:pt idx="219">
                  <c:v>Roederer</c:v>
                </c:pt>
                <c:pt idx="220">
                  <c:v>Henriot</c:v>
                </c:pt>
                <c:pt idx="221">
                  <c:v>Pommery</c:v>
                </c:pt>
                <c:pt idx="222">
                  <c:v>Pommery</c:v>
                </c:pt>
                <c:pt idx="223">
                  <c:v>Laurent Per</c:v>
                </c:pt>
                <c:pt idx="224">
                  <c:v>Roederer</c:v>
                </c:pt>
                <c:pt idx="225">
                  <c:v>All Others</c:v>
                </c:pt>
                <c:pt idx="226">
                  <c:v>Bollinger</c:v>
                </c:pt>
                <c:pt idx="227">
                  <c:v>All Others</c:v>
                </c:pt>
                <c:pt idx="228">
                  <c:v>Roederer</c:v>
                </c:pt>
                <c:pt idx="229">
                  <c:v>All Others</c:v>
                </c:pt>
                <c:pt idx="230">
                  <c:v>All Others</c:v>
                </c:pt>
                <c:pt idx="231">
                  <c:v>All Others</c:v>
                </c:pt>
                <c:pt idx="232">
                  <c:v>De Venoge</c:v>
                </c:pt>
                <c:pt idx="233">
                  <c:v>Roederer</c:v>
                </c:pt>
                <c:pt idx="234">
                  <c:v>Malard</c:v>
                </c:pt>
                <c:pt idx="235">
                  <c:v>De Bligny</c:v>
                </c:pt>
                <c:pt idx="236">
                  <c:v>Moët &amp; Chan</c:v>
                </c:pt>
                <c:pt idx="237">
                  <c:v>Bouvet-Ladu</c:v>
                </c:pt>
                <c:pt idx="238">
                  <c:v>De Venoge</c:v>
                </c:pt>
                <c:pt idx="239">
                  <c:v>Roederer</c:v>
                </c:pt>
                <c:pt idx="240">
                  <c:v>Bollinger</c:v>
                </c:pt>
                <c:pt idx="241">
                  <c:v>Deutz</c:v>
                </c:pt>
                <c:pt idx="242">
                  <c:v>All Others</c:v>
                </c:pt>
                <c:pt idx="243">
                  <c:v>Bottega</c:v>
                </c:pt>
                <c:pt idx="244">
                  <c:v>Henriot</c:v>
                </c:pt>
                <c:pt idx="245">
                  <c:v>All Others</c:v>
                </c:pt>
                <c:pt idx="246">
                  <c:v>All Others</c:v>
                </c:pt>
                <c:pt idx="247">
                  <c:v>All Others</c:v>
                </c:pt>
                <c:pt idx="248">
                  <c:v>Besserat De</c:v>
                </c:pt>
                <c:pt idx="249">
                  <c:v>All Others</c:v>
                </c:pt>
                <c:pt idx="250">
                  <c:v>Bottega</c:v>
                </c:pt>
                <c:pt idx="251">
                  <c:v>Vesselle</c:v>
                </c:pt>
                <c:pt idx="252">
                  <c:v>Bouvet-Ladu</c:v>
                </c:pt>
                <c:pt idx="253">
                  <c:v>All Others</c:v>
                </c:pt>
                <c:pt idx="254">
                  <c:v>All Others</c:v>
                </c:pt>
                <c:pt idx="255">
                  <c:v>All Others</c:v>
                </c:pt>
                <c:pt idx="256">
                  <c:v>Jaillance</c:v>
                </c:pt>
                <c:pt idx="257">
                  <c:v>Bottega</c:v>
                </c:pt>
              </c:strCache>
            </c:strRef>
          </c:cat>
          <c:val>
            <c:numRef>
              <c:f>Sheet1!$C$2:$C$259</c:f>
              <c:numCache>
                <c:formatCode>General</c:formatCode>
                <c:ptCount val="258"/>
                <c:pt idx="0">
                  <c:v>0.10774834144764391</c:v>
                </c:pt>
                <c:pt idx="1">
                  <c:v>0.17633802615269539</c:v>
                </c:pt>
                <c:pt idx="2">
                  <c:v>0.21527538351599979</c:v>
                </c:pt>
                <c:pt idx="3">
                  <c:v>0.25366456263249632</c:v>
                </c:pt>
                <c:pt idx="4">
                  <c:v>0.28780968491978942</c:v>
                </c:pt>
                <c:pt idx="5">
                  <c:v>0.31904928355071571</c:v>
                </c:pt>
                <c:pt idx="6">
                  <c:v>0.34856978565574404</c:v>
                </c:pt>
                <c:pt idx="7">
                  <c:v>0.3761910499611682</c:v>
                </c:pt>
                <c:pt idx="8">
                  <c:v>0.40353852339033031</c:v>
                </c:pt>
                <c:pt idx="9">
                  <c:v>0.42437705119471836</c:v>
                </c:pt>
                <c:pt idx="10">
                  <c:v>0.44403332732862416</c:v>
                </c:pt>
                <c:pt idx="11">
                  <c:v>0.46357507656004127</c:v>
                </c:pt>
                <c:pt idx="12">
                  <c:v>0.48290745629784626</c:v>
                </c:pt>
                <c:pt idx="13">
                  <c:v>0.5013928141526619</c:v>
                </c:pt>
                <c:pt idx="14">
                  <c:v>0.51716710548762801</c:v>
                </c:pt>
                <c:pt idx="15">
                  <c:v>0.53190707573449314</c:v>
                </c:pt>
                <c:pt idx="16">
                  <c:v>0.54571532191006999</c:v>
                </c:pt>
                <c:pt idx="17">
                  <c:v>0.55893363523897333</c:v>
                </c:pt>
                <c:pt idx="18">
                  <c:v>0.57106394299423413</c:v>
                </c:pt>
                <c:pt idx="19">
                  <c:v>0.58212950845292033</c:v>
                </c:pt>
                <c:pt idx="20">
                  <c:v>0.59269819417320502</c:v>
                </c:pt>
                <c:pt idx="21">
                  <c:v>0.60309866850545946</c:v>
                </c:pt>
                <c:pt idx="22">
                  <c:v>0.61326591357274995</c:v>
                </c:pt>
                <c:pt idx="23">
                  <c:v>0.62319694690365757</c:v>
                </c:pt>
                <c:pt idx="24">
                  <c:v>0.63305520793194214</c:v>
                </c:pt>
                <c:pt idx="25">
                  <c:v>0.64187377942357149</c:v>
                </c:pt>
                <c:pt idx="26">
                  <c:v>0.64991631185198317</c:v>
                </c:pt>
                <c:pt idx="27">
                  <c:v>0.65789501939202877</c:v>
                </c:pt>
                <c:pt idx="28">
                  <c:v>0.66541442633355208</c:v>
                </c:pt>
                <c:pt idx="29">
                  <c:v>0.67228365450573846</c:v>
                </c:pt>
                <c:pt idx="30">
                  <c:v>0.67904074175257134</c:v>
                </c:pt>
                <c:pt idx="31">
                  <c:v>0.68551568720316913</c:v>
                </c:pt>
                <c:pt idx="32">
                  <c:v>0.69179378954011439</c:v>
                </c:pt>
                <c:pt idx="33">
                  <c:v>0.69786252238344759</c:v>
                </c:pt>
                <c:pt idx="34">
                  <c:v>0.70390381648972622</c:v>
                </c:pt>
                <c:pt idx="35">
                  <c:v>0.70993974214745059</c:v>
                </c:pt>
                <c:pt idx="36">
                  <c:v>0.71589335159401124</c:v>
                </c:pt>
                <c:pt idx="37">
                  <c:v>0.72184159259201774</c:v>
                </c:pt>
                <c:pt idx="38">
                  <c:v>0.72749456891954556</c:v>
                </c:pt>
                <c:pt idx="39">
                  <c:v>0.73304375524169307</c:v>
                </c:pt>
                <c:pt idx="40">
                  <c:v>0.73841518626726954</c:v>
                </c:pt>
                <c:pt idx="41">
                  <c:v>0.74368938872458734</c:v>
                </c:pt>
                <c:pt idx="42">
                  <c:v>0.74895524026193205</c:v>
                </c:pt>
                <c:pt idx="43">
                  <c:v>0.75416084587661347</c:v>
                </c:pt>
                <c:pt idx="44">
                  <c:v>0.75935869706560555</c:v>
                </c:pt>
                <c:pt idx="45">
                  <c:v>0.7643549331866748</c:v>
                </c:pt>
                <c:pt idx="46">
                  <c:v>0.76935057281346031</c:v>
                </c:pt>
                <c:pt idx="47">
                  <c:v>0.77422512410063538</c:v>
                </c:pt>
                <c:pt idx="48">
                  <c:v>0.77870598916050549</c:v>
                </c:pt>
                <c:pt idx="49">
                  <c:v>0.78318506473752425</c:v>
                </c:pt>
                <c:pt idx="50">
                  <c:v>0.78765936836027262</c:v>
                </c:pt>
                <c:pt idx="51">
                  <c:v>0.79210265428026361</c:v>
                </c:pt>
                <c:pt idx="52">
                  <c:v>0.79646600996622607</c:v>
                </c:pt>
                <c:pt idx="53">
                  <c:v>0.80062178564142783</c:v>
                </c:pt>
                <c:pt idx="54">
                  <c:v>0.80477099987950784</c:v>
                </c:pt>
                <c:pt idx="55">
                  <c:v>0.80888323147199248</c:v>
                </c:pt>
                <c:pt idx="56">
                  <c:v>0.81299367358162578</c:v>
                </c:pt>
                <c:pt idx="57">
                  <c:v>0.81705699264283926</c:v>
                </c:pt>
                <c:pt idx="58">
                  <c:v>0.82110718882980915</c:v>
                </c:pt>
                <c:pt idx="59">
                  <c:v>0.82503450719431726</c:v>
                </c:pt>
                <c:pt idx="60">
                  <c:v>0.82890635159043236</c:v>
                </c:pt>
                <c:pt idx="61">
                  <c:v>0.83254794919300257</c:v>
                </c:pt>
                <c:pt idx="62">
                  <c:v>0.83613466932146363</c:v>
                </c:pt>
                <c:pt idx="63">
                  <c:v>0.83958717823607065</c:v>
                </c:pt>
                <c:pt idx="64">
                  <c:v>0.84295558145666261</c:v>
                </c:pt>
                <c:pt idx="65">
                  <c:v>0.84631742324013282</c:v>
                </c:pt>
                <c:pt idx="66">
                  <c:v>0.84964407186085911</c:v>
                </c:pt>
                <c:pt idx="67">
                  <c:v>0.85290868507607065</c:v>
                </c:pt>
                <c:pt idx="68">
                  <c:v>0.85612617524286239</c:v>
                </c:pt>
                <c:pt idx="69">
                  <c:v>0.8592518052899496</c:v>
                </c:pt>
                <c:pt idx="70">
                  <c:v>0.86237325987705027</c:v>
                </c:pt>
                <c:pt idx="71">
                  <c:v>0.86538257353879744</c:v>
                </c:pt>
                <c:pt idx="72">
                  <c:v>0.86834655363497615</c:v>
                </c:pt>
                <c:pt idx="73">
                  <c:v>0.87116856809161158</c:v>
                </c:pt>
                <c:pt idx="74">
                  <c:v>0.87391482777420504</c:v>
                </c:pt>
                <c:pt idx="75">
                  <c:v>0.87665512251396049</c:v>
                </c:pt>
                <c:pt idx="76">
                  <c:v>0.87937334696521563</c:v>
                </c:pt>
                <c:pt idx="77">
                  <c:v>0.88208918543933557</c:v>
                </c:pt>
                <c:pt idx="78">
                  <c:v>0.88478355011923882</c:v>
                </c:pt>
                <c:pt idx="79">
                  <c:v>0.88746837089060138</c:v>
                </c:pt>
                <c:pt idx="80">
                  <c:v>0.89004045424232658</c:v>
                </c:pt>
                <c:pt idx="81">
                  <c:v>0.89241629097468322</c:v>
                </c:pt>
                <c:pt idx="82">
                  <c:v>0.89477542586709358</c:v>
                </c:pt>
                <c:pt idx="83">
                  <c:v>0.89708266575681372</c:v>
                </c:pt>
                <c:pt idx="84">
                  <c:v>0.89938871265796627</c:v>
                </c:pt>
                <c:pt idx="85">
                  <c:v>0.90169356657055122</c:v>
                </c:pt>
                <c:pt idx="86">
                  <c:v>0.90394533249187836</c:v>
                </c:pt>
                <c:pt idx="87">
                  <c:v>0.90613685249054221</c:v>
                </c:pt>
                <c:pt idx="88">
                  <c:v>0.90821384558671736</c:v>
                </c:pt>
                <c:pt idx="89">
                  <c:v>0.91025087356587819</c:v>
                </c:pt>
                <c:pt idx="90">
                  <c:v>0.91219842740246981</c:v>
                </c:pt>
                <c:pt idx="91">
                  <c:v>0.91412748991626369</c:v>
                </c:pt>
                <c:pt idx="92">
                  <c:v>0.91598616610456973</c:v>
                </c:pt>
                <c:pt idx="93">
                  <c:v>0.91779891223302357</c:v>
                </c:pt>
                <c:pt idx="94">
                  <c:v>0.91956990376161174</c:v>
                </c:pt>
                <c:pt idx="95">
                  <c:v>0.921299737184618</c:v>
                </c:pt>
                <c:pt idx="96">
                  <c:v>0.92299318445631284</c:v>
                </c:pt>
                <c:pt idx="97">
                  <c:v>0.92468245626802104</c:v>
                </c:pt>
                <c:pt idx="98">
                  <c:v>0.92635741221691814</c:v>
                </c:pt>
                <c:pt idx="99">
                  <c:v>0.9280293856943963</c:v>
                </c:pt>
                <c:pt idx="100">
                  <c:v>0.92966676250341429</c:v>
                </c:pt>
                <c:pt idx="101">
                  <c:v>0.93130234982958093</c:v>
                </c:pt>
                <c:pt idx="102">
                  <c:v>0.93287232278453014</c:v>
                </c:pt>
                <c:pt idx="103">
                  <c:v>0.93443454131379</c:v>
                </c:pt>
                <c:pt idx="104">
                  <c:v>0.93591325064331854</c:v>
                </c:pt>
                <c:pt idx="105">
                  <c:v>0.93735199485583276</c:v>
                </c:pt>
                <c:pt idx="106">
                  <c:v>0.9387066333743318</c:v>
                </c:pt>
                <c:pt idx="107">
                  <c:v>0.94003442965006012</c:v>
                </c:pt>
                <c:pt idx="108">
                  <c:v>0.94135506799438284</c:v>
                </c:pt>
                <c:pt idx="109">
                  <c:v>0.94267033789015142</c:v>
                </c:pt>
                <c:pt idx="110">
                  <c:v>0.94397188841739277</c:v>
                </c:pt>
                <c:pt idx="111">
                  <c:v>0.94526150905895812</c:v>
                </c:pt>
                <c:pt idx="112">
                  <c:v>0.94654456826340172</c:v>
                </c:pt>
                <c:pt idx="113">
                  <c:v>0.94782583798499398</c:v>
                </c:pt>
                <c:pt idx="114">
                  <c:v>0.94900570367834103</c:v>
                </c:pt>
                <c:pt idx="115">
                  <c:v>0.95014977971466041</c:v>
                </c:pt>
                <c:pt idx="116">
                  <c:v>0.95127536442818206</c:v>
                </c:pt>
                <c:pt idx="117">
                  <c:v>0.95238484379604127</c:v>
                </c:pt>
                <c:pt idx="118">
                  <c:v>0.95342751580411544</c:v>
                </c:pt>
                <c:pt idx="119">
                  <c:v>0.95446362637506788</c:v>
                </c:pt>
                <c:pt idx="120">
                  <c:v>0.95549794746316885</c:v>
                </c:pt>
                <c:pt idx="121">
                  <c:v>0.95652033866559394</c:v>
                </c:pt>
                <c:pt idx="122">
                  <c:v>0.957519466590951</c:v>
                </c:pt>
                <c:pt idx="123">
                  <c:v>0.95850368215921322</c:v>
                </c:pt>
                <c:pt idx="124">
                  <c:v>0.95946284496755607</c:v>
                </c:pt>
                <c:pt idx="125">
                  <c:v>0.96040291995881744</c:v>
                </c:pt>
                <c:pt idx="126">
                  <c:v>0.96130899477590248</c:v>
                </c:pt>
                <c:pt idx="127">
                  <c:v>0.96221089413300098</c:v>
                </c:pt>
                <c:pt idx="128">
                  <c:v>0.96308953021303145</c:v>
                </c:pt>
                <c:pt idx="129">
                  <c:v>0.96395086795883178</c:v>
                </c:pt>
                <c:pt idx="130">
                  <c:v>0.96479669685325353</c:v>
                </c:pt>
                <c:pt idx="131">
                  <c:v>0.96563417482770209</c:v>
                </c:pt>
                <c:pt idx="132">
                  <c:v>0.96644660004223126</c:v>
                </c:pt>
                <c:pt idx="133">
                  <c:v>0.96724113042824655</c:v>
                </c:pt>
                <c:pt idx="134">
                  <c:v>0.9680279063885725</c:v>
                </c:pt>
                <c:pt idx="135">
                  <c:v>0.96878485763470867</c:v>
                </c:pt>
                <c:pt idx="136">
                  <c:v>0.96953942290370965</c:v>
                </c:pt>
                <c:pt idx="137">
                  <c:v>0.9702695319070751</c:v>
                </c:pt>
                <c:pt idx="138">
                  <c:v>0.97099069349618361</c:v>
                </c:pt>
                <c:pt idx="139">
                  <c:v>0.97170648663673798</c:v>
                </c:pt>
                <c:pt idx="140">
                  <c:v>0.97240378845449471</c:v>
                </c:pt>
                <c:pt idx="141">
                  <c:v>0.97309452883512959</c:v>
                </c:pt>
                <c:pt idx="142">
                  <c:v>0.97378347973291313</c:v>
                </c:pt>
                <c:pt idx="143">
                  <c:v>0.97446288672215597</c:v>
                </c:pt>
                <c:pt idx="144">
                  <c:v>0.9751047145715197</c:v>
                </c:pt>
                <c:pt idx="145">
                  <c:v>0.97574117397232929</c:v>
                </c:pt>
                <c:pt idx="146">
                  <c:v>0.97635675607320604</c:v>
                </c:pt>
                <c:pt idx="147">
                  <c:v>0.97696458374839346</c:v>
                </c:pt>
                <c:pt idx="148">
                  <c:v>0.97756107803218872</c:v>
                </c:pt>
                <c:pt idx="149">
                  <c:v>0.97815757231598399</c:v>
                </c:pt>
                <c:pt idx="150">
                  <c:v>0.97874869815122512</c:v>
                </c:pt>
                <c:pt idx="151">
                  <c:v>0.9793392274921825</c:v>
                </c:pt>
                <c:pt idx="152">
                  <c:v>0.97991424798176119</c:v>
                </c:pt>
                <c:pt idx="153">
                  <c:v>0.98048807548277228</c:v>
                </c:pt>
                <c:pt idx="154">
                  <c:v>0.98104221867241814</c:v>
                </c:pt>
                <c:pt idx="155">
                  <c:v>0.98159218640207735</c:v>
                </c:pt>
                <c:pt idx="156">
                  <c:v>0.98214096114316896</c:v>
                </c:pt>
                <c:pt idx="157">
                  <c:v>0.98268794640140922</c:v>
                </c:pt>
                <c:pt idx="158">
                  <c:v>0.98320868591116251</c:v>
                </c:pt>
                <c:pt idx="159">
                  <c:v>0.98372226748951019</c:v>
                </c:pt>
                <c:pt idx="160">
                  <c:v>0.98422153320504679</c:v>
                </c:pt>
                <c:pt idx="161">
                  <c:v>0.98470648305777231</c:v>
                </c:pt>
                <c:pt idx="162">
                  <c:v>0.98518248549624099</c:v>
                </c:pt>
                <c:pt idx="163">
                  <c:v>0.98563582115192538</c:v>
                </c:pt>
                <c:pt idx="164">
                  <c:v>0.98608736732475843</c:v>
                </c:pt>
                <c:pt idx="165">
                  <c:v>0.98649775539200957</c:v>
                </c:pt>
                <c:pt idx="166">
                  <c:v>0.98689681006786856</c:v>
                </c:pt>
                <c:pt idx="167">
                  <c:v>0.9872893033066058</c:v>
                </c:pt>
                <c:pt idx="168">
                  <c:v>0.9876800070624917</c:v>
                </c:pt>
                <c:pt idx="169">
                  <c:v>0.98806772834695866</c:v>
                </c:pt>
                <c:pt idx="170">
                  <c:v>0.98843755480291173</c:v>
                </c:pt>
                <c:pt idx="171">
                  <c:v>0.9888073812588648</c:v>
                </c:pt>
                <c:pt idx="172">
                  <c:v>0.98917004978341239</c:v>
                </c:pt>
                <c:pt idx="173">
                  <c:v>0.98953092882510851</c:v>
                </c:pt>
                <c:pt idx="174">
                  <c:v>0.98988226395826395</c:v>
                </c:pt>
                <c:pt idx="175">
                  <c:v>0.99023121311428419</c:v>
                </c:pt>
                <c:pt idx="176">
                  <c:v>0.99057240784461509</c:v>
                </c:pt>
                <c:pt idx="177">
                  <c:v>0.9909016726892701</c:v>
                </c:pt>
                <c:pt idx="178">
                  <c:v>0.99122616557965471</c:v>
                </c:pt>
                <c:pt idx="179">
                  <c:v>0.99152083375584954</c:v>
                </c:pt>
                <c:pt idx="180">
                  <c:v>0.99181430894347677</c:v>
                </c:pt>
                <c:pt idx="181">
                  <c:v>0.99207557343977915</c:v>
                </c:pt>
                <c:pt idx="182">
                  <c:v>0.99233445195894632</c:v>
                </c:pt>
                <c:pt idx="183">
                  <c:v>0.99259333047811349</c:v>
                </c:pt>
                <c:pt idx="184">
                  <c:v>0.99284743704301026</c:v>
                </c:pt>
                <c:pt idx="185">
                  <c:v>0.99309557866506915</c:v>
                </c:pt>
                <c:pt idx="186">
                  <c:v>0.99333954482714137</c:v>
                </c:pt>
                <c:pt idx="187">
                  <c:v>0.99357993202351091</c:v>
                </c:pt>
                <c:pt idx="188">
                  <c:v>0.99381435427704246</c:v>
                </c:pt>
                <c:pt idx="189">
                  <c:v>0.99403625015061425</c:v>
                </c:pt>
                <c:pt idx="190">
                  <c:v>0.99425098809278056</c:v>
                </c:pt>
                <c:pt idx="191">
                  <c:v>0.99444544522929779</c:v>
                </c:pt>
                <c:pt idx="192">
                  <c:v>0.99463751638867992</c:v>
                </c:pt>
                <c:pt idx="193">
                  <c:v>0.99482123662808886</c:v>
                </c:pt>
                <c:pt idx="194">
                  <c:v>0.99498527255613256</c:v>
                </c:pt>
                <c:pt idx="195">
                  <c:v>0.99514751900132492</c:v>
                </c:pt>
                <c:pt idx="196">
                  <c:v>0.99530320400939554</c:v>
                </c:pt>
                <c:pt idx="197">
                  <c:v>0.9954535205689119</c:v>
                </c:pt>
                <c:pt idx="198">
                  <c:v>0.99560264413986077</c:v>
                </c:pt>
                <c:pt idx="199">
                  <c:v>0.99575176771080964</c:v>
                </c:pt>
                <c:pt idx="200">
                  <c:v>0.99590089128175852</c:v>
                </c:pt>
                <c:pt idx="201">
                  <c:v>0.99604822536985593</c:v>
                </c:pt>
                <c:pt idx="202">
                  <c:v>0.99618899802083161</c:v>
                </c:pt>
                <c:pt idx="203">
                  <c:v>0.99632738469467208</c:v>
                </c:pt>
                <c:pt idx="204">
                  <c:v>0.99646517487422881</c:v>
                </c:pt>
                <c:pt idx="205">
                  <c:v>0.99660296505378554</c:v>
                </c:pt>
                <c:pt idx="206">
                  <c:v>0.99673896575049081</c:v>
                </c:pt>
                <c:pt idx="207">
                  <c:v>0.99687436995291234</c:v>
                </c:pt>
                <c:pt idx="208">
                  <c:v>0.99700500220106347</c:v>
                </c:pt>
                <c:pt idx="209">
                  <c:v>0.997134441460647</c:v>
                </c:pt>
                <c:pt idx="210">
                  <c:v>0.99726268773166293</c:v>
                </c:pt>
                <c:pt idx="211">
                  <c:v>0.99738795153125992</c:v>
                </c:pt>
                <c:pt idx="212">
                  <c:v>0.99751082935372171</c:v>
                </c:pt>
                <c:pt idx="213">
                  <c:v>0.9976301282104808</c:v>
                </c:pt>
                <c:pt idx="214">
                  <c:v>0.99774883057295605</c:v>
                </c:pt>
                <c:pt idx="215">
                  <c:v>0.99786574345257995</c:v>
                </c:pt>
                <c:pt idx="216">
                  <c:v>0.9979772878836497</c:v>
                </c:pt>
                <c:pt idx="217">
                  <c:v>0.998087042831868</c:v>
                </c:pt>
                <c:pt idx="218">
                  <c:v>0.99819321881438361</c:v>
                </c:pt>
                <c:pt idx="219">
                  <c:v>0.99829820180833162</c:v>
                </c:pt>
                <c:pt idx="220">
                  <c:v>0.99839960583657683</c:v>
                </c:pt>
                <c:pt idx="221">
                  <c:v>0.99850041337053819</c:v>
                </c:pt>
                <c:pt idx="222">
                  <c:v>0.99859883492736445</c:v>
                </c:pt>
                <c:pt idx="223">
                  <c:v>0.99869248452992032</c:v>
                </c:pt>
                <c:pt idx="224">
                  <c:v>0.99877718671821925</c:v>
                </c:pt>
                <c:pt idx="225">
                  <c:v>0.99886069591795057</c:v>
                </c:pt>
                <c:pt idx="226">
                  <c:v>0.99894122264626295</c:v>
                </c:pt>
                <c:pt idx="227">
                  <c:v>0.99902055638600773</c:v>
                </c:pt>
                <c:pt idx="228">
                  <c:v>0.99909094271149557</c:v>
                </c:pt>
                <c:pt idx="229">
                  <c:v>0.9991589430598482</c:v>
                </c:pt>
                <c:pt idx="230">
                  <c:v>0.9992191889825115</c:v>
                </c:pt>
                <c:pt idx="231">
                  <c:v>0.99927645243375585</c:v>
                </c:pt>
                <c:pt idx="232">
                  <c:v>0.9993301369192974</c:v>
                </c:pt>
                <c:pt idx="233">
                  <c:v>0.9993820319219876</c:v>
                </c:pt>
                <c:pt idx="234">
                  <c:v>0.99942438301613712</c:v>
                </c:pt>
                <c:pt idx="235">
                  <c:v>0.99946613761600278</c:v>
                </c:pt>
                <c:pt idx="236">
                  <c:v>0.9995072957215847</c:v>
                </c:pt>
                <c:pt idx="237">
                  <c:v>0.99954726083859902</c:v>
                </c:pt>
                <c:pt idx="238">
                  <c:v>0.99958603296704573</c:v>
                </c:pt>
                <c:pt idx="239">
                  <c:v>0.99962480509549245</c:v>
                </c:pt>
                <c:pt idx="240">
                  <c:v>0.99966178774108772</c:v>
                </c:pt>
                <c:pt idx="241">
                  <c:v>0.99969817389239923</c:v>
                </c:pt>
                <c:pt idx="242">
                  <c:v>0.9997339635494269</c:v>
                </c:pt>
                <c:pt idx="243">
                  <c:v>0.99976975320645456</c:v>
                </c:pt>
                <c:pt idx="244">
                  <c:v>0.99980315688634713</c:v>
                </c:pt>
                <c:pt idx="245">
                  <c:v>0.99983417458910451</c:v>
                </c:pt>
                <c:pt idx="246">
                  <c:v>0.99985803436045628</c:v>
                </c:pt>
                <c:pt idx="247">
                  <c:v>0.99988070114324046</c:v>
                </c:pt>
                <c:pt idx="248">
                  <c:v>0.99990157844317329</c:v>
                </c:pt>
                <c:pt idx="249">
                  <c:v>0.99992066626025478</c:v>
                </c:pt>
                <c:pt idx="250">
                  <c:v>0.99993915758305241</c:v>
                </c:pt>
                <c:pt idx="251">
                  <c:v>0.99995764890585004</c:v>
                </c:pt>
                <c:pt idx="252">
                  <c:v>0.99996898229724218</c:v>
                </c:pt>
                <c:pt idx="253">
                  <c:v>0.99997912270006672</c:v>
                </c:pt>
                <c:pt idx="254">
                  <c:v>0.99998508764290472</c:v>
                </c:pt>
                <c:pt idx="255">
                  <c:v>0.99999045609145887</c:v>
                </c:pt>
                <c:pt idx="256">
                  <c:v>0.99999582454001301</c:v>
                </c:pt>
                <c:pt idx="257">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5</c:f>
              <c:strCache>
                <c:ptCount val="254"/>
                <c:pt idx="0">
                  <c:v>Nicolas</c:v>
                </c:pt>
                <c:pt idx="1">
                  <c:v>Ruinart</c:v>
                </c:pt>
                <c:pt idx="2">
                  <c:v>Deutz</c:v>
                </c:pt>
                <c:pt idx="3">
                  <c:v>Ruinart</c:v>
                </c:pt>
                <c:pt idx="4">
                  <c:v>Ayala</c:v>
                </c:pt>
                <c:pt idx="5">
                  <c:v>Heidsieck &amp;</c:v>
                </c:pt>
                <c:pt idx="6">
                  <c:v>Ruinart</c:v>
                </c:pt>
                <c:pt idx="7">
                  <c:v>Canard Duch</c:v>
                </c:pt>
                <c:pt idx="8">
                  <c:v>Malard</c:v>
                </c:pt>
                <c:pt idx="9">
                  <c:v>De Bligny</c:v>
                </c:pt>
                <c:pt idx="10">
                  <c:v>Nicolas Feu</c:v>
                </c:pt>
                <c:pt idx="11">
                  <c:v>Deutz</c:v>
                </c:pt>
                <c:pt idx="12">
                  <c:v>Besserat De</c:v>
                </c:pt>
                <c:pt idx="13">
                  <c:v>Ruinart</c:v>
                </c:pt>
                <c:pt idx="14">
                  <c:v>Demoiselle</c:v>
                </c:pt>
                <c:pt idx="15">
                  <c:v>Laurent Per</c:v>
                </c:pt>
                <c:pt idx="16">
                  <c:v>Taittinger</c:v>
                </c:pt>
                <c:pt idx="17">
                  <c:v>Bollinger</c:v>
                </c:pt>
                <c:pt idx="18">
                  <c:v>Ruinart</c:v>
                </c:pt>
                <c:pt idx="19">
                  <c:v>Pommery</c:v>
                </c:pt>
                <c:pt idx="20">
                  <c:v>Nicolas</c:v>
                </c:pt>
                <c:pt idx="21">
                  <c:v>All Others</c:v>
                </c:pt>
                <c:pt idx="22">
                  <c:v>Perrier Jou</c:v>
                </c:pt>
                <c:pt idx="23">
                  <c:v>Ruinart</c:v>
                </c:pt>
                <c:pt idx="24">
                  <c:v>Bouvet-Ladu</c:v>
                </c:pt>
                <c:pt idx="25">
                  <c:v>Laurent Per</c:v>
                </c:pt>
                <c:pt idx="26">
                  <c:v>Ruinart</c:v>
                </c:pt>
                <c:pt idx="27">
                  <c:v>Malard</c:v>
                </c:pt>
                <c:pt idx="28">
                  <c:v>Vesselle</c:v>
                </c:pt>
                <c:pt idx="29">
                  <c:v>Taittinger</c:v>
                </c:pt>
                <c:pt idx="30">
                  <c:v>Deutz</c:v>
                </c:pt>
                <c:pt idx="31">
                  <c:v>Dom Perigno</c:v>
                </c:pt>
                <c:pt idx="32">
                  <c:v>Nicolas</c:v>
                </c:pt>
                <c:pt idx="33">
                  <c:v>Patriarche</c:v>
                </c:pt>
                <c:pt idx="34">
                  <c:v>All Others</c:v>
                </c:pt>
                <c:pt idx="35">
                  <c:v>Moët &amp; Chan</c:v>
                </c:pt>
                <c:pt idx="36">
                  <c:v>Nicolas</c:v>
                </c:pt>
                <c:pt idx="37">
                  <c:v>Demoiselle</c:v>
                </c:pt>
                <c:pt idx="38">
                  <c:v>Bollinger</c:v>
                </c:pt>
                <c:pt idx="39">
                  <c:v>Laurent Per</c:v>
                </c:pt>
                <c:pt idx="40">
                  <c:v>Dom Perigno</c:v>
                </c:pt>
                <c:pt idx="41">
                  <c:v>De Venoge</c:v>
                </c:pt>
                <c:pt idx="42">
                  <c:v>Roederer</c:v>
                </c:pt>
                <c:pt idx="43">
                  <c:v>Roederer</c:v>
                </c:pt>
                <c:pt idx="44">
                  <c:v>Ruinart</c:v>
                </c:pt>
                <c:pt idx="45">
                  <c:v>Henriot</c:v>
                </c:pt>
                <c:pt idx="46">
                  <c:v>Chateau Mon</c:v>
                </c:pt>
                <c:pt idx="47">
                  <c:v>Bottega</c:v>
                </c:pt>
                <c:pt idx="48">
                  <c:v>Nicolas Feu</c:v>
                </c:pt>
                <c:pt idx="49">
                  <c:v>Ruinart</c:v>
                </c:pt>
                <c:pt idx="50">
                  <c:v>Savian</c:v>
                </c:pt>
                <c:pt idx="51">
                  <c:v>Piper Heids</c:v>
                </c:pt>
                <c:pt idx="52">
                  <c:v>Lanson</c:v>
                </c:pt>
                <c:pt idx="53">
                  <c:v>Campari: Al</c:v>
                </c:pt>
                <c:pt idx="54">
                  <c:v>Veuve Clicq</c:v>
                </c:pt>
                <c:pt idx="55">
                  <c:v>De Venoge</c:v>
                </c:pt>
                <c:pt idx="56">
                  <c:v>All Others</c:v>
                </c:pt>
                <c:pt idx="57">
                  <c:v>Malard</c:v>
                </c:pt>
                <c:pt idx="58">
                  <c:v>Savian</c:v>
                </c:pt>
                <c:pt idx="59">
                  <c:v>Besserat De</c:v>
                </c:pt>
                <c:pt idx="60">
                  <c:v>De Chanceny</c:v>
                </c:pt>
                <c:pt idx="61">
                  <c:v>Mure</c:v>
                </c:pt>
                <c:pt idx="62">
                  <c:v>Malard</c:v>
                </c:pt>
                <c:pt idx="63">
                  <c:v>Dom Perigno</c:v>
                </c:pt>
                <c:pt idx="64">
                  <c:v>Roederer</c:v>
                </c:pt>
                <c:pt idx="65">
                  <c:v>Kriter</c:v>
                </c:pt>
                <c:pt idx="66">
                  <c:v>Veuve Clicq</c:v>
                </c:pt>
                <c:pt idx="67">
                  <c:v>Lyre's</c:v>
                </c:pt>
                <c:pt idx="68">
                  <c:v>Ayala</c:v>
                </c:pt>
                <c:pt idx="69">
                  <c:v>Vranken</c:v>
                </c:pt>
                <c:pt idx="70">
                  <c:v>Deutz</c:v>
                </c:pt>
                <c:pt idx="71">
                  <c:v>Nicolas Feu</c:v>
                </c:pt>
                <c:pt idx="72">
                  <c:v>Roederer</c:v>
                </c:pt>
                <c:pt idx="73">
                  <c:v>Krug</c:v>
                </c:pt>
                <c:pt idx="74">
                  <c:v>Veuve Clicq</c:v>
                </c:pt>
                <c:pt idx="75">
                  <c:v>All Others</c:v>
                </c:pt>
                <c:pt idx="76">
                  <c:v>Pommery</c:v>
                </c:pt>
                <c:pt idx="77">
                  <c:v>De Chanceny</c:v>
                </c:pt>
                <c:pt idx="78">
                  <c:v>Canard Duch</c:v>
                </c:pt>
                <c:pt idx="79">
                  <c:v>Henriot</c:v>
                </c:pt>
                <c:pt idx="80">
                  <c:v>Moët &amp; Chan</c:v>
                </c:pt>
                <c:pt idx="81">
                  <c:v>Ruinart</c:v>
                </c:pt>
                <c:pt idx="82">
                  <c:v>Canard Duch</c:v>
                </c:pt>
                <c:pt idx="83">
                  <c:v>Nicolas Feu</c:v>
                </c:pt>
                <c:pt idx="84">
                  <c:v>Vranken</c:v>
                </c:pt>
                <c:pt idx="85">
                  <c:v>Besserat De</c:v>
                </c:pt>
                <c:pt idx="86">
                  <c:v>Campari: Al</c:v>
                </c:pt>
                <c:pt idx="87">
                  <c:v>Ruinart</c:v>
                </c:pt>
                <c:pt idx="88">
                  <c:v>Roederer</c:v>
                </c:pt>
                <c:pt idx="89">
                  <c:v>Canard Duch</c:v>
                </c:pt>
                <c:pt idx="90">
                  <c:v>De Bligny</c:v>
                </c:pt>
                <c:pt idx="91">
                  <c:v>Nicolas</c:v>
                </c:pt>
                <c:pt idx="92">
                  <c:v>Nicolas</c:v>
                </c:pt>
                <c:pt idx="93">
                  <c:v>Delamotte</c:v>
                </c:pt>
                <c:pt idx="94">
                  <c:v>Deutz</c:v>
                </c:pt>
                <c:pt idx="95">
                  <c:v>De Venoge</c:v>
                </c:pt>
                <c:pt idx="96">
                  <c:v>Henriot</c:v>
                </c:pt>
                <c:pt idx="97">
                  <c:v>Nicolas</c:v>
                </c:pt>
                <c:pt idx="98">
                  <c:v>Henriot</c:v>
                </c:pt>
                <c:pt idx="99">
                  <c:v>Laurent Per</c:v>
                </c:pt>
                <c:pt idx="100">
                  <c:v>Ruinart</c:v>
                </c:pt>
                <c:pt idx="101">
                  <c:v>Nicolas</c:v>
                </c:pt>
                <c:pt idx="102">
                  <c:v>Patriarche</c:v>
                </c:pt>
                <c:pt idx="103">
                  <c:v>All Others</c:v>
                </c:pt>
                <c:pt idx="104">
                  <c:v>Louis Marti</c:v>
                </c:pt>
                <c:pt idx="105">
                  <c:v>Laurent Per</c:v>
                </c:pt>
                <c:pt idx="106">
                  <c:v>Malard</c:v>
                </c:pt>
                <c:pt idx="107">
                  <c:v>Canard Duch</c:v>
                </c:pt>
                <c:pt idx="108">
                  <c:v>Malard</c:v>
                </c:pt>
                <c:pt idx="109">
                  <c:v>All Others</c:v>
                </c:pt>
                <c:pt idx="110">
                  <c:v>Ruinart</c:v>
                </c:pt>
                <c:pt idx="111">
                  <c:v>De Venoge</c:v>
                </c:pt>
                <c:pt idx="112">
                  <c:v>Veuve Clicq</c:v>
                </c:pt>
                <c:pt idx="113">
                  <c:v>All Others</c:v>
                </c:pt>
                <c:pt idx="114">
                  <c:v>Ruinart</c:v>
                </c:pt>
                <c:pt idx="115">
                  <c:v>Moët &amp; Chan</c:v>
                </c:pt>
                <c:pt idx="116">
                  <c:v>Deutz</c:v>
                </c:pt>
                <c:pt idx="117">
                  <c:v>Ruinart</c:v>
                </c:pt>
                <c:pt idx="118">
                  <c:v>Besserat De</c:v>
                </c:pt>
                <c:pt idx="119">
                  <c:v>All Others</c:v>
                </c:pt>
                <c:pt idx="120">
                  <c:v>Nicolas</c:v>
                </c:pt>
                <c:pt idx="121">
                  <c:v>Bottega</c:v>
                </c:pt>
                <c:pt idx="122">
                  <c:v>All Others</c:v>
                </c:pt>
                <c:pt idx="123">
                  <c:v>Dom Perigno</c:v>
                </c:pt>
                <c:pt idx="124">
                  <c:v>Roederer</c:v>
                </c:pt>
                <c:pt idx="125">
                  <c:v>Canard Duch</c:v>
                </c:pt>
                <c:pt idx="126">
                  <c:v>Nicolas</c:v>
                </c:pt>
                <c:pt idx="127">
                  <c:v>Roederer</c:v>
                </c:pt>
                <c:pt idx="128">
                  <c:v>Roederer</c:v>
                </c:pt>
                <c:pt idx="129">
                  <c:v>Deutz</c:v>
                </c:pt>
                <c:pt idx="130">
                  <c:v>Contarini</c:v>
                </c:pt>
                <c:pt idx="131">
                  <c:v>Canard Duch</c:v>
                </c:pt>
                <c:pt idx="132">
                  <c:v>Nicolas</c:v>
                </c:pt>
                <c:pt idx="133">
                  <c:v>Vranken</c:v>
                </c:pt>
                <c:pt idx="134">
                  <c:v>Cru La Maqu</c:v>
                </c:pt>
                <c:pt idx="135">
                  <c:v>Nicolas</c:v>
                </c:pt>
                <c:pt idx="136">
                  <c:v>All Others</c:v>
                </c:pt>
                <c:pt idx="137">
                  <c:v>Nicolas</c:v>
                </c:pt>
                <c:pt idx="138">
                  <c:v>Roederer</c:v>
                </c:pt>
                <c:pt idx="139">
                  <c:v>Nicolas</c:v>
                </c:pt>
                <c:pt idx="140">
                  <c:v>Bollinger</c:v>
                </c:pt>
                <c:pt idx="141">
                  <c:v>All Others</c:v>
                </c:pt>
                <c:pt idx="142">
                  <c:v>All Others</c:v>
                </c:pt>
                <c:pt idx="143">
                  <c:v>Nicolas</c:v>
                </c:pt>
                <c:pt idx="144">
                  <c:v>All Others</c:v>
                </c:pt>
                <c:pt idx="145">
                  <c:v>Roederer</c:v>
                </c:pt>
                <c:pt idx="146">
                  <c:v>All Others</c:v>
                </c:pt>
                <c:pt idx="147">
                  <c:v>Perrier Jou</c:v>
                </c:pt>
                <c:pt idx="148">
                  <c:v>Nicolas Feu</c:v>
                </c:pt>
                <c:pt idx="149">
                  <c:v>Demoiselle</c:v>
                </c:pt>
                <c:pt idx="150">
                  <c:v>Pommery</c:v>
                </c:pt>
                <c:pt idx="151">
                  <c:v>Roederer</c:v>
                </c:pt>
                <c:pt idx="152">
                  <c:v>Demoiselle</c:v>
                </c:pt>
                <c:pt idx="153">
                  <c:v>Bollinger</c:v>
                </c:pt>
                <c:pt idx="154">
                  <c:v>Moët &amp; Chan</c:v>
                </c:pt>
                <c:pt idx="155">
                  <c:v>De Venoge</c:v>
                </c:pt>
                <c:pt idx="156">
                  <c:v>Pommery</c:v>
                </c:pt>
                <c:pt idx="157">
                  <c:v>Moët &amp; Chan</c:v>
                </c:pt>
                <c:pt idx="158">
                  <c:v>Roederer</c:v>
                </c:pt>
                <c:pt idx="159">
                  <c:v>Taittinger</c:v>
                </c:pt>
                <c:pt idx="160">
                  <c:v>Ruinart</c:v>
                </c:pt>
                <c:pt idx="161">
                  <c:v>Bollinger</c:v>
                </c:pt>
                <c:pt idx="162">
                  <c:v>Vesselle</c:v>
                </c:pt>
                <c:pt idx="163">
                  <c:v>Ruinart</c:v>
                </c:pt>
                <c:pt idx="164">
                  <c:v>All Others</c:v>
                </c:pt>
                <c:pt idx="165">
                  <c:v>Vesselle</c:v>
                </c:pt>
                <c:pt idx="166">
                  <c:v>All Others</c:v>
                </c:pt>
                <c:pt idx="167">
                  <c:v>Louis Marti</c:v>
                </c:pt>
                <c:pt idx="168">
                  <c:v>Lanson</c:v>
                </c:pt>
                <c:pt idx="169">
                  <c:v>Nicolas</c:v>
                </c:pt>
                <c:pt idx="170">
                  <c:v>Bouvet-Ladu</c:v>
                </c:pt>
                <c:pt idx="171">
                  <c:v>Roederer</c:v>
                </c:pt>
                <c:pt idx="172">
                  <c:v>All Others</c:v>
                </c:pt>
                <c:pt idx="173">
                  <c:v>Pommery</c:v>
                </c:pt>
                <c:pt idx="174">
                  <c:v>Bollinger</c:v>
                </c:pt>
                <c:pt idx="175">
                  <c:v>Deutz</c:v>
                </c:pt>
                <c:pt idx="176">
                  <c:v>Nicolas</c:v>
                </c:pt>
                <c:pt idx="177">
                  <c:v>Nicolas</c:v>
                </c:pt>
                <c:pt idx="178">
                  <c:v>Delamotte</c:v>
                </c:pt>
                <c:pt idx="179">
                  <c:v>All Others</c:v>
                </c:pt>
                <c:pt idx="180">
                  <c:v>Nicolas</c:v>
                </c:pt>
                <c:pt idx="181">
                  <c:v>All Others</c:v>
                </c:pt>
                <c:pt idx="182">
                  <c:v>Pommery</c:v>
                </c:pt>
                <c:pt idx="183">
                  <c:v>Laurent Per</c:v>
                </c:pt>
                <c:pt idx="184">
                  <c:v>Roederer</c:v>
                </c:pt>
                <c:pt idx="185">
                  <c:v>All Others</c:v>
                </c:pt>
                <c:pt idx="186">
                  <c:v>De Venoge</c:v>
                </c:pt>
                <c:pt idx="187">
                  <c:v>All Others</c:v>
                </c:pt>
                <c:pt idx="188">
                  <c:v>Taittinger</c:v>
                </c:pt>
                <c:pt idx="189">
                  <c:v>Bouvet-Ladu</c:v>
                </c:pt>
                <c:pt idx="190">
                  <c:v>All Others</c:v>
                </c:pt>
                <c:pt idx="191">
                  <c:v>Besserat De</c:v>
                </c:pt>
                <c:pt idx="192">
                  <c:v>All Others</c:v>
                </c:pt>
                <c:pt idx="193">
                  <c:v>Besserat De</c:v>
                </c:pt>
                <c:pt idx="194">
                  <c:v>Nicolas</c:v>
                </c:pt>
                <c:pt idx="195">
                  <c:v>Martel</c:v>
                </c:pt>
                <c:pt idx="196">
                  <c:v>De Venoge</c:v>
                </c:pt>
                <c:pt idx="197">
                  <c:v>Deutz</c:v>
                </c:pt>
                <c:pt idx="198">
                  <c:v>Deutz</c:v>
                </c:pt>
                <c:pt idx="199">
                  <c:v>Roederer</c:v>
                </c:pt>
                <c:pt idx="200">
                  <c:v>Piper Heids</c:v>
                </c:pt>
                <c:pt idx="201">
                  <c:v>Roederer</c:v>
                </c:pt>
                <c:pt idx="202">
                  <c:v>Veuve Clicq</c:v>
                </c:pt>
                <c:pt idx="203">
                  <c:v>All Others</c:v>
                </c:pt>
                <c:pt idx="204">
                  <c:v>All Others</c:v>
                </c:pt>
                <c:pt idx="205">
                  <c:v>De Venoge</c:v>
                </c:pt>
                <c:pt idx="206">
                  <c:v>Bottega</c:v>
                </c:pt>
                <c:pt idx="207">
                  <c:v>All Others</c:v>
                </c:pt>
                <c:pt idx="208">
                  <c:v>Bouvet-Ladu</c:v>
                </c:pt>
                <c:pt idx="209">
                  <c:v>Henriot</c:v>
                </c:pt>
                <c:pt idx="210">
                  <c:v>Bollinger</c:v>
                </c:pt>
                <c:pt idx="211">
                  <c:v>Piper Heids</c:v>
                </c:pt>
                <c:pt idx="212">
                  <c:v>Ayala</c:v>
                </c:pt>
                <c:pt idx="213">
                  <c:v>Jaillance</c:v>
                </c:pt>
                <c:pt idx="214">
                  <c:v>All Others</c:v>
                </c:pt>
                <c:pt idx="215">
                  <c:v>All Others</c:v>
                </c:pt>
                <c:pt idx="216">
                  <c:v>All Others</c:v>
                </c:pt>
                <c:pt idx="217">
                  <c:v>Celene</c:v>
                </c:pt>
                <c:pt idx="218">
                  <c:v>Contarini</c:v>
                </c:pt>
                <c:pt idx="219">
                  <c:v>Bollinger</c:v>
                </c:pt>
                <c:pt idx="220">
                  <c:v>Henriot</c:v>
                </c:pt>
                <c:pt idx="221">
                  <c:v>Laurent Per</c:v>
                </c:pt>
                <c:pt idx="222">
                  <c:v>Canard Duch</c:v>
                </c:pt>
                <c:pt idx="223">
                  <c:v>Bottega</c:v>
                </c:pt>
                <c:pt idx="224">
                  <c:v>All Others</c:v>
                </c:pt>
                <c:pt idx="225">
                  <c:v>Laurent Per</c:v>
                </c:pt>
                <c:pt idx="226">
                  <c:v>Celene</c:v>
                </c:pt>
                <c:pt idx="227">
                  <c:v>Nicolas</c:v>
                </c:pt>
                <c:pt idx="228">
                  <c:v>Mure</c:v>
                </c:pt>
                <c:pt idx="229">
                  <c:v>Laurent Per</c:v>
                </c:pt>
                <c:pt idx="230">
                  <c:v>De Bligny</c:v>
                </c:pt>
                <c:pt idx="231">
                  <c:v>Pommery</c:v>
                </c:pt>
                <c:pt idx="232">
                  <c:v>Moët &amp; Chan</c:v>
                </c:pt>
                <c:pt idx="233">
                  <c:v>Laurent Per</c:v>
                </c:pt>
                <c:pt idx="234">
                  <c:v>All Others</c:v>
                </c:pt>
                <c:pt idx="235">
                  <c:v>All Others</c:v>
                </c:pt>
                <c:pt idx="236">
                  <c:v>All Others</c:v>
                </c:pt>
                <c:pt idx="237">
                  <c:v>Nicolas Feu</c:v>
                </c:pt>
                <c:pt idx="238">
                  <c:v>Demoiselle</c:v>
                </c:pt>
                <c:pt idx="239">
                  <c:v>Bouvet-Ladu</c:v>
                </c:pt>
                <c:pt idx="240">
                  <c:v>All Others</c:v>
                </c:pt>
                <c:pt idx="241">
                  <c:v>Malard</c:v>
                </c:pt>
                <c:pt idx="242">
                  <c:v>Bouvet-Ladu</c:v>
                </c:pt>
                <c:pt idx="243">
                  <c:v>Malard</c:v>
                </c:pt>
                <c:pt idx="244">
                  <c:v>Lanson</c:v>
                </c:pt>
                <c:pt idx="245">
                  <c:v>Besserat De</c:v>
                </c:pt>
                <c:pt idx="246">
                  <c:v>All Others</c:v>
                </c:pt>
                <c:pt idx="247">
                  <c:v>All Others</c:v>
                </c:pt>
                <c:pt idx="248">
                  <c:v>Pommery</c:v>
                </c:pt>
                <c:pt idx="249">
                  <c:v>Roederer</c:v>
                </c:pt>
                <c:pt idx="250">
                  <c:v>Vesselle</c:v>
                </c:pt>
                <c:pt idx="251">
                  <c:v>Nicolas</c:v>
                </c:pt>
                <c:pt idx="252">
                  <c:v>All Others</c:v>
                </c:pt>
                <c:pt idx="253">
                  <c:v>Chateau Mon</c:v>
                </c:pt>
              </c:strCache>
            </c:strRef>
          </c:cat>
          <c:val>
            <c:numRef>
              <c:f>Sheet1!$B$2:$B$255</c:f>
              <c:numCache>
                <c:formatCode>General</c:formatCode>
                <c:ptCount val="254"/>
                <c:pt idx="0">
                  <c:v>1</c:v>
                </c:pt>
                <c:pt idx="1">
                  <c:v>1</c:v>
                </c:pt>
                <c:pt idx="2">
                  <c:v>0.97</c:v>
                </c:pt>
                <c:pt idx="3">
                  <c:v>0.82</c:v>
                </c:pt>
                <c:pt idx="4">
                  <c:v>0.98</c:v>
                </c:pt>
                <c:pt idx="5">
                  <c:v>0.9</c:v>
                </c:pt>
                <c:pt idx="6">
                  <c:v>0.65</c:v>
                </c:pt>
                <c:pt idx="7">
                  <c:v>1</c:v>
                </c:pt>
                <c:pt idx="8">
                  <c:v>1</c:v>
                </c:pt>
                <c:pt idx="9">
                  <c:v>0.98</c:v>
                </c:pt>
                <c:pt idx="10">
                  <c:v>0.89</c:v>
                </c:pt>
                <c:pt idx="11">
                  <c:v>0.71</c:v>
                </c:pt>
                <c:pt idx="12">
                  <c:v>0.91</c:v>
                </c:pt>
                <c:pt idx="13">
                  <c:v>0.72</c:v>
                </c:pt>
                <c:pt idx="14">
                  <c:v>0.89</c:v>
                </c:pt>
                <c:pt idx="15">
                  <c:v>0.83</c:v>
                </c:pt>
                <c:pt idx="16">
                  <c:v>0.92</c:v>
                </c:pt>
                <c:pt idx="17">
                  <c:v>0.91</c:v>
                </c:pt>
                <c:pt idx="18">
                  <c:v>0.43</c:v>
                </c:pt>
                <c:pt idx="19">
                  <c:v>0.89</c:v>
                </c:pt>
                <c:pt idx="20">
                  <c:v>0.65</c:v>
                </c:pt>
                <c:pt idx="21">
                  <c:v>0.88</c:v>
                </c:pt>
                <c:pt idx="22">
                  <c:v>0.84</c:v>
                </c:pt>
                <c:pt idx="23">
                  <c:v>0.38</c:v>
                </c:pt>
                <c:pt idx="24">
                  <c:v>0.9</c:v>
                </c:pt>
                <c:pt idx="25">
                  <c:v>0.71</c:v>
                </c:pt>
                <c:pt idx="26">
                  <c:v>0.64</c:v>
                </c:pt>
                <c:pt idx="27">
                  <c:v>0.67</c:v>
                </c:pt>
                <c:pt idx="28">
                  <c:v>0.64</c:v>
                </c:pt>
                <c:pt idx="29">
                  <c:v>0.69</c:v>
                </c:pt>
                <c:pt idx="30">
                  <c:v>0.56000000000000005</c:v>
                </c:pt>
                <c:pt idx="31">
                  <c:v>0.31</c:v>
                </c:pt>
                <c:pt idx="32">
                  <c:v>0.71</c:v>
                </c:pt>
                <c:pt idx="33">
                  <c:v>0.88</c:v>
                </c:pt>
                <c:pt idx="34">
                  <c:v>0.83</c:v>
                </c:pt>
                <c:pt idx="35">
                  <c:v>0.62</c:v>
                </c:pt>
                <c:pt idx="36">
                  <c:v>0.87</c:v>
                </c:pt>
                <c:pt idx="37">
                  <c:v>0.61</c:v>
                </c:pt>
                <c:pt idx="38">
                  <c:v>0.39</c:v>
                </c:pt>
                <c:pt idx="39">
                  <c:v>0.35</c:v>
                </c:pt>
                <c:pt idx="40">
                  <c:v>0.31</c:v>
                </c:pt>
                <c:pt idx="41">
                  <c:v>0.75</c:v>
                </c:pt>
                <c:pt idx="42">
                  <c:v>0.51</c:v>
                </c:pt>
                <c:pt idx="43">
                  <c:v>0.45</c:v>
                </c:pt>
                <c:pt idx="44">
                  <c:v>0.2</c:v>
                </c:pt>
                <c:pt idx="45">
                  <c:v>0.55000000000000004</c:v>
                </c:pt>
                <c:pt idx="46">
                  <c:v>0.7</c:v>
                </c:pt>
                <c:pt idx="47">
                  <c:v>0.67</c:v>
                </c:pt>
                <c:pt idx="48">
                  <c:v>0.56000000000000005</c:v>
                </c:pt>
                <c:pt idx="49">
                  <c:v>0.64</c:v>
                </c:pt>
                <c:pt idx="50">
                  <c:v>0.52</c:v>
                </c:pt>
                <c:pt idx="51">
                  <c:v>0.63</c:v>
                </c:pt>
                <c:pt idx="52">
                  <c:v>0.59</c:v>
                </c:pt>
                <c:pt idx="53">
                  <c:v>0.54</c:v>
                </c:pt>
                <c:pt idx="54">
                  <c:v>0.5</c:v>
                </c:pt>
                <c:pt idx="55">
                  <c:v>0.3</c:v>
                </c:pt>
                <c:pt idx="56">
                  <c:v>0.55000000000000004</c:v>
                </c:pt>
                <c:pt idx="57">
                  <c:v>0.5</c:v>
                </c:pt>
                <c:pt idx="58">
                  <c:v>0.74</c:v>
                </c:pt>
                <c:pt idx="59">
                  <c:v>0.51</c:v>
                </c:pt>
                <c:pt idx="60">
                  <c:v>0.62</c:v>
                </c:pt>
                <c:pt idx="61">
                  <c:v>0.59</c:v>
                </c:pt>
                <c:pt idx="62">
                  <c:v>0.66</c:v>
                </c:pt>
                <c:pt idx="63">
                  <c:v>0.19</c:v>
                </c:pt>
                <c:pt idx="64">
                  <c:v>0.35</c:v>
                </c:pt>
                <c:pt idx="65">
                  <c:v>0.56999999999999995</c:v>
                </c:pt>
                <c:pt idx="66">
                  <c:v>0.46</c:v>
                </c:pt>
                <c:pt idx="67">
                  <c:v>0.85</c:v>
                </c:pt>
                <c:pt idx="68">
                  <c:v>0.6</c:v>
                </c:pt>
                <c:pt idx="69">
                  <c:v>0.31</c:v>
                </c:pt>
                <c:pt idx="70">
                  <c:v>0.72</c:v>
                </c:pt>
                <c:pt idx="71">
                  <c:v>0.49</c:v>
                </c:pt>
                <c:pt idx="72">
                  <c:v>0.17</c:v>
                </c:pt>
                <c:pt idx="73">
                  <c:v>0.21</c:v>
                </c:pt>
                <c:pt idx="74">
                  <c:v>0.39</c:v>
                </c:pt>
                <c:pt idx="75">
                  <c:v>0.42</c:v>
                </c:pt>
                <c:pt idx="76">
                  <c:v>0.4</c:v>
                </c:pt>
                <c:pt idx="77">
                  <c:v>0.59</c:v>
                </c:pt>
                <c:pt idx="78">
                  <c:v>0.33</c:v>
                </c:pt>
                <c:pt idx="79">
                  <c:v>0.46</c:v>
                </c:pt>
                <c:pt idx="80">
                  <c:v>0.36</c:v>
                </c:pt>
                <c:pt idx="81">
                  <c:v>0.32</c:v>
                </c:pt>
                <c:pt idx="82">
                  <c:v>0.28000000000000003</c:v>
                </c:pt>
                <c:pt idx="83">
                  <c:v>0.51</c:v>
                </c:pt>
                <c:pt idx="84">
                  <c:v>0.24</c:v>
                </c:pt>
                <c:pt idx="85">
                  <c:v>0.49</c:v>
                </c:pt>
                <c:pt idx="86">
                  <c:v>0.48</c:v>
                </c:pt>
                <c:pt idx="87">
                  <c:v>0.56999999999999995</c:v>
                </c:pt>
                <c:pt idx="88">
                  <c:v>0.27</c:v>
                </c:pt>
                <c:pt idx="89">
                  <c:v>0.72</c:v>
                </c:pt>
                <c:pt idx="90">
                  <c:v>0.49</c:v>
                </c:pt>
                <c:pt idx="91">
                  <c:v>0.4</c:v>
                </c:pt>
                <c:pt idx="92">
                  <c:v>0.45</c:v>
                </c:pt>
                <c:pt idx="93">
                  <c:v>0.26</c:v>
                </c:pt>
                <c:pt idx="94">
                  <c:v>0.21</c:v>
                </c:pt>
                <c:pt idx="95">
                  <c:v>0.28000000000000003</c:v>
                </c:pt>
                <c:pt idx="96">
                  <c:v>0.51</c:v>
                </c:pt>
                <c:pt idx="97">
                  <c:v>0.35</c:v>
                </c:pt>
                <c:pt idx="98">
                  <c:v>0.46</c:v>
                </c:pt>
                <c:pt idx="99">
                  <c:v>0.21</c:v>
                </c:pt>
                <c:pt idx="100">
                  <c:v>0.21</c:v>
                </c:pt>
                <c:pt idx="101">
                  <c:v>0.43</c:v>
                </c:pt>
                <c:pt idx="102">
                  <c:v>0.53</c:v>
                </c:pt>
                <c:pt idx="103">
                  <c:v>0.35</c:v>
                </c:pt>
                <c:pt idx="104">
                  <c:v>0.34</c:v>
                </c:pt>
                <c:pt idx="105">
                  <c:v>0.3</c:v>
                </c:pt>
                <c:pt idx="106">
                  <c:v>0.41</c:v>
                </c:pt>
                <c:pt idx="107">
                  <c:v>0.26</c:v>
                </c:pt>
                <c:pt idx="108">
                  <c:v>0.37</c:v>
                </c:pt>
                <c:pt idx="109">
                  <c:v>0.56999999999999995</c:v>
                </c:pt>
                <c:pt idx="110">
                  <c:v>0.37</c:v>
                </c:pt>
                <c:pt idx="111">
                  <c:v>0.41</c:v>
                </c:pt>
                <c:pt idx="112">
                  <c:v>0.26</c:v>
                </c:pt>
                <c:pt idx="113">
                  <c:v>0.37</c:v>
                </c:pt>
                <c:pt idx="114">
                  <c:v>0.2</c:v>
                </c:pt>
                <c:pt idx="115">
                  <c:v>0.28000000000000003</c:v>
                </c:pt>
                <c:pt idx="116">
                  <c:v>0.49</c:v>
                </c:pt>
                <c:pt idx="117">
                  <c:v>0.15</c:v>
                </c:pt>
                <c:pt idx="118">
                  <c:v>0.37</c:v>
                </c:pt>
                <c:pt idx="119">
                  <c:v>0.18</c:v>
                </c:pt>
                <c:pt idx="120">
                  <c:v>0.28000000000000003</c:v>
                </c:pt>
                <c:pt idx="121">
                  <c:v>0.5</c:v>
                </c:pt>
                <c:pt idx="122">
                  <c:v>0.12</c:v>
                </c:pt>
                <c:pt idx="123">
                  <c:v>0.15</c:v>
                </c:pt>
                <c:pt idx="124">
                  <c:v>0.15</c:v>
                </c:pt>
                <c:pt idx="125">
                  <c:v>0.3</c:v>
                </c:pt>
                <c:pt idx="126">
                  <c:v>0.28000000000000003</c:v>
                </c:pt>
                <c:pt idx="127">
                  <c:v>0.16</c:v>
                </c:pt>
                <c:pt idx="128">
                  <c:v>0.27</c:v>
                </c:pt>
                <c:pt idx="129">
                  <c:v>0.08</c:v>
                </c:pt>
                <c:pt idx="130">
                  <c:v>0.75</c:v>
                </c:pt>
                <c:pt idx="131">
                  <c:v>0.14000000000000001</c:v>
                </c:pt>
                <c:pt idx="132">
                  <c:v>0.3</c:v>
                </c:pt>
                <c:pt idx="133">
                  <c:v>0.15</c:v>
                </c:pt>
                <c:pt idx="134">
                  <c:v>0.25</c:v>
                </c:pt>
                <c:pt idx="135">
                  <c:v>0.34</c:v>
                </c:pt>
                <c:pt idx="136">
                  <c:v>0.62</c:v>
                </c:pt>
                <c:pt idx="137">
                  <c:v>0.17</c:v>
                </c:pt>
                <c:pt idx="138">
                  <c:v>0.2</c:v>
                </c:pt>
                <c:pt idx="139">
                  <c:v>0.19</c:v>
                </c:pt>
                <c:pt idx="140">
                  <c:v>0.24</c:v>
                </c:pt>
                <c:pt idx="141">
                  <c:v>0.25</c:v>
                </c:pt>
                <c:pt idx="142">
                  <c:v>0.4</c:v>
                </c:pt>
                <c:pt idx="143">
                  <c:v>0.27</c:v>
                </c:pt>
                <c:pt idx="144">
                  <c:v>0.34</c:v>
                </c:pt>
                <c:pt idx="145">
                  <c:v>0.18</c:v>
                </c:pt>
                <c:pt idx="146">
                  <c:v>0.26</c:v>
                </c:pt>
                <c:pt idx="147">
                  <c:v>0.18</c:v>
                </c:pt>
                <c:pt idx="148">
                  <c:v>0.28000000000000003</c:v>
                </c:pt>
                <c:pt idx="149">
                  <c:v>0.2</c:v>
                </c:pt>
                <c:pt idx="150">
                  <c:v>0.25</c:v>
                </c:pt>
                <c:pt idx="151">
                  <c:v>0.15</c:v>
                </c:pt>
                <c:pt idx="152">
                  <c:v>0.3</c:v>
                </c:pt>
                <c:pt idx="153">
                  <c:v>0.18</c:v>
                </c:pt>
                <c:pt idx="154">
                  <c:v>0.18</c:v>
                </c:pt>
                <c:pt idx="155">
                  <c:v>0.18</c:v>
                </c:pt>
                <c:pt idx="156">
                  <c:v>0.13</c:v>
                </c:pt>
                <c:pt idx="157">
                  <c:v>0.2</c:v>
                </c:pt>
                <c:pt idx="158">
                  <c:v>0.24</c:v>
                </c:pt>
                <c:pt idx="159">
                  <c:v>0.12</c:v>
                </c:pt>
                <c:pt idx="160">
                  <c:v>0.13</c:v>
                </c:pt>
                <c:pt idx="161">
                  <c:v>0.21</c:v>
                </c:pt>
                <c:pt idx="162">
                  <c:v>0.31</c:v>
                </c:pt>
                <c:pt idx="163">
                  <c:v>0.19</c:v>
                </c:pt>
                <c:pt idx="164">
                  <c:v>0.24</c:v>
                </c:pt>
                <c:pt idx="165">
                  <c:v>0.15</c:v>
                </c:pt>
                <c:pt idx="166">
                  <c:v>0.36</c:v>
                </c:pt>
                <c:pt idx="167">
                  <c:v>0.32</c:v>
                </c:pt>
                <c:pt idx="168">
                  <c:v>0.1</c:v>
                </c:pt>
                <c:pt idx="169">
                  <c:v>0.17</c:v>
                </c:pt>
                <c:pt idx="170">
                  <c:v>0.16</c:v>
                </c:pt>
                <c:pt idx="171">
                  <c:v>0.15</c:v>
                </c:pt>
                <c:pt idx="172">
                  <c:v>0.09</c:v>
                </c:pt>
                <c:pt idx="173">
                  <c:v>0.15</c:v>
                </c:pt>
                <c:pt idx="174">
                  <c:v>0.06</c:v>
                </c:pt>
                <c:pt idx="175">
                  <c:v>0.14000000000000001</c:v>
                </c:pt>
                <c:pt idx="176">
                  <c:v>0.1</c:v>
                </c:pt>
                <c:pt idx="177">
                  <c:v>0.15</c:v>
                </c:pt>
                <c:pt idx="178">
                  <c:v>0.16</c:v>
                </c:pt>
                <c:pt idx="179">
                  <c:v>0.15</c:v>
                </c:pt>
                <c:pt idx="180">
                  <c:v>7.0000000000000007E-2</c:v>
                </c:pt>
                <c:pt idx="181">
                  <c:v>0.28000000000000003</c:v>
                </c:pt>
                <c:pt idx="182">
                  <c:v>0.26</c:v>
                </c:pt>
                <c:pt idx="183">
                  <c:v>0.1</c:v>
                </c:pt>
                <c:pt idx="184">
                  <c:v>0.19</c:v>
                </c:pt>
                <c:pt idx="185">
                  <c:v>0.2</c:v>
                </c:pt>
                <c:pt idx="186">
                  <c:v>0.18</c:v>
                </c:pt>
                <c:pt idx="187">
                  <c:v>0.08</c:v>
                </c:pt>
                <c:pt idx="188">
                  <c:v>0.13</c:v>
                </c:pt>
                <c:pt idx="189">
                  <c:v>0.11</c:v>
                </c:pt>
                <c:pt idx="190">
                  <c:v>7.0000000000000007E-2</c:v>
                </c:pt>
                <c:pt idx="191">
                  <c:v>0.14000000000000001</c:v>
                </c:pt>
                <c:pt idx="192">
                  <c:v>7.0000000000000007E-2</c:v>
                </c:pt>
                <c:pt idx="193">
                  <c:v>0.14000000000000001</c:v>
                </c:pt>
                <c:pt idx="194">
                  <c:v>0.12</c:v>
                </c:pt>
                <c:pt idx="195">
                  <c:v>0.12</c:v>
                </c:pt>
                <c:pt idx="196">
                  <c:v>0.04</c:v>
                </c:pt>
                <c:pt idx="197">
                  <c:v>0.05</c:v>
                </c:pt>
                <c:pt idx="198">
                  <c:v>0.04</c:v>
                </c:pt>
                <c:pt idx="199">
                  <c:v>0.13</c:v>
                </c:pt>
                <c:pt idx="200">
                  <c:v>0.19</c:v>
                </c:pt>
                <c:pt idx="201">
                  <c:v>0.09</c:v>
                </c:pt>
                <c:pt idx="202">
                  <c:v>0.12</c:v>
                </c:pt>
                <c:pt idx="203">
                  <c:v>0.16</c:v>
                </c:pt>
                <c:pt idx="204">
                  <c:v>0.04</c:v>
                </c:pt>
                <c:pt idx="205">
                  <c:v>0.11</c:v>
                </c:pt>
                <c:pt idx="206">
                  <c:v>0.28000000000000003</c:v>
                </c:pt>
                <c:pt idx="207">
                  <c:v>0.2</c:v>
                </c:pt>
                <c:pt idx="208">
                  <c:v>7.0000000000000007E-2</c:v>
                </c:pt>
                <c:pt idx="209">
                  <c:v>7.0000000000000007E-2</c:v>
                </c:pt>
                <c:pt idx="210">
                  <c:v>0.06</c:v>
                </c:pt>
                <c:pt idx="211">
                  <c:v>0.12</c:v>
                </c:pt>
                <c:pt idx="212">
                  <c:v>7.0000000000000007E-2</c:v>
                </c:pt>
                <c:pt idx="213">
                  <c:v>0.08</c:v>
                </c:pt>
                <c:pt idx="214">
                  <c:v>0.09</c:v>
                </c:pt>
                <c:pt idx="215">
                  <c:v>0.05</c:v>
                </c:pt>
                <c:pt idx="216">
                  <c:v>0.08</c:v>
                </c:pt>
                <c:pt idx="217">
                  <c:v>0.19</c:v>
                </c:pt>
                <c:pt idx="218">
                  <c:v>0.17</c:v>
                </c:pt>
                <c:pt idx="219">
                  <c:v>7.0000000000000007E-2</c:v>
                </c:pt>
                <c:pt idx="220">
                  <c:v>0.06</c:v>
                </c:pt>
                <c:pt idx="221">
                  <c:v>7.0000000000000007E-2</c:v>
                </c:pt>
                <c:pt idx="222">
                  <c:v>0.11</c:v>
                </c:pt>
                <c:pt idx="223">
                  <c:v>7.0000000000000007E-2</c:v>
                </c:pt>
                <c:pt idx="224">
                  <c:v>0.12</c:v>
                </c:pt>
                <c:pt idx="225">
                  <c:v>0.06</c:v>
                </c:pt>
                <c:pt idx="226">
                  <c:v>0.17</c:v>
                </c:pt>
                <c:pt idx="227">
                  <c:v>0.11</c:v>
                </c:pt>
                <c:pt idx="228">
                  <c:v>0.05</c:v>
                </c:pt>
                <c:pt idx="229">
                  <c:v>0.1</c:v>
                </c:pt>
                <c:pt idx="230">
                  <c:v>0.1</c:v>
                </c:pt>
                <c:pt idx="231">
                  <c:v>0.14000000000000001</c:v>
                </c:pt>
                <c:pt idx="232">
                  <c:v>0.12</c:v>
                </c:pt>
                <c:pt idx="233">
                  <c:v>0.08</c:v>
                </c:pt>
                <c:pt idx="234">
                  <c:v>0.08</c:v>
                </c:pt>
                <c:pt idx="235">
                  <c:v>0.12</c:v>
                </c:pt>
                <c:pt idx="236">
                  <c:v>0.19</c:v>
                </c:pt>
                <c:pt idx="237">
                  <c:v>7.0000000000000007E-2</c:v>
                </c:pt>
                <c:pt idx="238">
                  <c:v>0.13</c:v>
                </c:pt>
                <c:pt idx="239">
                  <c:v>0.14000000000000001</c:v>
                </c:pt>
                <c:pt idx="240">
                  <c:v>0.12</c:v>
                </c:pt>
                <c:pt idx="241">
                  <c:v>0.06</c:v>
                </c:pt>
                <c:pt idx="242">
                  <c:v>7.0000000000000007E-2</c:v>
                </c:pt>
                <c:pt idx="243">
                  <c:v>0.04</c:v>
                </c:pt>
                <c:pt idx="244">
                  <c:v>7.0000000000000007E-2</c:v>
                </c:pt>
                <c:pt idx="245">
                  <c:v>0.03</c:v>
                </c:pt>
                <c:pt idx="246">
                  <c:v>0.06</c:v>
                </c:pt>
                <c:pt idx="247">
                  <c:v>0.05</c:v>
                </c:pt>
                <c:pt idx="248">
                  <c:v>0.06</c:v>
                </c:pt>
                <c:pt idx="249">
                  <c:v>0.08</c:v>
                </c:pt>
                <c:pt idx="250">
                  <c:v>0.06</c:v>
                </c:pt>
                <c:pt idx="251">
                  <c:v>0.11</c:v>
                </c:pt>
                <c:pt idx="252">
                  <c:v>0.13</c:v>
                </c:pt>
                <c:pt idx="253">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46B-4DB3-9F42-3592CE6B1817}"/>
              </c:ext>
            </c:extLst>
          </c:dPt>
          <c:dPt>
            <c:idx val="211"/>
            <c:invertIfNegative val="1"/>
            <c:bubble3D val="0"/>
            <c:spPr>
              <a:solidFill>
                <a:srgbClr val="AEABAB"/>
              </a:solidFill>
            </c:spPr>
            <c:extLst>
              <c:ext xmlns:c16="http://schemas.microsoft.com/office/drawing/2014/chart" uri="{C3380CC4-5D6E-409C-BE32-E72D297353CC}">
                <c16:uniqueId val="{000001A9-746B-4DB3-9F42-3592CE6B1817}"/>
              </c:ext>
            </c:extLst>
          </c:dPt>
          <c:dPt>
            <c:idx val="212"/>
            <c:invertIfNegative val="1"/>
            <c:bubble3D val="0"/>
            <c:spPr>
              <a:solidFill>
                <a:srgbClr val="AEABAB"/>
              </a:solidFill>
            </c:spPr>
            <c:extLst>
              <c:ext xmlns:c16="http://schemas.microsoft.com/office/drawing/2014/chart" uri="{C3380CC4-5D6E-409C-BE32-E72D297353CC}">
                <c16:uniqueId val="{000001AB-746B-4DB3-9F42-3592CE6B1817}"/>
              </c:ext>
            </c:extLst>
          </c:dPt>
          <c:dPt>
            <c:idx val="213"/>
            <c:invertIfNegative val="1"/>
            <c:bubble3D val="0"/>
            <c:spPr>
              <a:solidFill>
                <a:srgbClr val="AEABAB"/>
              </a:solidFill>
            </c:spPr>
            <c:extLst>
              <c:ext xmlns:c16="http://schemas.microsoft.com/office/drawing/2014/chart" uri="{C3380CC4-5D6E-409C-BE32-E72D297353CC}">
                <c16:uniqueId val="{000001AD-746B-4DB3-9F42-3592CE6B1817}"/>
              </c:ext>
            </c:extLst>
          </c:dPt>
          <c:dPt>
            <c:idx val="214"/>
            <c:invertIfNegative val="1"/>
            <c:bubble3D val="0"/>
            <c:spPr>
              <a:solidFill>
                <a:srgbClr val="AEABAB"/>
              </a:solidFill>
            </c:spPr>
            <c:extLst>
              <c:ext xmlns:c16="http://schemas.microsoft.com/office/drawing/2014/chart" uri="{C3380CC4-5D6E-409C-BE32-E72D297353CC}">
                <c16:uniqueId val="{000001AF-746B-4DB3-9F42-3592CE6B1817}"/>
              </c:ext>
            </c:extLst>
          </c:dPt>
          <c:dPt>
            <c:idx val="215"/>
            <c:invertIfNegative val="1"/>
            <c:bubble3D val="0"/>
            <c:spPr>
              <a:solidFill>
                <a:srgbClr val="AEABAB"/>
              </a:solidFill>
            </c:spPr>
            <c:extLst>
              <c:ext xmlns:c16="http://schemas.microsoft.com/office/drawing/2014/chart" uri="{C3380CC4-5D6E-409C-BE32-E72D297353CC}">
                <c16:uniqueId val="{000001B1-746B-4DB3-9F42-3592CE6B1817}"/>
              </c:ext>
            </c:extLst>
          </c:dPt>
          <c:dPt>
            <c:idx val="216"/>
            <c:invertIfNegative val="1"/>
            <c:bubble3D val="0"/>
            <c:spPr>
              <a:solidFill>
                <a:srgbClr val="AEABAB"/>
              </a:solidFill>
            </c:spPr>
            <c:extLst>
              <c:ext xmlns:c16="http://schemas.microsoft.com/office/drawing/2014/chart" uri="{C3380CC4-5D6E-409C-BE32-E72D297353CC}">
                <c16:uniqueId val="{000001B3-746B-4DB3-9F42-3592CE6B1817}"/>
              </c:ext>
            </c:extLst>
          </c:dPt>
          <c:dPt>
            <c:idx val="217"/>
            <c:invertIfNegative val="1"/>
            <c:bubble3D val="0"/>
            <c:spPr>
              <a:solidFill>
                <a:srgbClr val="AEABAB"/>
              </a:solidFill>
            </c:spPr>
            <c:extLst>
              <c:ext xmlns:c16="http://schemas.microsoft.com/office/drawing/2014/chart" uri="{C3380CC4-5D6E-409C-BE32-E72D297353CC}">
                <c16:uniqueId val="{000001B5-746B-4DB3-9F42-3592CE6B1817}"/>
              </c:ext>
            </c:extLst>
          </c:dPt>
          <c:dPt>
            <c:idx val="218"/>
            <c:invertIfNegative val="1"/>
            <c:bubble3D val="0"/>
            <c:spPr>
              <a:solidFill>
                <a:srgbClr val="AEABAB"/>
              </a:solidFill>
            </c:spPr>
            <c:extLst>
              <c:ext xmlns:c16="http://schemas.microsoft.com/office/drawing/2014/chart" uri="{C3380CC4-5D6E-409C-BE32-E72D297353CC}">
                <c16:uniqueId val="{000001B7-746B-4DB3-9F42-3592CE6B1817}"/>
              </c:ext>
            </c:extLst>
          </c:dPt>
          <c:dPt>
            <c:idx val="219"/>
            <c:invertIfNegative val="1"/>
            <c:bubble3D val="0"/>
            <c:spPr>
              <a:solidFill>
                <a:srgbClr val="AEABAB"/>
              </a:solidFill>
            </c:spPr>
            <c:extLst>
              <c:ext xmlns:c16="http://schemas.microsoft.com/office/drawing/2014/chart" uri="{C3380CC4-5D6E-409C-BE32-E72D297353CC}">
                <c16:uniqueId val="{000001B9-746B-4DB3-9F42-3592CE6B1817}"/>
              </c:ext>
            </c:extLst>
          </c:dPt>
          <c:dPt>
            <c:idx val="220"/>
            <c:invertIfNegative val="1"/>
            <c:bubble3D val="0"/>
            <c:spPr>
              <a:solidFill>
                <a:srgbClr val="AEABAB"/>
              </a:solidFill>
            </c:spPr>
            <c:extLst>
              <c:ext xmlns:c16="http://schemas.microsoft.com/office/drawing/2014/chart" uri="{C3380CC4-5D6E-409C-BE32-E72D297353CC}">
                <c16:uniqueId val="{000001BB-746B-4DB3-9F42-3592CE6B1817}"/>
              </c:ext>
            </c:extLst>
          </c:dPt>
          <c:dPt>
            <c:idx val="221"/>
            <c:invertIfNegative val="1"/>
            <c:bubble3D val="0"/>
            <c:spPr>
              <a:solidFill>
                <a:srgbClr val="AEABAB"/>
              </a:solidFill>
            </c:spPr>
            <c:extLst>
              <c:ext xmlns:c16="http://schemas.microsoft.com/office/drawing/2014/chart" uri="{C3380CC4-5D6E-409C-BE32-E72D297353CC}">
                <c16:uniqueId val="{000001BD-746B-4DB3-9F42-3592CE6B1817}"/>
              </c:ext>
            </c:extLst>
          </c:dPt>
          <c:dPt>
            <c:idx val="222"/>
            <c:invertIfNegative val="1"/>
            <c:bubble3D val="0"/>
            <c:spPr>
              <a:solidFill>
                <a:srgbClr val="AEABAB"/>
              </a:solidFill>
            </c:spPr>
            <c:extLst>
              <c:ext xmlns:c16="http://schemas.microsoft.com/office/drawing/2014/chart" uri="{C3380CC4-5D6E-409C-BE32-E72D297353CC}">
                <c16:uniqueId val="{000001BF-746B-4DB3-9F42-3592CE6B1817}"/>
              </c:ext>
            </c:extLst>
          </c:dPt>
          <c:dPt>
            <c:idx val="223"/>
            <c:invertIfNegative val="1"/>
            <c:bubble3D val="0"/>
            <c:spPr>
              <a:solidFill>
                <a:srgbClr val="AEABAB"/>
              </a:solidFill>
            </c:spPr>
            <c:extLst>
              <c:ext xmlns:c16="http://schemas.microsoft.com/office/drawing/2014/chart" uri="{C3380CC4-5D6E-409C-BE32-E72D297353CC}">
                <c16:uniqueId val="{000001C1-746B-4DB3-9F42-3592CE6B1817}"/>
              </c:ext>
            </c:extLst>
          </c:dPt>
          <c:dPt>
            <c:idx val="224"/>
            <c:invertIfNegative val="1"/>
            <c:bubble3D val="0"/>
            <c:spPr>
              <a:solidFill>
                <a:srgbClr val="AEABAB"/>
              </a:solidFill>
            </c:spPr>
            <c:extLst>
              <c:ext xmlns:c16="http://schemas.microsoft.com/office/drawing/2014/chart" uri="{C3380CC4-5D6E-409C-BE32-E72D297353CC}">
                <c16:uniqueId val="{000001C3-746B-4DB3-9F42-3592CE6B1817}"/>
              </c:ext>
            </c:extLst>
          </c:dPt>
          <c:dPt>
            <c:idx val="225"/>
            <c:invertIfNegative val="1"/>
            <c:bubble3D val="0"/>
            <c:spPr>
              <a:solidFill>
                <a:srgbClr val="AEABAB"/>
              </a:solidFill>
            </c:spPr>
            <c:extLst>
              <c:ext xmlns:c16="http://schemas.microsoft.com/office/drawing/2014/chart" uri="{C3380CC4-5D6E-409C-BE32-E72D297353CC}">
                <c16:uniqueId val="{000001C5-746B-4DB3-9F42-3592CE6B1817}"/>
              </c:ext>
            </c:extLst>
          </c:dPt>
          <c:dPt>
            <c:idx val="226"/>
            <c:invertIfNegative val="1"/>
            <c:bubble3D val="0"/>
            <c:spPr>
              <a:solidFill>
                <a:srgbClr val="AEABAB"/>
              </a:solidFill>
            </c:spPr>
            <c:extLst>
              <c:ext xmlns:c16="http://schemas.microsoft.com/office/drawing/2014/chart" uri="{C3380CC4-5D6E-409C-BE32-E72D297353CC}">
                <c16:uniqueId val="{000001C7-746B-4DB3-9F42-3592CE6B1817}"/>
              </c:ext>
            </c:extLst>
          </c:dPt>
          <c:dPt>
            <c:idx val="227"/>
            <c:invertIfNegative val="1"/>
            <c:bubble3D val="0"/>
            <c:spPr>
              <a:solidFill>
                <a:srgbClr val="AEABAB"/>
              </a:solidFill>
            </c:spPr>
            <c:extLst>
              <c:ext xmlns:c16="http://schemas.microsoft.com/office/drawing/2014/chart" uri="{C3380CC4-5D6E-409C-BE32-E72D297353CC}">
                <c16:uniqueId val="{000001C9-746B-4DB3-9F42-3592CE6B1817}"/>
              </c:ext>
            </c:extLst>
          </c:dPt>
          <c:dPt>
            <c:idx val="228"/>
            <c:invertIfNegative val="1"/>
            <c:bubble3D val="0"/>
            <c:spPr>
              <a:solidFill>
                <a:srgbClr val="AEABAB"/>
              </a:solidFill>
            </c:spPr>
            <c:extLst>
              <c:ext xmlns:c16="http://schemas.microsoft.com/office/drawing/2014/chart" uri="{C3380CC4-5D6E-409C-BE32-E72D297353CC}">
                <c16:uniqueId val="{000001CB-746B-4DB3-9F42-3592CE6B1817}"/>
              </c:ext>
            </c:extLst>
          </c:dPt>
          <c:dPt>
            <c:idx val="229"/>
            <c:invertIfNegative val="1"/>
            <c:bubble3D val="0"/>
            <c:spPr>
              <a:solidFill>
                <a:srgbClr val="AEABAB"/>
              </a:solidFill>
            </c:spPr>
            <c:extLst>
              <c:ext xmlns:c16="http://schemas.microsoft.com/office/drawing/2014/chart" uri="{C3380CC4-5D6E-409C-BE32-E72D297353CC}">
                <c16:uniqueId val="{000001CD-746B-4DB3-9F42-3592CE6B1817}"/>
              </c:ext>
            </c:extLst>
          </c:dPt>
          <c:dPt>
            <c:idx val="230"/>
            <c:invertIfNegative val="1"/>
            <c:bubble3D val="0"/>
            <c:spPr>
              <a:solidFill>
                <a:srgbClr val="AEABAB"/>
              </a:solidFill>
            </c:spPr>
            <c:extLst>
              <c:ext xmlns:c16="http://schemas.microsoft.com/office/drawing/2014/chart" uri="{C3380CC4-5D6E-409C-BE32-E72D297353CC}">
                <c16:uniqueId val="{000001CF-746B-4DB3-9F42-3592CE6B1817}"/>
              </c:ext>
            </c:extLst>
          </c:dPt>
          <c:dPt>
            <c:idx val="231"/>
            <c:invertIfNegative val="1"/>
            <c:bubble3D val="0"/>
            <c:spPr>
              <a:solidFill>
                <a:srgbClr val="AEABAB"/>
              </a:solidFill>
            </c:spPr>
            <c:extLst>
              <c:ext xmlns:c16="http://schemas.microsoft.com/office/drawing/2014/chart" uri="{C3380CC4-5D6E-409C-BE32-E72D297353CC}">
                <c16:uniqueId val="{000001D1-746B-4DB3-9F42-3592CE6B1817}"/>
              </c:ext>
            </c:extLst>
          </c:dPt>
          <c:dPt>
            <c:idx val="232"/>
            <c:invertIfNegative val="1"/>
            <c:bubble3D val="0"/>
            <c:spPr>
              <a:solidFill>
                <a:srgbClr val="AEABAB"/>
              </a:solidFill>
            </c:spPr>
            <c:extLst>
              <c:ext xmlns:c16="http://schemas.microsoft.com/office/drawing/2014/chart" uri="{C3380CC4-5D6E-409C-BE32-E72D297353CC}">
                <c16:uniqueId val="{000001D3-746B-4DB3-9F42-3592CE6B1817}"/>
              </c:ext>
            </c:extLst>
          </c:dPt>
          <c:dPt>
            <c:idx val="233"/>
            <c:invertIfNegative val="1"/>
            <c:bubble3D val="0"/>
            <c:spPr>
              <a:solidFill>
                <a:srgbClr val="AEABAB"/>
              </a:solidFill>
            </c:spPr>
            <c:extLst>
              <c:ext xmlns:c16="http://schemas.microsoft.com/office/drawing/2014/chart" uri="{C3380CC4-5D6E-409C-BE32-E72D297353CC}">
                <c16:uniqueId val="{000001D5-746B-4DB3-9F42-3592CE6B1817}"/>
              </c:ext>
            </c:extLst>
          </c:dPt>
          <c:dPt>
            <c:idx val="234"/>
            <c:invertIfNegative val="1"/>
            <c:bubble3D val="0"/>
            <c:spPr>
              <a:solidFill>
                <a:srgbClr val="AEABAB"/>
              </a:solidFill>
            </c:spPr>
            <c:extLst>
              <c:ext xmlns:c16="http://schemas.microsoft.com/office/drawing/2014/chart" uri="{C3380CC4-5D6E-409C-BE32-E72D297353CC}">
                <c16:uniqueId val="{000001D7-746B-4DB3-9F42-3592CE6B1817}"/>
              </c:ext>
            </c:extLst>
          </c:dPt>
          <c:dPt>
            <c:idx val="235"/>
            <c:invertIfNegative val="1"/>
            <c:bubble3D val="0"/>
            <c:spPr>
              <a:solidFill>
                <a:srgbClr val="AEABAB"/>
              </a:solidFill>
            </c:spPr>
            <c:extLst>
              <c:ext xmlns:c16="http://schemas.microsoft.com/office/drawing/2014/chart" uri="{C3380CC4-5D6E-409C-BE32-E72D297353CC}">
                <c16:uniqueId val="{000001D9-746B-4DB3-9F42-3592CE6B1817}"/>
              </c:ext>
            </c:extLst>
          </c:dPt>
          <c:dPt>
            <c:idx val="236"/>
            <c:invertIfNegative val="1"/>
            <c:bubble3D val="0"/>
            <c:spPr>
              <a:solidFill>
                <a:srgbClr val="AEABAB"/>
              </a:solidFill>
            </c:spPr>
            <c:extLst>
              <c:ext xmlns:c16="http://schemas.microsoft.com/office/drawing/2014/chart" uri="{C3380CC4-5D6E-409C-BE32-E72D297353CC}">
                <c16:uniqueId val="{000001DB-746B-4DB3-9F42-3592CE6B1817}"/>
              </c:ext>
            </c:extLst>
          </c:dPt>
          <c:dPt>
            <c:idx val="237"/>
            <c:invertIfNegative val="1"/>
            <c:bubble3D val="0"/>
            <c:spPr>
              <a:solidFill>
                <a:srgbClr val="AEABAB"/>
              </a:solidFill>
            </c:spPr>
            <c:extLst>
              <c:ext xmlns:c16="http://schemas.microsoft.com/office/drawing/2014/chart" uri="{C3380CC4-5D6E-409C-BE32-E72D297353CC}">
                <c16:uniqueId val="{000001DD-746B-4DB3-9F42-3592CE6B1817}"/>
              </c:ext>
            </c:extLst>
          </c:dPt>
          <c:dPt>
            <c:idx val="238"/>
            <c:invertIfNegative val="1"/>
            <c:bubble3D val="0"/>
            <c:spPr>
              <a:solidFill>
                <a:srgbClr val="AEABAB"/>
              </a:solidFill>
            </c:spPr>
            <c:extLst>
              <c:ext xmlns:c16="http://schemas.microsoft.com/office/drawing/2014/chart" uri="{C3380CC4-5D6E-409C-BE32-E72D297353CC}">
                <c16:uniqueId val="{000001DF-746B-4DB3-9F42-3592CE6B1817}"/>
              </c:ext>
            </c:extLst>
          </c:dPt>
          <c:dPt>
            <c:idx val="239"/>
            <c:invertIfNegative val="1"/>
            <c:bubble3D val="0"/>
            <c:spPr>
              <a:solidFill>
                <a:srgbClr val="AEABAB"/>
              </a:solidFill>
            </c:spPr>
            <c:extLst>
              <c:ext xmlns:c16="http://schemas.microsoft.com/office/drawing/2014/chart" uri="{C3380CC4-5D6E-409C-BE32-E72D297353CC}">
                <c16:uniqueId val="{000001E1-746B-4DB3-9F42-3592CE6B1817}"/>
              </c:ext>
            </c:extLst>
          </c:dPt>
          <c:dPt>
            <c:idx val="240"/>
            <c:invertIfNegative val="1"/>
            <c:bubble3D val="0"/>
            <c:spPr>
              <a:solidFill>
                <a:srgbClr val="AEABAB"/>
              </a:solidFill>
            </c:spPr>
            <c:extLst>
              <c:ext xmlns:c16="http://schemas.microsoft.com/office/drawing/2014/chart" uri="{C3380CC4-5D6E-409C-BE32-E72D297353CC}">
                <c16:uniqueId val="{000001E3-746B-4DB3-9F42-3592CE6B1817}"/>
              </c:ext>
            </c:extLst>
          </c:dPt>
          <c:dPt>
            <c:idx val="241"/>
            <c:invertIfNegative val="1"/>
            <c:bubble3D val="0"/>
            <c:spPr>
              <a:solidFill>
                <a:srgbClr val="AEABAB"/>
              </a:solidFill>
            </c:spPr>
            <c:extLst>
              <c:ext xmlns:c16="http://schemas.microsoft.com/office/drawing/2014/chart" uri="{C3380CC4-5D6E-409C-BE32-E72D297353CC}">
                <c16:uniqueId val="{000001E5-746B-4DB3-9F42-3592CE6B1817}"/>
              </c:ext>
            </c:extLst>
          </c:dPt>
          <c:dPt>
            <c:idx val="242"/>
            <c:invertIfNegative val="1"/>
            <c:bubble3D val="0"/>
            <c:spPr>
              <a:solidFill>
                <a:srgbClr val="AEABAB"/>
              </a:solidFill>
            </c:spPr>
            <c:extLst>
              <c:ext xmlns:c16="http://schemas.microsoft.com/office/drawing/2014/chart" uri="{C3380CC4-5D6E-409C-BE32-E72D297353CC}">
                <c16:uniqueId val="{000001E7-746B-4DB3-9F42-3592CE6B1817}"/>
              </c:ext>
            </c:extLst>
          </c:dPt>
          <c:dPt>
            <c:idx val="243"/>
            <c:invertIfNegative val="1"/>
            <c:bubble3D val="0"/>
            <c:spPr>
              <a:solidFill>
                <a:srgbClr val="AEABAB"/>
              </a:solidFill>
            </c:spPr>
            <c:extLst>
              <c:ext xmlns:c16="http://schemas.microsoft.com/office/drawing/2014/chart" uri="{C3380CC4-5D6E-409C-BE32-E72D297353CC}">
                <c16:uniqueId val="{000001E9-746B-4DB3-9F42-3592CE6B1817}"/>
              </c:ext>
            </c:extLst>
          </c:dPt>
          <c:dPt>
            <c:idx val="244"/>
            <c:invertIfNegative val="1"/>
            <c:bubble3D val="0"/>
            <c:spPr>
              <a:solidFill>
                <a:srgbClr val="AEABAB"/>
              </a:solidFill>
            </c:spPr>
            <c:extLst>
              <c:ext xmlns:c16="http://schemas.microsoft.com/office/drawing/2014/chart" uri="{C3380CC4-5D6E-409C-BE32-E72D297353CC}">
                <c16:uniqueId val="{000001EB-746B-4DB3-9F42-3592CE6B1817}"/>
              </c:ext>
            </c:extLst>
          </c:dPt>
          <c:dPt>
            <c:idx val="245"/>
            <c:invertIfNegative val="1"/>
            <c:bubble3D val="0"/>
            <c:spPr>
              <a:solidFill>
                <a:srgbClr val="AEABAB"/>
              </a:solidFill>
            </c:spPr>
            <c:extLst>
              <c:ext xmlns:c16="http://schemas.microsoft.com/office/drawing/2014/chart" uri="{C3380CC4-5D6E-409C-BE32-E72D297353CC}">
                <c16:uniqueId val="{000001ED-746B-4DB3-9F42-3592CE6B1817}"/>
              </c:ext>
            </c:extLst>
          </c:dPt>
          <c:dPt>
            <c:idx val="246"/>
            <c:invertIfNegative val="1"/>
            <c:bubble3D val="0"/>
            <c:spPr>
              <a:solidFill>
                <a:srgbClr val="AEABAB"/>
              </a:solidFill>
            </c:spPr>
            <c:extLst>
              <c:ext xmlns:c16="http://schemas.microsoft.com/office/drawing/2014/chart" uri="{C3380CC4-5D6E-409C-BE32-E72D297353CC}">
                <c16:uniqueId val="{000001EF-746B-4DB3-9F42-3592CE6B1817}"/>
              </c:ext>
            </c:extLst>
          </c:dPt>
          <c:dPt>
            <c:idx val="247"/>
            <c:invertIfNegative val="1"/>
            <c:bubble3D val="0"/>
            <c:spPr>
              <a:solidFill>
                <a:srgbClr val="AEABAB"/>
              </a:solidFill>
            </c:spPr>
            <c:extLst>
              <c:ext xmlns:c16="http://schemas.microsoft.com/office/drawing/2014/chart" uri="{C3380CC4-5D6E-409C-BE32-E72D297353CC}">
                <c16:uniqueId val="{000001F1-746B-4DB3-9F42-3592CE6B1817}"/>
              </c:ext>
            </c:extLst>
          </c:dPt>
          <c:dPt>
            <c:idx val="248"/>
            <c:invertIfNegative val="1"/>
            <c:bubble3D val="0"/>
            <c:spPr>
              <a:solidFill>
                <a:srgbClr val="AEABAB"/>
              </a:solidFill>
            </c:spPr>
            <c:extLst>
              <c:ext xmlns:c16="http://schemas.microsoft.com/office/drawing/2014/chart" uri="{C3380CC4-5D6E-409C-BE32-E72D297353CC}">
                <c16:uniqueId val="{000001F3-746B-4DB3-9F42-3592CE6B1817}"/>
              </c:ext>
            </c:extLst>
          </c:dPt>
          <c:dPt>
            <c:idx val="249"/>
            <c:invertIfNegative val="1"/>
            <c:bubble3D val="0"/>
            <c:spPr>
              <a:solidFill>
                <a:srgbClr val="AEABAB"/>
              </a:solidFill>
            </c:spPr>
            <c:extLst>
              <c:ext xmlns:c16="http://schemas.microsoft.com/office/drawing/2014/chart" uri="{C3380CC4-5D6E-409C-BE32-E72D297353CC}">
                <c16:uniqueId val="{000001F5-746B-4DB3-9F42-3592CE6B1817}"/>
              </c:ext>
            </c:extLst>
          </c:dPt>
          <c:dPt>
            <c:idx val="250"/>
            <c:invertIfNegative val="1"/>
            <c:bubble3D val="0"/>
            <c:spPr>
              <a:solidFill>
                <a:srgbClr val="AEABAB"/>
              </a:solidFill>
            </c:spPr>
            <c:extLst>
              <c:ext xmlns:c16="http://schemas.microsoft.com/office/drawing/2014/chart" uri="{C3380CC4-5D6E-409C-BE32-E72D297353CC}">
                <c16:uniqueId val="{000001F7-746B-4DB3-9F42-3592CE6B1817}"/>
              </c:ext>
            </c:extLst>
          </c:dPt>
          <c:dPt>
            <c:idx val="251"/>
            <c:invertIfNegative val="1"/>
            <c:bubble3D val="0"/>
            <c:spPr>
              <a:solidFill>
                <a:srgbClr val="AEABAB"/>
              </a:solidFill>
            </c:spPr>
            <c:extLst>
              <c:ext xmlns:c16="http://schemas.microsoft.com/office/drawing/2014/chart" uri="{C3380CC4-5D6E-409C-BE32-E72D297353CC}">
                <c16:uniqueId val="{000001F9-746B-4DB3-9F42-3592CE6B1817}"/>
              </c:ext>
            </c:extLst>
          </c:dPt>
          <c:dPt>
            <c:idx val="252"/>
            <c:invertIfNegative val="1"/>
            <c:bubble3D val="0"/>
            <c:spPr>
              <a:solidFill>
                <a:srgbClr val="AEABAB"/>
              </a:solidFill>
            </c:spPr>
            <c:extLst>
              <c:ext xmlns:c16="http://schemas.microsoft.com/office/drawing/2014/chart" uri="{C3380CC4-5D6E-409C-BE32-E72D297353CC}">
                <c16:uniqueId val="{000001FB-746B-4DB3-9F42-3592CE6B1817}"/>
              </c:ext>
            </c:extLst>
          </c:dPt>
          <c:dPt>
            <c:idx val="253"/>
            <c:invertIfNegative val="1"/>
            <c:bubble3D val="0"/>
            <c:spPr>
              <a:solidFill>
                <a:srgbClr val="AEABAB"/>
              </a:solidFill>
            </c:spPr>
            <c:extLst>
              <c:ext xmlns:c16="http://schemas.microsoft.com/office/drawing/2014/chart" uri="{C3380CC4-5D6E-409C-BE32-E72D297353CC}">
                <c16:uniqueId val="{000001FD-746B-4DB3-9F42-3592CE6B1817}"/>
              </c:ext>
            </c:extLst>
          </c:dPt>
          <c:cat>
            <c:strRef>
              <c:f>Sheet1!$A$2:$A$255</c:f>
              <c:strCache>
                <c:ptCount val="254"/>
                <c:pt idx="0">
                  <c:v>Nicolas</c:v>
                </c:pt>
                <c:pt idx="1">
                  <c:v>Ruinart</c:v>
                </c:pt>
                <c:pt idx="2">
                  <c:v>Deutz</c:v>
                </c:pt>
                <c:pt idx="3">
                  <c:v>Ruinart</c:v>
                </c:pt>
                <c:pt idx="4">
                  <c:v>Ayala</c:v>
                </c:pt>
                <c:pt idx="5">
                  <c:v>Heidsieck &amp;</c:v>
                </c:pt>
                <c:pt idx="6">
                  <c:v>Ruinart</c:v>
                </c:pt>
                <c:pt idx="7">
                  <c:v>Canard Duch</c:v>
                </c:pt>
                <c:pt idx="8">
                  <c:v>Malard</c:v>
                </c:pt>
                <c:pt idx="9">
                  <c:v>De Bligny</c:v>
                </c:pt>
                <c:pt idx="10">
                  <c:v>Nicolas Feu</c:v>
                </c:pt>
                <c:pt idx="11">
                  <c:v>Deutz</c:v>
                </c:pt>
                <c:pt idx="12">
                  <c:v>Besserat De</c:v>
                </c:pt>
                <c:pt idx="13">
                  <c:v>Ruinart</c:v>
                </c:pt>
                <c:pt idx="14">
                  <c:v>Demoiselle</c:v>
                </c:pt>
                <c:pt idx="15">
                  <c:v>Laurent Per</c:v>
                </c:pt>
                <c:pt idx="16">
                  <c:v>Taittinger</c:v>
                </c:pt>
                <c:pt idx="17">
                  <c:v>Bollinger</c:v>
                </c:pt>
                <c:pt idx="18">
                  <c:v>Ruinart</c:v>
                </c:pt>
                <c:pt idx="19">
                  <c:v>Pommery</c:v>
                </c:pt>
                <c:pt idx="20">
                  <c:v>Nicolas</c:v>
                </c:pt>
                <c:pt idx="21">
                  <c:v>All Others</c:v>
                </c:pt>
                <c:pt idx="22">
                  <c:v>Perrier Jou</c:v>
                </c:pt>
                <c:pt idx="23">
                  <c:v>Ruinart</c:v>
                </c:pt>
                <c:pt idx="24">
                  <c:v>Bouvet-Ladu</c:v>
                </c:pt>
                <c:pt idx="25">
                  <c:v>Laurent Per</c:v>
                </c:pt>
                <c:pt idx="26">
                  <c:v>Ruinart</c:v>
                </c:pt>
                <c:pt idx="27">
                  <c:v>Malard</c:v>
                </c:pt>
                <c:pt idx="28">
                  <c:v>Vesselle</c:v>
                </c:pt>
                <c:pt idx="29">
                  <c:v>Taittinger</c:v>
                </c:pt>
                <c:pt idx="30">
                  <c:v>Deutz</c:v>
                </c:pt>
                <c:pt idx="31">
                  <c:v>Dom Perigno</c:v>
                </c:pt>
                <c:pt idx="32">
                  <c:v>Nicolas</c:v>
                </c:pt>
                <c:pt idx="33">
                  <c:v>Patriarche</c:v>
                </c:pt>
                <c:pt idx="34">
                  <c:v>All Others</c:v>
                </c:pt>
                <c:pt idx="35">
                  <c:v>Moët &amp; Chan</c:v>
                </c:pt>
                <c:pt idx="36">
                  <c:v>Nicolas</c:v>
                </c:pt>
                <c:pt idx="37">
                  <c:v>Demoiselle</c:v>
                </c:pt>
                <c:pt idx="38">
                  <c:v>Bollinger</c:v>
                </c:pt>
                <c:pt idx="39">
                  <c:v>Laurent Per</c:v>
                </c:pt>
                <c:pt idx="40">
                  <c:v>Dom Perigno</c:v>
                </c:pt>
                <c:pt idx="41">
                  <c:v>De Venoge</c:v>
                </c:pt>
                <c:pt idx="42">
                  <c:v>Roederer</c:v>
                </c:pt>
                <c:pt idx="43">
                  <c:v>Roederer</c:v>
                </c:pt>
                <c:pt idx="44">
                  <c:v>Ruinart</c:v>
                </c:pt>
                <c:pt idx="45">
                  <c:v>Henriot</c:v>
                </c:pt>
                <c:pt idx="46">
                  <c:v>Chateau Mon</c:v>
                </c:pt>
                <c:pt idx="47">
                  <c:v>Bottega</c:v>
                </c:pt>
                <c:pt idx="48">
                  <c:v>Nicolas Feu</c:v>
                </c:pt>
                <c:pt idx="49">
                  <c:v>Ruinart</c:v>
                </c:pt>
                <c:pt idx="50">
                  <c:v>Savian</c:v>
                </c:pt>
                <c:pt idx="51">
                  <c:v>Piper Heids</c:v>
                </c:pt>
                <c:pt idx="52">
                  <c:v>Lanson</c:v>
                </c:pt>
                <c:pt idx="53">
                  <c:v>Campari: Al</c:v>
                </c:pt>
                <c:pt idx="54">
                  <c:v>Veuve Clicq</c:v>
                </c:pt>
                <c:pt idx="55">
                  <c:v>De Venoge</c:v>
                </c:pt>
                <c:pt idx="56">
                  <c:v>All Others</c:v>
                </c:pt>
                <c:pt idx="57">
                  <c:v>Malard</c:v>
                </c:pt>
                <c:pt idx="58">
                  <c:v>Savian</c:v>
                </c:pt>
                <c:pt idx="59">
                  <c:v>Besserat De</c:v>
                </c:pt>
                <c:pt idx="60">
                  <c:v>De Chanceny</c:v>
                </c:pt>
                <c:pt idx="61">
                  <c:v>Mure</c:v>
                </c:pt>
                <c:pt idx="62">
                  <c:v>Malard</c:v>
                </c:pt>
                <c:pt idx="63">
                  <c:v>Dom Perigno</c:v>
                </c:pt>
                <c:pt idx="64">
                  <c:v>Roederer</c:v>
                </c:pt>
                <c:pt idx="65">
                  <c:v>Kriter</c:v>
                </c:pt>
                <c:pt idx="66">
                  <c:v>Veuve Clicq</c:v>
                </c:pt>
                <c:pt idx="67">
                  <c:v>Lyre's</c:v>
                </c:pt>
                <c:pt idx="68">
                  <c:v>Ayala</c:v>
                </c:pt>
                <c:pt idx="69">
                  <c:v>Vranken</c:v>
                </c:pt>
                <c:pt idx="70">
                  <c:v>Deutz</c:v>
                </c:pt>
                <c:pt idx="71">
                  <c:v>Nicolas Feu</c:v>
                </c:pt>
                <c:pt idx="72">
                  <c:v>Roederer</c:v>
                </c:pt>
                <c:pt idx="73">
                  <c:v>Krug</c:v>
                </c:pt>
                <c:pt idx="74">
                  <c:v>Veuve Clicq</c:v>
                </c:pt>
                <c:pt idx="75">
                  <c:v>All Others</c:v>
                </c:pt>
                <c:pt idx="76">
                  <c:v>Pommery</c:v>
                </c:pt>
                <c:pt idx="77">
                  <c:v>De Chanceny</c:v>
                </c:pt>
                <c:pt idx="78">
                  <c:v>Canard Duch</c:v>
                </c:pt>
                <c:pt idx="79">
                  <c:v>Henriot</c:v>
                </c:pt>
                <c:pt idx="80">
                  <c:v>Moët &amp; Chan</c:v>
                </c:pt>
                <c:pt idx="81">
                  <c:v>Ruinart</c:v>
                </c:pt>
                <c:pt idx="82">
                  <c:v>Canard Duch</c:v>
                </c:pt>
                <c:pt idx="83">
                  <c:v>Nicolas Feu</c:v>
                </c:pt>
                <c:pt idx="84">
                  <c:v>Vranken</c:v>
                </c:pt>
                <c:pt idx="85">
                  <c:v>Besserat De</c:v>
                </c:pt>
                <c:pt idx="86">
                  <c:v>Campari: Al</c:v>
                </c:pt>
                <c:pt idx="87">
                  <c:v>Ruinart</c:v>
                </c:pt>
                <c:pt idx="88">
                  <c:v>Roederer</c:v>
                </c:pt>
                <c:pt idx="89">
                  <c:v>Canard Duch</c:v>
                </c:pt>
                <c:pt idx="90">
                  <c:v>De Bligny</c:v>
                </c:pt>
                <c:pt idx="91">
                  <c:v>Nicolas</c:v>
                </c:pt>
                <c:pt idx="92">
                  <c:v>Nicolas</c:v>
                </c:pt>
                <c:pt idx="93">
                  <c:v>Delamotte</c:v>
                </c:pt>
                <c:pt idx="94">
                  <c:v>Deutz</c:v>
                </c:pt>
                <c:pt idx="95">
                  <c:v>De Venoge</c:v>
                </c:pt>
                <c:pt idx="96">
                  <c:v>Henriot</c:v>
                </c:pt>
                <c:pt idx="97">
                  <c:v>Nicolas</c:v>
                </c:pt>
                <c:pt idx="98">
                  <c:v>Henriot</c:v>
                </c:pt>
                <c:pt idx="99">
                  <c:v>Laurent Per</c:v>
                </c:pt>
                <c:pt idx="100">
                  <c:v>Ruinart</c:v>
                </c:pt>
                <c:pt idx="101">
                  <c:v>Nicolas</c:v>
                </c:pt>
                <c:pt idx="102">
                  <c:v>Patriarche</c:v>
                </c:pt>
                <c:pt idx="103">
                  <c:v>All Others</c:v>
                </c:pt>
                <c:pt idx="104">
                  <c:v>Louis Marti</c:v>
                </c:pt>
                <c:pt idx="105">
                  <c:v>Laurent Per</c:v>
                </c:pt>
                <c:pt idx="106">
                  <c:v>Malard</c:v>
                </c:pt>
                <c:pt idx="107">
                  <c:v>Canard Duch</c:v>
                </c:pt>
                <c:pt idx="108">
                  <c:v>Malard</c:v>
                </c:pt>
                <c:pt idx="109">
                  <c:v>All Others</c:v>
                </c:pt>
                <c:pt idx="110">
                  <c:v>Ruinart</c:v>
                </c:pt>
                <c:pt idx="111">
                  <c:v>De Venoge</c:v>
                </c:pt>
                <c:pt idx="112">
                  <c:v>Veuve Clicq</c:v>
                </c:pt>
                <c:pt idx="113">
                  <c:v>All Others</c:v>
                </c:pt>
                <c:pt idx="114">
                  <c:v>Ruinart</c:v>
                </c:pt>
                <c:pt idx="115">
                  <c:v>Moët &amp; Chan</c:v>
                </c:pt>
                <c:pt idx="116">
                  <c:v>Deutz</c:v>
                </c:pt>
                <c:pt idx="117">
                  <c:v>Ruinart</c:v>
                </c:pt>
                <c:pt idx="118">
                  <c:v>Besserat De</c:v>
                </c:pt>
                <c:pt idx="119">
                  <c:v>All Others</c:v>
                </c:pt>
                <c:pt idx="120">
                  <c:v>Nicolas</c:v>
                </c:pt>
                <c:pt idx="121">
                  <c:v>Bottega</c:v>
                </c:pt>
                <c:pt idx="122">
                  <c:v>All Others</c:v>
                </c:pt>
                <c:pt idx="123">
                  <c:v>Dom Perigno</c:v>
                </c:pt>
                <c:pt idx="124">
                  <c:v>Roederer</c:v>
                </c:pt>
                <c:pt idx="125">
                  <c:v>Canard Duch</c:v>
                </c:pt>
                <c:pt idx="126">
                  <c:v>Nicolas</c:v>
                </c:pt>
                <c:pt idx="127">
                  <c:v>Roederer</c:v>
                </c:pt>
                <c:pt idx="128">
                  <c:v>Roederer</c:v>
                </c:pt>
                <c:pt idx="129">
                  <c:v>Deutz</c:v>
                </c:pt>
                <c:pt idx="130">
                  <c:v>Contarini</c:v>
                </c:pt>
                <c:pt idx="131">
                  <c:v>Canard Duch</c:v>
                </c:pt>
                <c:pt idx="132">
                  <c:v>Nicolas</c:v>
                </c:pt>
                <c:pt idx="133">
                  <c:v>Vranken</c:v>
                </c:pt>
                <c:pt idx="134">
                  <c:v>Cru La Maqu</c:v>
                </c:pt>
                <c:pt idx="135">
                  <c:v>Nicolas</c:v>
                </c:pt>
                <c:pt idx="136">
                  <c:v>All Others</c:v>
                </c:pt>
                <c:pt idx="137">
                  <c:v>Nicolas</c:v>
                </c:pt>
                <c:pt idx="138">
                  <c:v>Roederer</c:v>
                </c:pt>
                <c:pt idx="139">
                  <c:v>Nicolas</c:v>
                </c:pt>
                <c:pt idx="140">
                  <c:v>Bollinger</c:v>
                </c:pt>
                <c:pt idx="141">
                  <c:v>All Others</c:v>
                </c:pt>
                <c:pt idx="142">
                  <c:v>All Others</c:v>
                </c:pt>
                <c:pt idx="143">
                  <c:v>Nicolas</c:v>
                </c:pt>
                <c:pt idx="144">
                  <c:v>All Others</c:v>
                </c:pt>
                <c:pt idx="145">
                  <c:v>Roederer</c:v>
                </c:pt>
                <c:pt idx="146">
                  <c:v>All Others</c:v>
                </c:pt>
                <c:pt idx="147">
                  <c:v>Perrier Jou</c:v>
                </c:pt>
                <c:pt idx="148">
                  <c:v>Nicolas Feu</c:v>
                </c:pt>
                <c:pt idx="149">
                  <c:v>Demoiselle</c:v>
                </c:pt>
                <c:pt idx="150">
                  <c:v>Pommery</c:v>
                </c:pt>
                <c:pt idx="151">
                  <c:v>Roederer</c:v>
                </c:pt>
                <c:pt idx="152">
                  <c:v>Demoiselle</c:v>
                </c:pt>
                <c:pt idx="153">
                  <c:v>Bollinger</c:v>
                </c:pt>
                <c:pt idx="154">
                  <c:v>Moët &amp; Chan</c:v>
                </c:pt>
                <c:pt idx="155">
                  <c:v>De Venoge</c:v>
                </c:pt>
                <c:pt idx="156">
                  <c:v>Pommery</c:v>
                </c:pt>
                <c:pt idx="157">
                  <c:v>Moët &amp; Chan</c:v>
                </c:pt>
                <c:pt idx="158">
                  <c:v>Roederer</c:v>
                </c:pt>
                <c:pt idx="159">
                  <c:v>Taittinger</c:v>
                </c:pt>
                <c:pt idx="160">
                  <c:v>Ruinart</c:v>
                </c:pt>
                <c:pt idx="161">
                  <c:v>Bollinger</c:v>
                </c:pt>
                <c:pt idx="162">
                  <c:v>Vesselle</c:v>
                </c:pt>
                <c:pt idx="163">
                  <c:v>Ruinart</c:v>
                </c:pt>
                <c:pt idx="164">
                  <c:v>All Others</c:v>
                </c:pt>
                <c:pt idx="165">
                  <c:v>Vesselle</c:v>
                </c:pt>
                <c:pt idx="166">
                  <c:v>All Others</c:v>
                </c:pt>
                <c:pt idx="167">
                  <c:v>Louis Marti</c:v>
                </c:pt>
                <c:pt idx="168">
                  <c:v>Lanson</c:v>
                </c:pt>
                <c:pt idx="169">
                  <c:v>Nicolas</c:v>
                </c:pt>
                <c:pt idx="170">
                  <c:v>Bouvet-Ladu</c:v>
                </c:pt>
                <c:pt idx="171">
                  <c:v>Roederer</c:v>
                </c:pt>
                <c:pt idx="172">
                  <c:v>All Others</c:v>
                </c:pt>
                <c:pt idx="173">
                  <c:v>Pommery</c:v>
                </c:pt>
                <c:pt idx="174">
                  <c:v>Bollinger</c:v>
                </c:pt>
                <c:pt idx="175">
                  <c:v>Deutz</c:v>
                </c:pt>
                <c:pt idx="176">
                  <c:v>Nicolas</c:v>
                </c:pt>
                <c:pt idx="177">
                  <c:v>Nicolas</c:v>
                </c:pt>
                <c:pt idx="178">
                  <c:v>Delamotte</c:v>
                </c:pt>
                <c:pt idx="179">
                  <c:v>All Others</c:v>
                </c:pt>
                <c:pt idx="180">
                  <c:v>Nicolas</c:v>
                </c:pt>
                <c:pt idx="181">
                  <c:v>All Others</c:v>
                </c:pt>
                <c:pt idx="182">
                  <c:v>Pommery</c:v>
                </c:pt>
                <c:pt idx="183">
                  <c:v>Laurent Per</c:v>
                </c:pt>
                <c:pt idx="184">
                  <c:v>Roederer</c:v>
                </c:pt>
                <c:pt idx="185">
                  <c:v>All Others</c:v>
                </c:pt>
                <c:pt idx="186">
                  <c:v>De Venoge</c:v>
                </c:pt>
                <c:pt idx="187">
                  <c:v>All Others</c:v>
                </c:pt>
                <c:pt idx="188">
                  <c:v>Taittinger</c:v>
                </c:pt>
                <c:pt idx="189">
                  <c:v>Bouvet-Ladu</c:v>
                </c:pt>
                <c:pt idx="190">
                  <c:v>All Others</c:v>
                </c:pt>
                <c:pt idx="191">
                  <c:v>Besserat De</c:v>
                </c:pt>
                <c:pt idx="192">
                  <c:v>All Others</c:v>
                </c:pt>
                <c:pt idx="193">
                  <c:v>Besserat De</c:v>
                </c:pt>
                <c:pt idx="194">
                  <c:v>Nicolas</c:v>
                </c:pt>
                <c:pt idx="195">
                  <c:v>Martel</c:v>
                </c:pt>
                <c:pt idx="196">
                  <c:v>De Venoge</c:v>
                </c:pt>
                <c:pt idx="197">
                  <c:v>Deutz</c:v>
                </c:pt>
                <c:pt idx="198">
                  <c:v>Deutz</c:v>
                </c:pt>
                <c:pt idx="199">
                  <c:v>Roederer</c:v>
                </c:pt>
                <c:pt idx="200">
                  <c:v>Piper Heids</c:v>
                </c:pt>
                <c:pt idx="201">
                  <c:v>Roederer</c:v>
                </c:pt>
                <c:pt idx="202">
                  <c:v>Veuve Clicq</c:v>
                </c:pt>
                <c:pt idx="203">
                  <c:v>All Others</c:v>
                </c:pt>
                <c:pt idx="204">
                  <c:v>All Others</c:v>
                </c:pt>
                <c:pt idx="205">
                  <c:v>De Venoge</c:v>
                </c:pt>
                <c:pt idx="206">
                  <c:v>Bottega</c:v>
                </c:pt>
                <c:pt idx="207">
                  <c:v>All Others</c:v>
                </c:pt>
                <c:pt idx="208">
                  <c:v>Bouvet-Ladu</c:v>
                </c:pt>
                <c:pt idx="209">
                  <c:v>Henriot</c:v>
                </c:pt>
                <c:pt idx="210">
                  <c:v>Bollinger</c:v>
                </c:pt>
                <c:pt idx="211">
                  <c:v>Piper Heids</c:v>
                </c:pt>
                <c:pt idx="212">
                  <c:v>Ayala</c:v>
                </c:pt>
                <c:pt idx="213">
                  <c:v>Jaillance</c:v>
                </c:pt>
                <c:pt idx="214">
                  <c:v>All Others</c:v>
                </c:pt>
                <c:pt idx="215">
                  <c:v>All Others</c:v>
                </c:pt>
                <c:pt idx="216">
                  <c:v>All Others</c:v>
                </c:pt>
                <c:pt idx="217">
                  <c:v>Celene</c:v>
                </c:pt>
                <c:pt idx="218">
                  <c:v>Contarini</c:v>
                </c:pt>
                <c:pt idx="219">
                  <c:v>Bollinger</c:v>
                </c:pt>
                <c:pt idx="220">
                  <c:v>Henriot</c:v>
                </c:pt>
                <c:pt idx="221">
                  <c:v>Laurent Per</c:v>
                </c:pt>
                <c:pt idx="222">
                  <c:v>Canard Duch</c:v>
                </c:pt>
                <c:pt idx="223">
                  <c:v>Bottega</c:v>
                </c:pt>
                <c:pt idx="224">
                  <c:v>All Others</c:v>
                </c:pt>
                <c:pt idx="225">
                  <c:v>Laurent Per</c:v>
                </c:pt>
                <c:pt idx="226">
                  <c:v>Celene</c:v>
                </c:pt>
                <c:pt idx="227">
                  <c:v>Nicolas</c:v>
                </c:pt>
                <c:pt idx="228">
                  <c:v>Mure</c:v>
                </c:pt>
                <c:pt idx="229">
                  <c:v>Laurent Per</c:v>
                </c:pt>
                <c:pt idx="230">
                  <c:v>De Bligny</c:v>
                </c:pt>
                <c:pt idx="231">
                  <c:v>Pommery</c:v>
                </c:pt>
                <c:pt idx="232">
                  <c:v>Moët &amp; Chan</c:v>
                </c:pt>
                <c:pt idx="233">
                  <c:v>Laurent Per</c:v>
                </c:pt>
                <c:pt idx="234">
                  <c:v>All Others</c:v>
                </c:pt>
                <c:pt idx="235">
                  <c:v>All Others</c:v>
                </c:pt>
                <c:pt idx="236">
                  <c:v>All Others</c:v>
                </c:pt>
                <c:pt idx="237">
                  <c:v>Nicolas Feu</c:v>
                </c:pt>
                <c:pt idx="238">
                  <c:v>Demoiselle</c:v>
                </c:pt>
                <c:pt idx="239">
                  <c:v>Bouvet-Ladu</c:v>
                </c:pt>
                <c:pt idx="240">
                  <c:v>All Others</c:v>
                </c:pt>
                <c:pt idx="241">
                  <c:v>Malard</c:v>
                </c:pt>
                <c:pt idx="242">
                  <c:v>Bouvet-Ladu</c:v>
                </c:pt>
                <c:pt idx="243">
                  <c:v>Malard</c:v>
                </c:pt>
                <c:pt idx="244">
                  <c:v>Lanson</c:v>
                </c:pt>
                <c:pt idx="245">
                  <c:v>Besserat De</c:v>
                </c:pt>
                <c:pt idx="246">
                  <c:v>All Others</c:v>
                </c:pt>
                <c:pt idx="247">
                  <c:v>All Others</c:v>
                </c:pt>
                <c:pt idx="248">
                  <c:v>Pommery</c:v>
                </c:pt>
                <c:pt idx="249">
                  <c:v>Roederer</c:v>
                </c:pt>
                <c:pt idx="250">
                  <c:v>Vesselle</c:v>
                </c:pt>
                <c:pt idx="251">
                  <c:v>Nicolas</c:v>
                </c:pt>
                <c:pt idx="252">
                  <c:v>All Others</c:v>
                </c:pt>
                <c:pt idx="253">
                  <c:v>Chateau Mon</c:v>
                </c:pt>
              </c:strCache>
            </c:strRef>
          </c:cat>
          <c:val>
            <c:numRef>
              <c:f>Sheet1!$C$2:$C$255</c:f>
              <c:numCache>
                <c:formatCode>General</c:formatCode>
                <c:ptCount val="254"/>
                <c:pt idx="0">
                  <c:v>8.6040030901258974E-2</c:v>
                </c:pt>
                <c:pt idx="1">
                  <c:v>0.16698559126653545</c:v>
                </c:pt>
                <c:pt idx="2">
                  <c:v>0.20834591250645981</c:v>
                </c:pt>
                <c:pt idx="3">
                  <c:v>0.24729103250609663</c:v>
                </c:pt>
                <c:pt idx="4">
                  <c:v>0.27986901013824605</c:v>
                </c:pt>
                <c:pt idx="5">
                  <c:v>0.30956191185272114</c:v>
                </c:pt>
                <c:pt idx="6">
                  <c:v>0.33601638583899113</c:v>
                </c:pt>
                <c:pt idx="7">
                  <c:v>0.35933836197601599</c:v>
                </c:pt>
                <c:pt idx="8">
                  <c:v>0.38159195961953019</c:v>
                </c:pt>
                <c:pt idx="9">
                  <c:v>0.4020258332709104</c:v>
                </c:pt>
                <c:pt idx="10">
                  <c:v>0.42206776637013871</c:v>
                </c:pt>
                <c:pt idx="11">
                  <c:v>0.44207716386368645</c:v>
                </c:pt>
                <c:pt idx="12">
                  <c:v>0.45979317947775061</c:v>
                </c:pt>
                <c:pt idx="13">
                  <c:v>0.47749103568399304</c:v>
                </c:pt>
                <c:pt idx="14">
                  <c:v>0.4951276038888372</c:v>
                </c:pt>
                <c:pt idx="15">
                  <c:v>0.51210816348612209</c:v>
                </c:pt>
                <c:pt idx="16">
                  <c:v>0.52719182160803069</c:v>
                </c:pt>
                <c:pt idx="17">
                  <c:v>0.54119196839657724</c:v>
                </c:pt>
                <c:pt idx="18">
                  <c:v>0.55511191113391123</c:v>
                </c:pt>
                <c:pt idx="19">
                  <c:v>0.56823737977904543</c:v>
                </c:pt>
                <c:pt idx="20">
                  <c:v>0.57993884819416042</c:v>
                </c:pt>
                <c:pt idx="21">
                  <c:v>0.5910107904714561</c:v>
                </c:pt>
                <c:pt idx="22">
                  <c:v>0.60109380166446114</c:v>
                </c:pt>
                <c:pt idx="23">
                  <c:v>0.61050037491610742</c:v>
                </c:pt>
                <c:pt idx="24">
                  <c:v>0.61970265482975939</c:v>
                </c:pt>
                <c:pt idx="25">
                  <c:v>0.62885877958186454</c:v>
                </c:pt>
                <c:pt idx="26">
                  <c:v>0.63761766728786973</c:v>
                </c:pt>
                <c:pt idx="27">
                  <c:v>0.64619723084163561</c:v>
                </c:pt>
                <c:pt idx="28">
                  <c:v>0.65440830974501918</c:v>
                </c:pt>
                <c:pt idx="29">
                  <c:v>0.66234699753107718</c:v>
                </c:pt>
                <c:pt idx="30">
                  <c:v>0.66931869685062906</c:v>
                </c:pt>
                <c:pt idx="31">
                  <c:v>0.67592191151979875</c:v>
                </c:pt>
                <c:pt idx="32">
                  <c:v>0.68244492213775587</c:v>
                </c:pt>
                <c:pt idx="33">
                  <c:v>0.68878028554155524</c:v>
                </c:pt>
                <c:pt idx="34">
                  <c:v>0.69503544489414204</c:v>
                </c:pt>
                <c:pt idx="35">
                  <c:v>0.70125428543108548</c:v>
                </c:pt>
                <c:pt idx="36">
                  <c:v>0.70726429277807923</c:v>
                </c:pt>
                <c:pt idx="37">
                  <c:v>0.71319863592581589</c:v>
                </c:pt>
                <c:pt idx="38">
                  <c:v>0.71899148702094173</c:v>
                </c:pt>
                <c:pt idx="39">
                  <c:v>0.72466176211327094</c:v>
                </c:pt>
                <c:pt idx="40">
                  <c:v>0.73027680234014247</c:v>
                </c:pt>
                <c:pt idx="41">
                  <c:v>0.73586536009727399</c:v>
                </c:pt>
                <c:pt idx="42">
                  <c:v>0.74121481898475305</c:v>
                </c:pt>
                <c:pt idx="43">
                  <c:v>0.74652720241459603</c:v>
                </c:pt>
                <c:pt idx="44">
                  <c:v>0.75178359433698871</c:v>
                </c:pt>
                <c:pt idx="45">
                  <c:v>0.75699610102381232</c:v>
                </c:pt>
                <c:pt idx="46">
                  <c:v>0.76205576602813652</c:v>
                </c:pt>
                <c:pt idx="47">
                  <c:v>0.76710635132854987</c:v>
                </c:pt>
                <c:pt idx="48">
                  <c:v>0.77211153810940891</c:v>
                </c:pt>
                <c:pt idx="49">
                  <c:v>0.77711142839631997</c:v>
                </c:pt>
                <c:pt idx="50">
                  <c:v>0.78208483621349101</c:v>
                </c:pt>
                <c:pt idx="51">
                  <c:v>0.78681838851901698</c:v>
                </c:pt>
                <c:pt idx="52">
                  <c:v>0.79120161558198243</c:v>
                </c:pt>
                <c:pt idx="53">
                  <c:v>0.79546377992613648</c:v>
                </c:pt>
                <c:pt idx="54">
                  <c:v>0.79958293893369459</c:v>
                </c:pt>
                <c:pt idx="55">
                  <c:v>0.80363324351992871</c:v>
                </c:pt>
                <c:pt idx="56">
                  <c:v>0.80765101250048221</c:v>
                </c:pt>
                <c:pt idx="57">
                  <c:v>0.81161808646753353</c:v>
                </c:pt>
                <c:pt idx="58">
                  <c:v>0.8154686375677288</c:v>
                </c:pt>
                <c:pt idx="59">
                  <c:v>0.81927076358039952</c:v>
                </c:pt>
                <c:pt idx="60">
                  <c:v>0.82301916801159769</c:v>
                </c:pt>
                <c:pt idx="61">
                  <c:v>0.82675849273888502</c:v>
                </c:pt>
                <c:pt idx="62">
                  <c:v>0.83046225529252149</c:v>
                </c:pt>
                <c:pt idx="63">
                  <c:v>0.83409413685686362</c:v>
                </c:pt>
                <c:pt idx="64">
                  <c:v>0.83771391214932467</c:v>
                </c:pt>
                <c:pt idx="65">
                  <c:v>0.84133217415780059</c:v>
                </c:pt>
                <c:pt idx="66">
                  <c:v>0.84490125443675934</c:v>
                </c:pt>
                <c:pt idx="67">
                  <c:v>0.84845217530789641</c:v>
                </c:pt>
                <c:pt idx="68">
                  <c:v>0.85191456906590257</c:v>
                </c:pt>
                <c:pt idx="69">
                  <c:v>0.85531037832856249</c:v>
                </c:pt>
                <c:pt idx="70">
                  <c:v>0.85865851914569047</c:v>
                </c:pt>
                <c:pt idx="71">
                  <c:v>0.86177815408106184</c:v>
                </c:pt>
                <c:pt idx="72">
                  <c:v>0.86478883256950301</c:v>
                </c:pt>
                <c:pt idx="73">
                  <c:v>0.86770341752488767</c:v>
                </c:pt>
                <c:pt idx="74">
                  <c:v>0.87060589620839113</c:v>
                </c:pt>
                <c:pt idx="75">
                  <c:v>0.87340320165492713</c:v>
                </c:pt>
                <c:pt idx="76">
                  <c:v>0.87619294068153752</c:v>
                </c:pt>
                <c:pt idx="77">
                  <c:v>0.878931228052653</c:v>
                </c:pt>
                <c:pt idx="78">
                  <c:v>0.8816392497440656</c:v>
                </c:pt>
                <c:pt idx="79">
                  <c:v>0.88429506313799078</c:v>
                </c:pt>
                <c:pt idx="80">
                  <c:v>0.88694558003796797</c:v>
                </c:pt>
                <c:pt idx="81">
                  <c:v>0.88957642424613836</c:v>
                </c:pt>
                <c:pt idx="82">
                  <c:v>0.89213311753903679</c:v>
                </c:pt>
                <c:pt idx="83">
                  <c:v>0.8946822444120095</c:v>
                </c:pt>
                <c:pt idx="84">
                  <c:v>0.89718294619745764</c:v>
                </c:pt>
                <c:pt idx="85">
                  <c:v>0.89968364798290579</c:v>
                </c:pt>
                <c:pt idx="86">
                  <c:v>0.90213668132282188</c:v>
                </c:pt>
                <c:pt idx="87">
                  <c:v>0.9045859314527751</c:v>
                </c:pt>
                <c:pt idx="88">
                  <c:v>0.90697540686531519</c:v>
                </c:pt>
                <c:pt idx="89">
                  <c:v>0.90934293966007074</c:v>
                </c:pt>
                <c:pt idx="90">
                  <c:v>0.91162799847763598</c:v>
                </c:pt>
                <c:pt idx="91">
                  <c:v>0.91377080860059789</c:v>
                </c:pt>
                <c:pt idx="92">
                  <c:v>0.91589016282179003</c:v>
                </c:pt>
                <c:pt idx="93">
                  <c:v>0.9179731982273388</c:v>
                </c:pt>
                <c:pt idx="94">
                  <c:v>0.91998737921156359</c:v>
                </c:pt>
                <c:pt idx="95">
                  <c:v>0.92185098843926672</c:v>
                </c:pt>
                <c:pt idx="96">
                  <c:v>0.92363288033177215</c:v>
                </c:pt>
                <c:pt idx="97">
                  <c:v>0.92541023237232212</c:v>
                </c:pt>
                <c:pt idx="98">
                  <c:v>0.92717850470896124</c:v>
                </c:pt>
                <c:pt idx="99">
                  <c:v>0.92894223719364488</c:v>
                </c:pt>
                <c:pt idx="100">
                  <c:v>0.93070294311035828</c:v>
                </c:pt>
                <c:pt idx="101">
                  <c:v>0.93246137910109395</c:v>
                </c:pt>
                <c:pt idx="102">
                  <c:v>0.93419711583205245</c:v>
                </c:pt>
                <c:pt idx="103">
                  <c:v>0.93593058263703333</c:v>
                </c:pt>
                <c:pt idx="104">
                  <c:v>0.93766102287404385</c:v>
                </c:pt>
                <c:pt idx="105">
                  <c:v>0.93935590093740351</c:v>
                </c:pt>
                <c:pt idx="106">
                  <c:v>0.94098192457943919</c:v>
                </c:pt>
                <c:pt idx="107">
                  <c:v>0.94253304066421029</c:v>
                </c:pt>
                <c:pt idx="108">
                  <c:v>0.94402967852551634</c:v>
                </c:pt>
                <c:pt idx="109">
                  <c:v>0.94551345347294868</c:v>
                </c:pt>
                <c:pt idx="110">
                  <c:v>0.94688902861544333</c:v>
                </c:pt>
                <c:pt idx="111">
                  <c:v>0.94825098420207166</c:v>
                </c:pt>
                <c:pt idx="112">
                  <c:v>0.94960537336877426</c:v>
                </c:pt>
                <c:pt idx="113">
                  <c:v>0.95090225774404147</c:v>
                </c:pt>
                <c:pt idx="114">
                  <c:v>0.95206370320263844</c:v>
                </c:pt>
                <c:pt idx="115">
                  <c:v>0.95320623261142112</c:v>
                </c:pt>
                <c:pt idx="116">
                  <c:v>0.95432152290847116</c:v>
                </c:pt>
                <c:pt idx="117">
                  <c:v>0.95538309162404866</c:v>
                </c:pt>
                <c:pt idx="118">
                  <c:v>0.95644466033962616</c:v>
                </c:pt>
                <c:pt idx="119">
                  <c:v>0.95750395912922592</c:v>
                </c:pt>
                <c:pt idx="120">
                  <c:v>0.95855342157292234</c:v>
                </c:pt>
                <c:pt idx="121">
                  <c:v>0.95957791483086385</c:v>
                </c:pt>
                <c:pt idx="122">
                  <c:v>0.96054944314932544</c:v>
                </c:pt>
                <c:pt idx="123">
                  <c:v>0.96149524564003952</c:v>
                </c:pt>
                <c:pt idx="124">
                  <c:v>0.96243272506883537</c:v>
                </c:pt>
                <c:pt idx="125">
                  <c:v>0.9633376688919506</c:v>
                </c:pt>
                <c:pt idx="126">
                  <c:v>0.96423731622111786</c:v>
                </c:pt>
                <c:pt idx="127">
                  <c:v>0.96511804750047081</c:v>
                </c:pt>
                <c:pt idx="128">
                  <c:v>0.96598440258196494</c:v>
                </c:pt>
                <c:pt idx="129">
                  <c:v>0.96684697445349621</c:v>
                </c:pt>
                <c:pt idx="130">
                  <c:v>0.96768382049728008</c:v>
                </c:pt>
                <c:pt idx="131">
                  <c:v>0.96851385676313073</c:v>
                </c:pt>
                <c:pt idx="132">
                  <c:v>0.96931665391724886</c:v>
                </c:pt>
                <c:pt idx="133">
                  <c:v>0.97011793778738187</c:v>
                </c:pt>
                <c:pt idx="134">
                  <c:v>0.97091543844755201</c:v>
                </c:pt>
                <c:pt idx="135">
                  <c:v>0.97170991253975192</c:v>
                </c:pt>
                <c:pt idx="136">
                  <c:v>0.9724650412483381</c:v>
                </c:pt>
                <c:pt idx="137">
                  <c:v>0.97321109025301344</c:v>
                </c:pt>
                <c:pt idx="138">
                  <c:v>0.97395411268971843</c:v>
                </c:pt>
                <c:pt idx="139">
                  <c:v>0.97467367922465376</c:v>
                </c:pt>
                <c:pt idx="140">
                  <c:v>0.9753758429937599</c:v>
                </c:pt>
                <c:pt idx="141">
                  <c:v>0.97606968370094782</c:v>
                </c:pt>
                <c:pt idx="142">
                  <c:v>0.97673401537042537</c:v>
                </c:pt>
                <c:pt idx="143">
                  <c:v>0.97737564778012587</c:v>
                </c:pt>
                <c:pt idx="144">
                  <c:v>0.97801652354783375</c:v>
                </c:pt>
                <c:pt idx="145">
                  <c:v>0.97864680632764567</c:v>
                </c:pt>
                <c:pt idx="146">
                  <c:v>0.97924833671173983</c:v>
                </c:pt>
                <c:pt idx="147">
                  <c:v>0.97984911045384149</c:v>
                </c:pt>
                <c:pt idx="148">
                  <c:v>0.98044231777601742</c:v>
                </c:pt>
                <c:pt idx="149">
                  <c:v>0.98100979927044585</c:v>
                </c:pt>
                <c:pt idx="150">
                  <c:v>0.98156139128303033</c:v>
                </c:pt>
                <c:pt idx="151">
                  <c:v>0.98209860709775598</c:v>
                </c:pt>
                <c:pt idx="152">
                  <c:v>0.98261312365270448</c:v>
                </c:pt>
                <c:pt idx="153">
                  <c:v>0.98310569758986843</c:v>
                </c:pt>
                <c:pt idx="154">
                  <c:v>0.98359600160105465</c:v>
                </c:pt>
                <c:pt idx="155">
                  <c:v>0.98408554897024825</c:v>
                </c:pt>
                <c:pt idx="156">
                  <c:v>0.98456374670955327</c:v>
                </c:pt>
                <c:pt idx="157">
                  <c:v>0.98501319205314064</c:v>
                </c:pt>
                <c:pt idx="158">
                  <c:v>0.9854558276187948</c:v>
                </c:pt>
                <c:pt idx="159">
                  <c:v>0.98587198071470905</c:v>
                </c:pt>
                <c:pt idx="160">
                  <c:v>0.98627375761276437</c:v>
                </c:pt>
                <c:pt idx="161">
                  <c:v>0.98666494152292372</c:v>
                </c:pt>
                <c:pt idx="162">
                  <c:v>0.98705536879109046</c:v>
                </c:pt>
                <c:pt idx="163">
                  <c:v>0.98743066321940587</c:v>
                </c:pt>
                <c:pt idx="164">
                  <c:v>0.9878014177957658</c:v>
                </c:pt>
                <c:pt idx="165">
                  <c:v>0.98816611923618514</c:v>
                </c:pt>
                <c:pt idx="166">
                  <c:v>0.98852930739261935</c:v>
                </c:pt>
                <c:pt idx="167">
                  <c:v>0.98889022562307582</c:v>
                </c:pt>
                <c:pt idx="168">
                  <c:v>0.98923903758165121</c:v>
                </c:pt>
                <c:pt idx="169">
                  <c:v>0.98957422998436029</c:v>
                </c:pt>
                <c:pt idx="170">
                  <c:v>0.98990715246109162</c:v>
                </c:pt>
                <c:pt idx="171">
                  <c:v>0.99023553508586759</c:v>
                </c:pt>
                <c:pt idx="172">
                  <c:v>0.9905601345006807</c:v>
                </c:pt>
                <c:pt idx="173">
                  <c:v>0.99088095070553095</c:v>
                </c:pt>
                <c:pt idx="174">
                  <c:v>0.99119874034241084</c:v>
                </c:pt>
                <c:pt idx="175">
                  <c:v>0.99150896355936502</c:v>
                </c:pt>
                <c:pt idx="176">
                  <c:v>0.99181540356635645</c:v>
                </c:pt>
                <c:pt idx="177">
                  <c:v>0.99211654707939978</c:v>
                </c:pt>
                <c:pt idx="178">
                  <c:v>0.99240709760454715</c:v>
                </c:pt>
                <c:pt idx="179">
                  <c:v>0.99267646215390248</c:v>
                </c:pt>
                <c:pt idx="180">
                  <c:v>0.99294204349329496</c:v>
                </c:pt>
                <c:pt idx="181">
                  <c:v>0.99319551856080635</c:v>
                </c:pt>
                <c:pt idx="182">
                  <c:v>0.99344369713436975</c:v>
                </c:pt>
                <c:pt idx="183">
                  <c:v>0.99366690652217826</c:v>
                </c:pt>
                <c:pt idx="184">
                  <c:v>0.99387498307013533</c:v>
                </c:pt>
                <c:pt idx="185">
                  <c:v>0.99407549319816668</c:v>
                </c:pt>
                <c:pt idx="186">
                  <c:v>0.99426919354826493</c:v>
                </c:pt>
                <c:pt idx="187">
                  <c:v>0.99446213725637056</c:v>
                </c:pt>
                <c:pt idx="188">
                  <c:v>0.99463692155665451</c:v>
                </c:pt>
                <c:pt idx="189">
                  <c:v>0.99481019257295333</c:v>
                </c:pt>
                <c:pt idx="190">
                  <c:v>0.99497589716932644</c:v>
                </c:pt>
                <c:pt idx="191">
                  <c:v>0.99513781855573669</c:v>
                </c:pt>
                <c:pt idx="192">
                  <c:v>0.99529822665816181</c:v>
                </c:pt>
                <c:pt idx="193">
                  <c:v>0.99545712147660181</c:v>
                </c:pt>
                <c:pt idx="194">
                  <c:v>0.99561223308507896</c:v>
                </c:pt>
                <c:pt idx="195">
                  <c:v>0.99576204819960812</c:v>
                </c:pt>
                <c:pt idx="196">
                  <c:v>0.99590959338815954</c:v>
                </c:pt>
                <c:pt idx="197">
                  <c:v>0.99605335536674811</c:v>
                </c:pt>
                <c:pt idx="198">
                  <c:v>0.99619409077736631</c:v>
                </c:pt>
                <c:pt idx="199">
                  <c:v>0.99633179962001428</c:v>
                </c:pt>
                <c:pt idx="200">
                  <c:v>0.99646799517867712</c:v>
                </c:pt>
                <c:pt idx="201">
                  <c:v>0.99659889424339199</c:v>
                </c:pt>
                <c:pt idx="202">
                  <c:v>0.99672752338212911</c:v>
                </c:pt>
                <c:pt idx="203">
                  <c:v>0.99685539587887362</c:v>
                </c:pt>
                <c:pt idx="204">
                  <c:v>0.99698251173362562</c:v>
                </c:pt>
                <c:pt idx="205">
                  <c:v>0.9971081143043925</c:v>
                </c:pt>
                <c:pt idx="206">
                  <c:v>0.99723144694918164</c:v>
                </c:pt>
                <c:pt idx="207">
                  <c:v>0.99735175302600043</c:v>
                </c:pt>
                <c:pt idx="208">
                  <c:v>0.99747205910281922</c:v>
                </c:pt>
                <c:pt idx="209">
                  <c:v>0.9975916085376455</c:v>
                </c:pt>
                <c:pt idx="210">
                  <c:v>0.99771040133047917</c:v>
                </c:pt>
                <c:pt idx="211">
                  <c:v>0.99781935777740949</c:v>
                </c:pt>
                <c:pt idx="212">
                  <c:v>0.99792226108839921</c:v>
                </c:pt>
                <c:pt idx="213">
                  <c:v>0.99802213783141858</c:v>
                </c:pt>
                <c:pt idx="214">
                  <c:v>0.99811974464846032</c:v>
                </c:pt>
                <c:pt idx="215">
                  <c:v>0.99821659482350944</c:v>
                </c:pt>
                <c:pt idx="216">
                  <c:v>0.99831193171457344</c:v>
                </c:pt>
                <c:pt idx="217">
                  <c:v>0.99840575532165232</c:v>
                </c:pt>
                <c:pt idx="218">
                  <c:v>0.99849806564474597</c:v>
                </c:pt>
                <c:pt idx="219">
                  <c:v>0.99858507947389163</c:v>
                </c:pt>
                <c:pt idx="220">
                  <c:v>0.99867058001905218</c:v>
                </c:pt>
                <c:pt idx="221">
                  <c:v>0.99875002742827212</c:v>
                </c:pt>
                <c:pt idx="222">
                  <c:v>0.99882569162752921</c:v>
                </c:pt>
                <c:pt idx="223">
                  <c:v>0.99889757261682344</c:v>
                </c:pt>
                <c:pt idx="224">
                  <c:v>0.99896869696412516</c:v>
                </c:pt>
                <c:pt idx="225">
                  <c:v>0.99903225489150116</c:v>
                </c:pt>
                <c:pt idx="226">
                  <c:v>0.9990920296089143</c:v>
                </c:pt>
                <c:pt idx="227">
                  <c:v>0.9991495344003497</c:v>
                </c:pt>
                <c:pt idx="228">
                  <c:v>0.9992062825497926</c:v>
                </c:pt>
                <c:pt idx="229">
                  <c:v>0.99926151741525027</c:v>
                </c:pt>
                <c:pt idx="230">
                  <c:v>0.9993144823547303</c:v>
                </c:pt>
                <c:pt idx="231">
                  <c:v>0.99936669065221773</c:v>
                </c:pt>
                <c:pt idx="232">
                  <c:v>0.99941814230771253</c:v>
                </c:pt>
                <c:pt idx="233">
                  <c:v>0.99946354082726685</c:v>
                </c:pt>
                <c:pt idx="234">
                  <c:v>0.99950666942084343</c:v>
                </c:pt>
                <c:pt idx="235">
                  <c:v>0.99954752808844227</c:v>
                </c:pt>
                <c:pt idx="236">
                  <c:v>0.99958233362010052</c:v>
                </c:pt>
                <c:pt idx="237">
                  <c:v>0.99961562586777364</c:v>
                </c:pt>
                <c:pt idx="238">
                  <c:v>0.99964891811544676</c:v>
                </c:pt>
                <c:pt idx="239">
                  <c:v>0.99968221036311988</c:v>
                </c:pt>
                <c:pt idx="240">
                  <c:v>0.99971247604282276</c:v>
                </c:pt>
                <c:pt idx="241">
                  <c:v>0.99974122843854052</c:v>
                </c:pt>
                <c:pt idx="242">
                  <c:v>0.99976998083425828</c:v>
                </c:pt>
                <c:pt idx="243">
                  <c:v>0.99979873322997603</c:v>
                </c:pt>
                <c:pt idx="244">
                  <c:v>0.99982597234170856</c:v>
                </c:pt>
                <c:pt idx="245">
                  <c:v>0.99985245481144858</c:v>
                </c:pt>
                <c:pt idx="246">
                  <c:v>0.9998789372811886</c:v>
                </c:pt>
                <c:pt idx="247">
                  <c:v>0.99990390646694349</c:v>
                </c:pt>
                <c:pt idx="248">
                  <c:v>0.99992660572672065</c:v>
                </c:pt>
                <c:pt idx="249">
                  <c:v>0.99994779170251269</c:v>
                </c:pt>
                <c:pt idx="250">
                  <c:v>0.99996519446834187</c:v>
                </c:pt>
                <c:pt idx="251">
                  <c:v>0.99998108395018581</c:v>
                </c:pt>
                <c:pt idx="252">
                  <c:v>0.99999092029608927</c:v>
                </c:pt>
                <c:pt idx="253">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0</c:f>
              <c:strCache>
                <c:ptCount val="259"/>
                <c:pt idx="0">
                  <c:v>Ruinart</c:v>
                </c:pt>
                <c:pt idx="1">
                  <c:v>Nicolas</c:v>
                </c:pt>
                <c:pt idx="2">
                  <c:v>Ruinart</c:v>
                </c:pt>
                <c:pt idx="3">
                  <c:v>Deutz</c:v>
                </c:pt>
                <c:pt idx="4">
                  <c:v>De Bligny</c:v>
                </c:pt>
                <c:pt idx="5">
                  <c:v>Heidsieck &amp;</c:v>
                </c:pt>
                <c:pt idx="6">
                  <c:v>Nicolas Feu</c:v>
                </c:pt>
                <c:pt idx="7">
                  <c:v>Malard</c:v>
                </c:pt>
                <c:pt idx="8">
                  <c:v>Ayala</c:v>
                </c:pt>
                <c:pt idx="9">
                  <c:v>Canard Duch</c:v>
                </c:pt>
                <c:pt idx="10">
                  <c:v>Laurent Per</c:v>
                </c:pt>
                <c:pt idx="11">
                  <c:v>Ruinart</c:v>
                </c:pt>
                <c:pt idx="12">
                  <c:v>Bollinger</c:v>
                </c:pt>
                <c:pt idx="13">
                  <c:v>Demoiselle</c:v>
                </c:pt>
                <c:pt idx="14">
                  <c:v>Taittinger</c:v>
                </c:pt>
                <c:pt idx="15">
                  <c:v>Ruinart</c:v>
                </c:pt>
                <c:pt idx="16">
                  <c:v>Ruinart</c:v>
                </c:pt>
                <c:pt idx="17">
                  <c:v>Deutz</c:v>
                </c:pt>
                <c:pt idx="18">
                  <c:v>Besserat De</c:v>
                </c:pt>
                <c:pt idx="19">
                  <c:v>All Others</c:v>
                </c:pt>
                <c:pt idx="20">
                  <c:v>Malard</c:v>
                </c:pt>
                <c:pt idx="21">
                  <c:v>Patriarche</c:v>
                </c:pt>
                <c:pt idx="22">
                  <c:v>Ruinart</c:v>
                </c:pt>
                <c:pt idx="23">
                  <c:v>Perrier Jou</c:v>
                </c:pt>
                <c:pt idx="24">
                  <c:v>Bottega</c:v>
                </c:pt>
                <c:pt idx="25">
                  <c:v>Vesselle</c:v>
                </c:pt>
                <c:pt idx="26">
                  <c:v>Savian</c:v>
                </c:pt>
                <c:pt idx="27">
                  <c:v>Laurent Per</c:v>
                </c:pt>
                <c:pt idx="28">
                  <c:v>Mure</c:v>
                </c:pt>
                <c:pt idx="29">
                  <c:v>All Others</c:v>
                </c:pt>
                <c:pt idx="30">
                  <c:v>Ruinart</c:v>
                </c:pt>
                <c:pt idx="31">
                  <c:v>All Others</c:v>
                </c:pt>
                <c:pt idx="32">
                  <c:v>Nicolas</c:v>
                </c:pt>
                <c:pt idx="33">
                  <c:v>Dom Perigno</c:v>
                </c:pt>
                <c:pt idx="34">
                  <c:v>Moët &amp; Chan</c:v>
                </c:pt>
                <c:pt idx="35">
                  <c:v>Campari: Al</c:v>
                </c:pt>
                <c:pt idx="36">
                  <c:v>Nicolas</c:v>
                </c:pt>
                <c:pt idx="37">
                  <c:v>Pommery</c:v>
                </c:pt>
                <c:pt idx="38">
                  <c:v>Dom Perigno</c:v>
                </c:pt>
                <c:pt idx="39">
                  <c:v>Moët &amp; Chan</c:v>
                </c:pt>
                <c:pt idx="40">
                  <c:v>Roederer</c:v>
                </c:pt>
                <c:pt idx="41">
                  <c:v>Veuve Clicq</c:v>
                </c:pt>
                <c:pt idx="42">
                  <c:v>Henriot</c:v>
                </c:pt>
                <c:pt idx="43">
                  <c:v>Deutz</c:v>
                </c:pt>
                <c:pt idx="44">
                  <c:v>Demoiselle</c:v>
                </c:pt>
                <c:pt idx="45">
                  <c:v>De Bligny</c:v>
                </c:pt>
                <c:pt idx="46">
                  <c:v>All Others</c:v>
                </c:pt>
                <c:pt idx="47">
                  <c:v>Taittinger</c:v>
                </c:pt>
                <c:pt idx="48">
                  <c:v>Ruinart</c:v>
                </c:pt>
                <c:pt idx="49">
                  <c:v>All Others</c:v>
                </c:pt>
                <c:pt idx="50">
                  <c:v>Kriter</c:v>
                </c:pt>
                <c:pt idx="51">
                  <c:v>Laurent Per</c:v>
                </c:pt>
                <c:pt idx="52">
                  <c:v>Veuve Clicq</c:v>
                </c:pt>
                <c:pt idx="53">
                  <c:v>Canard Duch</c:v>
                </c:pt>
                <c:pt idx="54">
                  <c:v>Bouvet-Ladu</c:v>
                </c:pt>
                <c:pt idx="55">
                  <c:v>Roederer</c:v>
                </c:pt>
                <c:pt idx="56">
                  <c:v>Veuve Clicq</c:v>
                </c:pt>
                <c:pt idx="57">
                  <c:v>De Chanceny</c:v>
                </c:pt>
                <c:pt idx="58">
                  <c:v>Besserat De</c:v>
                </c:pt>
                <c:pt idx="59">
                  <c:v>Malard</c:v>
                </c:pt>
                <c:pt idx="60">
                  <c:v>Nicolas</c:v>
                </c:pt>
                <c:pt idx="61">
                  <c:v>De Venoge</c:v>
                </c:pt>
                <c:pt idx="62">
                  <c:v>Chateau Mon</c:v>
                </c:pt>
                <c:pt idx="63">
                  <c:v>Lyre's</c:v>
                </c:pt>
                <c:pt idx="64">
                  <c:v>Ruinart</c:v>
                </c:pt>
                <c:pt idx="65">
                  <c:v>Bollinger</c:v>
                </c:pt>
                <c:pt idx="66">
                  <c:v>Malard</c:v>
                </c:pt>
                <c:pt idx="67">
                  <c:v>Ruinart</c:v>
                </c:pt>
                <c:pt idx="68">
                  <c:v>De Venoge</c:v>
                </c:pt>
                <c:pt idx="69">
                  <c:v>Nicolas Feu</c:v>
                </c:pt>
                <c:pt idx="70">
                  <c:v>All Others</c:v>
                </c:pt>
                <c:pt idx="71">
                  <c:v>Deutz</c:v>
                </c:pt>
                <c:pt idx="72">
                  <c:v>Canard Duch</c:v>
                </c:pt>
                <c:pt idx="73">
                  <c:v>Besserat De</c:v>
                </c:pt>
                <c:pt idx="74">
                  <c:v>Malard</c:v>
                </c:pt>
                <c:pt idx="75">
                  <c:v>De Venoge</c:v>
                </c:pt>
                <c:pt idx="76">
                  <c:v>Nicolas Feu</c:v>
                </c:pt>
                <c:pt idx="77">
                  <c:v>Piper Heids</c:v>
                </c:pt>
                <c:pt idx="78">
                  <c:v>Patriarche</c:v>
                </c:pt>
                <c:pt idx="79">
                  <c:v>Laurent Per</c:v>
                </c:pt>
                <c:pt idx="80">
                  <c:v>Louis Marti</c:v>
                </c:pt>
                <c:pt idx="81">
                  <c:v>Krug</c:v>
                </c:pt>
                <c:pt idx="82">
                  <c:v>Henriot</c:v>
                </c:pt>
                <c:pt idx="83">
                  <c:v>Savian</c:v>
                </c:pt>
                <c:pt idx="84">
                  <c:v>Lanson</c:v>
                </c:pt>
                <c:pt idx="85">
                  <c:v>Ruinart</c:v>
                </c:pt>
                <c:pt idx="86">
                  <c:v>Campari: Al</c:v>
                </c:pt>
                <c:pt idx="87">
                  <c:v>De Venoge</c:v>
                </c:pt>
                <c:pt idx="88">
                  <c:v>De Chanceny</c:v>
                </c:pt>
                <c:pt idx="89">
                  <c:v>Nicolas</c:v>
                </c:pt>
                <c:pt idx="90">
                  <c:v>Pommery</c:v>
                </c:pt>
                <c:pt idx="91">
                  <c:v>Delamotte</c:v>
                </c:pt>
                <c:pt idx="92">
                  <c:v>Nicolas Feu</c:v>
                </c:pt>
                <c:pt idx="93">
                  <c:v>Roederer</c:v>
                </c:pt>
                <c:pt idx="94">
                  <c:v>Roederer</c:v>
                </c:pt>
                <c:pt idx="95">
                  <c:v>Pommery</c:v>
                </c:pt>
                <c:pt idx="96">
                  <c:v>Henriot</c:v>
                </c:pt>
                <c:pt idx="97">
                  <c:v>Canard Duch</c:v>
                </c:pt>
                <c:pt idx="98">
                  <c:v>All Others</c:v>
                </c:pt>
                <c:pt idx="99">
                  <c:v>Nicolas</c:v>
                </c:pt>
                <c:pt idx="100">
                  <c:v>Dom Perigno</c:v>
                </c:pt>
                <c:pt idx="101">
                  <c:v>Henriot</c:v>
                </c:pt>
                <c:pt idx="102">
                  <c:v>Roederer</c:v>
                </c:pt>
                <c:pt idx="103">
                  <c:v>Ruinart</c:v>
                </c:pt>
                <c:pt idx="104">
                  <c:v>All Others</c:v>
                </c:pt>
                <c:pt idx="105">
                  <c:v>Moët &amp; Chan</c:v>
                </c:pt>
                <c:pt idx="106">
                  <c:v>Veuve Clicq</c:v>
                </c:pt>
                <c:pt idx="107">
                  <c:v>Roederer</c:v>
                </c:pt>
                <c:pt idx="108">
                  <c:v>Bottega</c:v>
                </c:pt>
                <c:pt idx="109">
                  <c:v>Deutz</c:v>
                </c:pt>
                <c:pt idx="110">
                  <c:v>Deutz</c:v>
                </c:pt>
                <c:pt idx="111">
                  <c:v>Nicolas</c:v>
                </c:pt>
                <c:pt idx="112">
                  <c:v>All Others</c:v>
                </c:pt>
                <c:pt idx="113">
                  <c:v>Malard</c:v>
                </c:pt>
                <c:pt idx="114">
                  <c:v>All Others</c:v>
                </c:pt>
                <c:pt idx="115">
                  <c:v>Ruinart</c:v>
                </c:pt>
                <c:pt idx="116">
                  <c:v>Roederer</c:v>
                </c:pt>
                <c:pt idx="117">
                  <c:v>Cru La Maqu</c:v>
                </c:pt>
                <c:pt idx="118">
                  <c:v>Taittinger</c:v>
                </c:pt>
                <c:pt idx="119">
                  <c:v>Vranken</c:v>
                </c:pt>
                <c:pt idx="120">
                  <c:v>Ruinart</c:v>
                </c:pt>
                <c:pt idx="121">
                  <c:v>Vranken</c:v>
                </c:pt>
                <c:pt idx="122">
                  <c:v>Contarini</c:v>
                </c:pt>
                <c:pt idx="123">
                  <c:v>All Others</c:v>
                </c:pt>
                <c:pt idx="124">
                  <c:v>Nicolas</c:v>
                </c:pt>
                <c:pt idx="125">
                  <c:v>Nicolas</c:v>
                </c:pt>
                <c:pt idx="126">
                  <c:v>Laurent Per</c:v>
                </c:pt>
                <c:pt idx="127">
                  <c:v>All Others</c:v>
                </c:pt>
                <c:pt idx="128">
                  <c:v>Demoiselle</c:v>
                </c:pt>
                <c:pt idx="129">
                  <c:v>Perrier Jou</c:v>
                </c:pt>
                <c:pt idx="130">
                  <c:v>Nicolas</c:v>
                </c:pt>
                <c:pt idx="131">
                  <c:v>Nicolas</c:v>
                </c:pt>
                <c:pt idx="132">
                  <c:v>Nicolas</c:v>
                </c:pt>
                <c:pt idx="133">
                  <c:v>Ruinart</c:v>
                </c:pt>
                <c:pt idx="134">
                  <c:v>Laurent Per</c:v>
                </c:pt>
                <c:pt idx="135">
                  <c:v>Ayala</c:v>
                </c:pt>
                <c:pt idx="136">
                  <c:v>All Others</c:v>
                </c:pt>
                <c:pt idx="137">
                  <c:v>Roederer</c:v>
                </c:pt>
                <c:pt idx="138">
                  <c:v>Canard Duch</c:v>
                </c:pt>
                <c:pt idx="139">
                  <c:v>Roederer</c:v>
                </c:pt>
                <c:pt idx="140">
                  <c:v>Ruinart</c:v>
                </c:pt>
                <c:pt idx="141">
                  <c:v>All Others</c:v>
                </c:pt>
                <c:pt idx="142">
                  <c:v>Canard Duch</c:v>
                </c:pt>
                <c:pt idx="143">
                  <c:v>All Others</c:v>
                </c:pt>
                <c:pt idx="144">
                  <c:v>Ayala</c:v>
                </c:pt>
                <c:pt idx="145">
                  <c:v>Nicolas Feu</c:v>
                </c:pt>
                <c:pt idx="146">
                  <c:v>All Others</c:v>
                </c:pt>
                <c:pt idx="147">
                  <c:v>All Others</c:v>
                </c:pt>
                <c:pt idx="148">
                  <c:v>Piper Heids</c:v>
                </c:pt>
                <c:pt idx="149">
                  <c:v>Ruinart</c:v>
                </c:pt>
                <c:pt idx="150">
                  <c:v>All Others</c:v>
                </c:pt>
                <c:pt idx="151">
                  <c:v>Ruinart</c:v>
                </c:pt>
                <c:pt idx="152">
                  <c:v>Nicolas</c:v>
                </c:pt>
                <c:pt idx="153">
                  <c:v>Nicolas</c:v>
                </c:pt>
                <c:pt idx="154">
                  <c:v>All Others</c:v>
                </c:pt>
                <c:pt idx="155">
                  <c:v>Pommery</c:v>
                </c:pt>
                <c:pt idx="156">
                  <c:v>Bollinger</c:v>
                </c:pt>
                <c:pt idx="157">
                  <c:v>Besserat De</c:v>
                </c:pt>
                <c:pt idx="158">
                  <c:v>Roederer</c:v>
                </c:pt>
                <c:pt idx="159">
                  <c:v>Roederer</c:v>
                </c:pt>
                <c:pt idx="160">
                  <c:v>Taittinger</c:v>
                </c:pt>
                <c:pt idx="161">
                  <c:v>Pommery</c:v>
                </c:pt>
                <c:pt idx="162">
                  <c:v>Ruinart</c:v>
                </c:pt>
                <c:pt idx="163">
                  <c:v>Roederer</c:v>
                </c:pt>
                <c:pt idx="164">
                  <c:v>Roederer</c:v>
                </c:pt>
                <c:pt idx="165">
                  <c:v>Ruinart</c:v>
                </c:pt>
                <c:pt idx="166">
                  <c:v>Perrier Jou</c:v>
                </c:pt>
                <c:pt idx="167">
                  <c:v>Taittinger</c:v>
                </c:pt>
                <c:pt idx="168">
                  <c:v>All Others</c:v>
                </c:pt>
                <c:pt idx="169">
                  <c:v>All Others</c:v>
                </c:pt>
                <c:pt idx="170">
                  <c:v>Louis Marti</c:v>
                </c:pt>
                <c:pt idx="171">
                  <c:v>All Others</c:v>
                </c:pt>
                <c:pt idx="172">
                  <c:v>Pommery</c:v>
                </c:pt>
                <c:pt idx="173">
                  <c:v>All Others</c:v>
                </c:pt>
                <c:pt idx="174">
                  <c:v>All Others</c:v>
                </c:pt>
                <c:pt idx="175">
                  <c:v>All Others</c:v>
                </c:pt>
                <c:pt idx="176">
                  <c:v>Deutz</c:v>
                </c:pt>
                <c:pt idx="177">
                  <c:v>Roederer</c:v>
                </c:pt>
                <c:pt idx="178">
                  <c:v>Canard Duch</c:v>
                </c:pt>
                <c:pt idx="179">
                  <c:v>Nicolas</c:v>
                </c:pt>
                <c:pt idx="180">
                  <c:v>Demoiselle</c:v>
                </c:pt>
                <c:pt idx="181">
                  <c:v>Vranken</c:v>
                </c:pt>
                <c:pt idx="182">
                  <c:v>Moët &amp; Chan</c:v>
                </c:pt>
                <c:pt idx="183">
                  <c:v>Lanson</c:v>
                </c:pt>
                <c:pt idx="184">
                  <c:v>Vesselle</c:v>
                </c:pt>
                <c:pt idx="185">
                  <c:v>Nicolas</c:v>
                </c:pt>
                <c:pt idx="186">
                  <c:v>Ruinart</c:v>
                </c:pt>
                <c:pt idx="187">
                  <c:v>All Others</c:v>
                </c:pt>
                <c:pt idx="188">
                  <c:v>All Others</c:v>
                </c:pt>
                <c:pt idx="189">
                  <c:v>Dom Perigno</c:v>
                </c:pt>
                <c:pt idx="190">
                  <c:v>Nicolas Feu</c:v>
                </c:pt>
                <c:pt idx="191">
                  <c:v>Besserat De</c:v>
                </c:pt>
                <c:pt idx="192">
                  <c:v>Roederer</c:v>
                </c:pt>
                <c:pt idx="193">
                  <c:v>All Others</c:v>
                </c:pt>
                <c:pt idx="194">
                  <c:v>Bouvet-Ladu</c:v>
                </c:pt>
                <c:pt idx="195">
                  <c:v>All Others</c:v>
                </c:pt>
                <c:pt idx="196">
                  <c:v>De Venoge</c:v>
                </c:pt>
                <c:pt idx="197">
                  <c:v>Piper Heids</c:v>
                </c:pt>
                <c:pt idx="198">
                  <c:v>Laurent Per</c:v>
                </c:pt>
                <c:pt idx="199">
                  <c:v>Bollinger</c:v>
                </c:pt>
                <c:pt idx="200">
                  <c:v>Nicolas</c:v>
                </c:pt>
                <c:pt idx="201">
                  <c:v>Contarini</c:v>
                </c:pt>
                <c:pt idx="202">
                  <c:v>Laurent Per</c:v>
                </c:pt>
                <c:pt idx="203">
                  <c:v>Deutz</c:v>
                </c:pt>
                <c:pt idx="204">
                  <c:v>Pommery</c:v>
                </c:pt>
                <c:pt idx="205">
                  <c:v>Ruinart</c:v>
                </c:pt>
                <c:pt idx="206">
                  <c:v>Pommery</c:v>
                </c:pt>
                <c:pt idx="207">
                  <c:v>De Venoge</c:v>
                </c:pt>
                <c:pt idx="208">
                  <c:v>Roederer</c:v>
                </c:pt>
                <c:pt idx="209">
                  <c:v>Pommery</c:v>
                </c:pt>
                <c:pt idx="210">
                  <c:v>Moët &amp; Chan</c:v>
                </c:pt>
                <c:pt idx="211">
                  <c:v>Laurent Per</c:v>
                </c:pt>
                <c:pt idx="212">
                  <c:v>Martel</c:v>
                </c:pt>
                <c:pt idx="213">
                  <c:v>Piper Heids</c:v>
                </c:pt>
                <c:pt idx="214">
                  <c:v>Bouvet-Ladu</c:v>
                </c:pt>
                <c:pt idx="215">
                  <c:v>Lanson</c:v>
                </c:pt>
                <c:pt idx="216">
                  <c:v>Piper Heids</c:v>
                </c:pt>
                <c:pt idx="217">
                  <c:v>Bollinger</c:v>
                </c:pt>
                <c:pt idx="218">
                  <c:v>De Venoge</c:v>
                </c:pt>
                <c:pt idx="219">
                  <c:v>All Others</c:v>
                </c:pt>
                <c:pt idx="220">
                  <c:v>De Venoge</c:v>
                </c:pt>
                <c:pt idx="221">
                  <c:v>All Others</c:v>
                </c:pt>
                <c:pt idx="222">
                  <c:v>Bouvet-Ladu</c:v>
                </c:pt>
                <c:pt idx="223">
                  <c:v>Laurent Per</c:v>
                </c:pt>
                <c:pt idx="224">
                  <c:v>Bollinger</c:v>
                </c:pt>
                <c:pt idx="225">
                  <c:v>Malard</c:v>
                </c:pt>
                <c:pt idx="226">
                  <c:v>Nicolas</c:v>
                </c:pt>
                <c:pt idx="227">
                  <c:v>Delamotte</c:v>
                </c:pt>
                <c:pt idx="228">
                  <c:v>Roederer</c:v>
                </c:pt>
                <c:pt idx="229">
                  <c:v>Vesselle</c:v>
                </c:pt>
                <c:pt idx="230">
                  <c:v>Celene</c:v>
                </c:pt>
                <c:pt idx="231">
                  <c:v>Henriot</c:v>
                </c:pt>
                <c:pt idx="232">
                  <c:v>All Others</c:v>
                </c:pt>
                <c:pt idx="233">
                  <c:v>Canard Duch</c:v>
                </c:pt>
                <c:pt idx="234">
                  <c:v>Roederer</c:v>
                </c:pt>
                <c:pt idx="235">
                  <c:v>All Others</c:v>
                </c:pt>
                <c:pt idx="236">
                  <c:v>Malard</c:v>
                </c:pt>
                <c:pt idx="237">
                  <c:v>Nicolas</c:v>
                </c:pt>
                <c:pt idx="238">
                  <c:v>Bouvet-Ladu</c:v>
                </c:pt>
                <c:pt idx="239">
                  <c:v>Bouvet-Ladu</c:v>
                </c:pt>
                <c:pt idx="240">
                  <c:v>Deutz</c:v>
                </c:pt>
                <c:pt idx="241">
                  <c:v>Laurent Per</c:v>
                </c:pt>
                <c:pt idx="242">
                  <c:v>Bottega</c:v>
                </c:pt>
                <c:pt idx="243">
                  <c:v>All Others</c:v>
                </c:pt>
                <c:pt idx="244">
                  <c:v>Henriot</c:v>
                </c:pt>
                <c:pt idx="245">
                  <c:v>Celene</c:v>
                </c:pt>
                <c:pt idx="246">
                  <c:v>All Others</c:v>
                </c:pt>
                <c:pt idx="247">
                  <c:v>Moët &amp; Chan</c:v>
                </c:pt>
                <c:pt idx="248">
                  <c:v>Nicolas</c:v>
                </c:pt>
                <c:pt idx="249">
                  <c:v>All Others</c:v>
                </c:pt>
                <c:pt idx="250">
                  <c:v>Veuve Clicq</c:v>
                </c:pt>
                <c:pt idx="251">
                  <c:v>Bollinger</c:v>
                </c:pt>
                <c:pt idx="252">
                  <c:v>Jaillance</c:v>
                </c:pt>
                <c:pt idx="253">
                  <c:v>All Others</c:v>
                </c:pt>
                <c:pt idx="254">
                  <c:v>All Others</c:v>
                </c:pt>
                <c:pt idx="255">
                  <c:v>All Others</c:v>
                </c:pt>
                <c:pt idx="256">
                  <c:v>All Others</c:v>
                </c:pt>
                <c:pt idx="257">
                  <c:v>All Others</c:v>
                </c:pt>
                <c:pt idx="258">
                  <c:v>All Others</c:v>
                </c:pt>
              </c:strCache>
            </c:strRef>
          </c:cat>
          <c:val>
            <c:numRef>
              <c:f>Sheet1!$B$2:$B$260</c:f>
              <c:numCache>
                <c:formatCode>General</c:formatCode>
                <c:ptCount val="259"/>
                <c:pt idx="0">
                  <c:v>1</c:v>
                </c:pt>
                <c:pt idx="1">
                  <c:v>1</c:v>
                </c:pt>
                <c:pt idx="2">
                  <c:v>0.88</c:v>
                </c:pt>
                <c:pt idx="3">
                  <c:v>0.97</c:v>
                </c:pt>
                <c:pt idx="4">
                  <c:v>1</c:v>
                </c:pt>
                <c:pt idx="5">
                  <c:v>1</c:v>
                </c:pt>
                <c:pt idx="6">
                  <c:v>0.93</c:v>
                </c:pt>
                <c:pt idx="7">
                  <c:v>0.97</c:v>
                </c:pt>
                <c:pt idx="8">
                  <c:v>1</c:v>
                </c:pt>
                <c:pt idx="9">
                  <c:v>1</c:v>
                </c:pt>
                <c:pt idx="10">
                  <c:v>1</c:v>
                </c:pt>
                <c:pt idx="11">
                  <c:v>0.92</c:v>
                </c:pt>
                <c:pt idx="12">
                  <c:v>1</c:v>
                </c:pt>
                <c:pt idx="13">
                  <c:v>0.91</c:v>
                </c:pt>
                <c:pt idx="14">
                  <c:v>0.93</c:v>
                </c:pt>
                <c:pt idx="15">
                  <c:v>0.65</c:v>
                </c:pt>
                <c:pt idx="16">
                  <c:v>0.65</c:v>
                </c:pt>
                <c:pt idx="17">
                  <c:v>0.61</c:v>
                </c:pt>
                <c:pt idx="18">
                  <c:v>1</c:v>
                </c:pt>
                <c:pt idx="19">
                  <c:v>0.96</c:v>
                </c:pt>
                <c:pt idx="20">
                  <c:v>0.85</c:v>
                </c:pt>
                <c:pt idx="21">
                  <c:v>0.94</c:v>
                </c:pt>
                <c:pt idx="22">
                  <c:v>0.72</c:v>
                </c:pt>
                <c:pt idx="23">
                  <c:v>0.7</c:v>
                </c:pt>
                <c:pt idx="24">
                  <c:v>0.83</c:v>
                </c:pt>
                <c:pt idx="25">
                  <c:v>0.7</c:v>
                </c:pt>
                <c:pt idx="26">
                  <c:v>0.75</c:v>
                </c:pt>
                <c:pt idx="27">
                  <c:v>0.79</c:v>
                </c:pt>
                <c:pt idx="28">
                  <c:v>0.93</c:v>
                </c:pt>
                <c:pt idx="29">
                  <c:v>0.73</c:v>
                </c:pt>
                <c:pt idx="30">
                  <c:v>0.31</c:v>
                </c:pt>
                <c:pt idx="31">
                  <c:v>0.67</c:v>
                </c:pt>
                <c:pt idx="32">
                  <c:v>0.63</c:v>
                </c:pt>
                <c:pt idx="33">
                  <c:v>0.28000000000000003</c:v>
                </c:pt>
                <c:pt idx="34">
                  <c:v>0.55000000000000004</c:v>
                </c:pt>
                <c:pt idx="35">
                  <c:v>0.64</c:v>
                </c:pt>
                <c:pt idx="36">
                  <c:v>0.79</c:v>
                </c:pt>
                <c:pt idx="37">
                  <c:v>0.77</c:v>
                </c:pt>
                <c:pt idx="38">
                  <c:v>0.38</c:v>
                </c:pt>
                <c:pt idx="39">
                  <c:v>0.71</c:v>
                </c:pt>
                <c:pt idx="40">
                  <c:v>0.73</c:v>
                </c:pt>
                <c:pt idx="41">
                  <c:v>0.66</c:v>
                </c:pt>
                <c:pt idx="42">
                  <c:v>0.47</c:v>
                </c:pt>
                <c:pt idx="43">
                  <c:v>0.79</c:v>
                </c:pt>
                <c:pt idx="44">
                  <c:v>0.8</c:v>
                </c:pt>
                <c:pt idx="45">
                  <c:v>0.7</c:v>
                </c:pt>
                <c:pt idx="46">
                  <c:v>0.59</c:v>
                </c:pt>
                <c:pt idx="47">
                  <c:v>0.41</c:v>
                </c:pt>
                <c:pt idx="48">
                  <c:v>0.64</c:v>
                </c:pt>
                <c:pt idx="49">
                  <c:v>0.47</c:v>
                </c:pt>
                <c:pt idx="50">
                  <c:v>0.93</c:v>
                </c:pt>
                <c:pt idx="51">
                  <c:v>0.64</c:v>
                </c:pt>
                <c:pt idx="52">
                  <c:v>0.42</c:v>
                </c:pt>
                <c:pt idx="53">
                  <c:v>0.86</c:v>
                </c:pt>
                <c:pt idx="54">
                  <c:v>0.8</c:v>
                </c:pt>
                <c:pt idx="55">
                  <c:v>0.46</c:v>
                </c:pt>
                <c:pt idx="56">
                  <c:v>0.65</c:v>
                </c:pt>
                <c:pt idx="57">
                  <c:v>0.86</c:v>
                </c:pt>
                <c:pt idx="58">
                  <c:v>0.48</c:v>
                </c:pt>
                <c:pt idx="59">
                  <c:v>0.67</c:v>
                </c:pt>
                <c:pt idx="60">
                  <c:v>0.56000000000000005</c:v>
                </c:pt>
                <c:pt idx="61">
                  <c:v>0.56999999999999995</c:v>
                </c:pt>
                <c:pt idx="62">
                  <c:v>0.74</c:v>
                </c:pt>
                <c:pt idx="63">
                  <c:v>0.89</c:v>
                </c:pt>
                <c:pt idx="64">
                  <c:v>0.55000000000000004</c:v>
                </c:pt>
                <c:pt idx="65">
                  <c:v>0.41</c:v>
                </c:pt>
                <c:pt idx="66">
                  <c:v>0.46</c:v>
                </c:pt>
                <c:pt idx="67">
                  <c:v>0.28000000000000003</c:v>
                </c:pt>
                <c:pt idx="68">
                  <c:v>0.37</c:v>
                </c:pt>
                <c:pt idx="69">
                  <c:v>0.4</c:v>
                </c:pt>
                <c:pt idx="70">
                  <c:v>0.61</c:v>
                </c:pt>
                <c:pt idx="71">
                  <c:v>0.69</c:v>
                </c:pt>
                <c:pt idx="72">
                  <c:v>0.42</c:v>
                </c:pt>
                <c:pt idx="73">
                  <c:v>0.37</c:v>
                </c:pt>
                <c:pt idx="74">
                  <c:v>0.46</c:v>
                </c:pt>
                <c:pt idx="75">
                  <c:v>0.31</c:v>
                </c:pt>
                <c:pt idx="76">
                  <c:v>0.48</c:v>
                </c:pt>
                <c:pt idx="77">
                  <c:v>0.39</c:v>
                </c:pt>
                <c:pt idx="78">
                  <c:v>0.69</c:v>
                </c:pt>
                <c:pt idx="79">
                  <c:v>0.37</c:v>
                </c:pt>
                <c:pt idx="80">
                  <c:v>0.3</c:v>
                </c:pt>
                <c:pt idx="81">
                  <c:v>0.31</c:v>
                </c:pt>
                <c:pt idx="82">
                  <c:v>0.5</c:v>
                </c:pt>
                <c:pt idx="83">
                  <c:v>0.56999999999999995</c:v>
                </c:pt>
                <c:pt idx="84">
                  <c:v>0.37</c:v>
                </c:pt>
                <c:pt idx="85">
                  <c:v>0.36</c:v>
                </c:pt>
                <c:pt idx="86">
                  <c:v>0.33</c:v>
                </c:pt>
                <c:pt idx="87">
                  <c:v>0.6</c:v>
                </c:pt>
                <c:pt idx="88">
                  <c:v>0.74</c:v>
                </c:pt>
                <c:pt idx="89">
                  <c:v>0.56999999999999995</c:v>
                </c:pt>
                <c:pt idx="90">
                  <c:v>0.44</c:v>
                </c:pt>
                <c:pt idx="91">
                  <c:v>0.32</c:v>
                </c:pt>
                <c:pt idx="92">
                  <c:v>0.47</c:v>
                </c:pt>
                <c:pt idx="93">
                  <c:v>0.28000000000000003</c:v>
                </c:pt>
                <c:pt idx="94">
                  <c:v>0.21</c:v>
                </c:pt>
                <c:pt idx="95">
                  <c:v>0.27</c:v>
                </c:pt>
                <c:pt idx="96">
                  <c:v>0.46</c:v>
                </c:pt>
                <c:pt idx="97">
                  <c:v>0.28000000000000003</c:v>
                </c:pt>
                <c:pt idx="98">
                  <c:v>0.42</c:v>
                </c:pt>
                <c:pt idx="99">
                  <c:v>0.23</c:v>
                </c:pt>
                <c:pt idx="100">
                  <c:v>0.18</c:v>
                </c:pt>
                <c:pt idx="101">
                  <c:v>0.31</c:v>
                </c:pt>
                <c:pt idx="102">
                  <c:v>0.4</c:v>
                </c:pt>
                <c:pt idx="103">
                  <c:v>0.25</c:v>
                </c:pt>
                <c:pt idx="104">
                  <c:v>0.47</c:v>
                </c:pt>
                <c:pt idx="105">
                  <c:v>0.45</c:v>
                </c:pt>
                <c:pt idx="106">
                  <c:v>0.28000000000000003</c:v>
                </c:pt>
                <c:pt idx="107">
                  <c:v>0.26</c:v>
                </c:pt>
                <c:pt idx="108">
                  <c:v>0.64</c:v>
                </c:pt>
                <c:pt idx="109">
                  <c:v>0.23</c:v>
                </c:pt>
                <c:pt idx="110">
                  <c:v>0.71</c:v>
                </c:pt>
                <c:pt idx="111">
                  <c:v>0.25</c:v>
                </c:pt>
                <c:pt idx="112">
                  <c:v>0.63</c:v>
                </c:pt>
                <c:pt idx="113">
                  <c:v>0.27</c:v>
                </c:pt>
                <c:pt idx="114">
                  <c:v>0.3</c:v>
                </c:pt>
                <c:pt idx="115">
                  <c:v>0.18</c:v>
                </c:pt>
                <c:pt idx="116">
                  <c:v>0.23</c:v>
                </c:pt>
                <c:pt idx="117">
                  <c:v>0.48</c:v>
                </c:pt>
                <c:pt idx="118">
                  <c:v>0.11</c:v>
                </c:pt>
                <c:pt idx="119">
                  <c:v>0.35</c:v>
                </c:pt>
                <c:pt idx="120">
                  <c:v>0.23</c:v>
                </c:pt>
                <c:pt idx="121">
                  <c:v>0.35</c:v>
                </c:pt>
                <c:pt idx="122">
                  <c:v>0.62</c:v>
                </c:pt>
                <c:pt idx="123">
                  <c:v>0.67</c:v>
                </c:pt>
                <c:pt idx="124">
                  <c:v>0.26</c:v>
                </c:pt>
                <c:pt idx="125">
                  <c:v>0.15</c:v>
                </c:pt>
                <c:pt idx="126">
                  <c:v>0.21</c:v>
                </c:pt>
                <c:pt idx="127">
                  <c:v>0.38</c:v>
                </c:pt>
                <c:pt idx="128">
                  <c:v>0.69</c:v>
                </c:pt>
                <c:pt idx="129">
                  <c:v>0.23</c:v>
                </c:pt>
                <c:pt idx="130">
                  <c:v>0.28000000000000003</c:v>
                </c:pt>
                <c:pt idx="131">
                  <c:v>0.32</c:v>
                </c:pt>
                <c:pt idx="132">
                  <c:v>0.18</c:v>
                </c:pt>
                <c:pt idx="133">
                  <c:v>0.25</c:v>
                </c:pt>
                <c:pt idx="134">
                  <c:v>0.17</c:v>
                </c:pt>
                <c:pt idx="135">
                  <c:v>0.31</c:v>
                </c:pt>
                <c:pt idx="136">
                  <c:v>0.28000000000000003</c:v>
                </c:pt>
                <c:pt idx="137">
                  <c:v>0.33</c:v>
                </c:pt>
                <c:pt idx="138">
                  <c:v>0.41</c:v>
                </c:pt>
                <c:pt idx="139">
                  <c:v>0.28000000000000003</c:v>
                </c:pt>
                <c:pt idx="140">
                  <c:v>0.15</c:v>
                </c:pt>
                <c:pt idx="141">
                  <c:v>0.46</c:v>
                </c:pt>
                <c:pt idx="142">
                  <c:v>0.25</c:v>
                </c:pt>
                <c:pt idx="143">
                  <c:v>0.49</c:v>
                </c:pt>
                <c:pt idx="144">
                  <c:v>0.2</c:v>
                </c:pt>
                <c:pt idx="145">
                  <c:v>0.23</c:v>
                </c:pt>
                <c:pt idx="146">
                  <c:v>0.14000000000000001</c:v>
                </c:pt>
                <c:pt idx="147">
                  <c:v>0.42</c:v>
                </c:pt>
                <c:pt idx="148">
                  <c:v>0.14000000000000001</c:v>
                </c:pt>
                <c:pt idx="149">
                  <c:v>0.37</c:v>
                </c:pt>
                <c:pt idx="150">
                  <c:v>0.36</c:v>
                </c:pt>
                <c:pt idx="151">
                  <c:v>0.19</c:v>
                </c:pt>
                <c:pt idx="152">
                  <c:v>0.31</c:v>
                </c:pt>
                <c:pt idx="153">
                  <c:v>0.26</c:v>
                </c:pt>
                <c:pt idx="154">
                  <c:v>0.36</c:v>
                </c:pt>
                <c:pt idx="155">
                  <c:v>0.2</c:v>
                </c:pt>
                <c:pt idx="156">
                  <c:v>0.19</c:v>
                </c:pt>
                <c:pt idx="157">
                  <c:v>0.32</c:v>
                </c:pt>
                <c:pt idx="158">
                  <c:v>0.2</c:v>
                </c:pt>
                <c:pt idx="159">
                  <c:v>0.26</c:v>
                </c:pt>
                <c:pt idx="160">
                  <c:v>0.11</c:v>
                </c:pt>
                <c:pt idx="161">
                  <c:v>0.21</c:v>
                </c:pt>
                <c:pt idx="162">
                  <c:v>0.15</c:v>
                </c:pt>
                <c:pt idx="163">
                  <c:v>0.28000000000000003</c:v>
                </c:pt>
                <c:pt idx="164">
                  <c:v>0.19</c:v>
                </c:pt>
                <c:pt idx="165">
                  <c:v>0.18</c:v>
                </c:pt>
                <c:pt idx="166">
                  <c:v>0.2</c:v>
                </c:pt>
                <c:pt idx="167">
                  <c:v>0.12</c:v>
                </c:pt>
                <c:pt idx="168">
                  <c:v>0.28000000000000003</c:v>
                </c:pt>
                <c:pt idx="169">
                  <c:v>0.23</c:v>
                </c:pt>
                <c:pt idx="170">
                  <c:v>0.22</c:v>
                </c:pt>
                <c:pt idx="171">
                  <c:v>0.15</c:v>
                </c:pt>
                <c:pt idx="172">
                  <c:v>0.26</c:v>
                </c:pt>
                <c:pt idx="173">
                  <c:v>0.22</c:v>
                </c:pt>
                <c:pt idx="174">
                  <c:v>0.28000000000000003</c:v>
                </c:pt>
                <c:pt idx="175">
                  <c:v>0.12</c:v>
                </c:pt>
                <c:pt idx="176">
                  <c:v>0.13</c:v>
                </c:pt>
                <c:pt idx="177">
                  <c:v>0.18</c:v>
                </c:pt>
                <c:pt idx="178">
                  <c:v>0.22</c:v>
                </c:pt>
                <c:pt idx="179">
                  <c:v>0.27</c:v>
                </c:pt>
                <c:pt idx="180">
                  <c:v>0.27</c:v>
                </c:pt>
                <c:pt idx="181">
                  <c:v>0.14000000000000001</c:v>
                </c:pt>
                <c:pt idx="182">
                  <c:v>0.15</c:v>
                </c:pt>
                <c:pt idx="183">
                  <c:v>0.08</c:v>
                </c:pt>
                <c:pt idx="184">
                  <c:v>0.14000000000000001</c:v>
                </c:pt>
                <c:pt idx="185">
                  <c:v>0.44</c:v>
                </c:pt>
                <c:pt idx="186">
                  <c:v>0.09</c:v>
                </c:pt>
                <c:pt idx="187">
                  <c:v>0.15</c:v>
                </c:pt>
                <c:pt idx="188">
                  <c:v>0.25</c:v>
                </c:pt>
                <c:pt idx="189">
                  <c:v>0.06</c:v>
                </c:pt>
                <c:pt idx="190">
                  <c:v>0.15</c:v>
                </c:pt>
                <c:pt idx="191">
                  <c:v>0.19</c:v>
                </c:pt>
                <c:pt idx="192">
                  <c:v>0.05</c:v>
                </c:pt>
                <c:pt idx="193">
                  <c:v>0.06</c:v>
                </c:pt>
                <c:pt idx="194">
                  <c:v>0.2</c:v>
                </c:pt>
                <c:pt idx="195">
                  <c:v>0.12</c:v>
                </c:pt>
                <c:pt idx="196">
                  <c:v>0.06</c:v>
                </c:pt>
                <c:pt idx="197">
                  <c:v>0.12</c:v>
                </c:pt>
                <c:pt idx="198">
                  <c:v>0.18</c:v>
                </c:pt>
                <c:pt idx="199">
                  <c:v>0.1</c:v>
                </c:pt>
                <c:pt idx="200">
                  <c:v>0.11</c:v>
                </c:pt>
                <c:pt idx="201">
                  <c:v>0.14000000000000001</c:v>
                </c:pt>
                <c:pt idx="202">
                  <c:v>0.15</c:v>
                </c:pt>
                <c:pt idx="203">
                  <c:v>0.08</c:v>
                </c:pt>
                <c:pt idx="204">
                  <c:v>0.14000000000000001</c:v>
                </c:pt>
                <c:pt idx="205">
                  <c:v>0.1</c:v>
                </c:pt>
                <c:pt idx="206">
                  <c:v>0.1</c:v>
                </c:pt>
                <c:pt idx="207">
                  <c:v>7.0000000000000007E-2</c:v>
                </c:pt>
                <c:pt idx="208">
                  <c:v>0.14000000000000001</c:v>
                </c:pt>
                <c:pt idx="209">
                  <c:v>0.18</c:v>
                </c:pt>
                <c:pt idx="210">
                  <c:v>0.13</c:v>
                </c:pt>
                <c:pt idx="211">
                  <c:v>0.11</c:v>
                </c:pt>
                <c:pt idx="212">
                  <c:v>0.14000000000000001</c:v>
                </c:pt>
                <c:pt idx="213">
                  <c:v>0.14000000000000001</c:v>
                </c:pt>
                <c:pt idx="214">
                  <c:v>0.13</c:v>
                </c:pt>
                <c:pt idx="215">
                  <c:v>0.19</c:v>
                </c:pt>
                <c:pt idx="216">
                  <c:v>0.18</c:v>
                </c:pt>
                <c:pt idx="217">
                  <c:v>0.06</c:v>
                </c:pt>
                <c:pt idx="218">
                  <c:v>0.06</c:v>
                </c:pt>
                <c:pt idx="219">
                  <c:v>0.14000000000000001</c:v>
                </c:pt>
                <c:pt idx="220">
                  <c:v>7.0000000000000007E-2</c:v>
                </c:pt>
                <c:pt idx="221">
                  <c:v>0.33</c:v>
                </c:pt>
                <c:pt idx="222">
                  <c:v>0.2</c:v>
                </c:pt>
                <c:pt idx="223">
                  <c:v>0.06</c:v>
                </c:pt>
                <c:pt idx="224">
                  <c:v>0.06</c:v>
                </c:pt>
                <c:pt idx="225">
                  <c:v>0.11</c:v>
                </c:pt>
                <c:pt idx="226">
                  <c:v>0.11</c:v>
                </c:pt>
                <c:pt idx="227">
                  <c:v>0.05</c:v>
                </c:pt>
                <c:pt idx="228">
                  <c:v>0.17</c:v>
                </c:pt>
                <c:pt idx="229">
                  <c:v>0.23</c:v>
                </c:pt>
                <c:pt idx="230">
                  <c:v>0.15</c:v>
                </c:pt>
                <c:pt idx="231">
                  <c:v>0.06</c:v>
                </c:pt>
                <c:pt idx="232">
                  <c:v>0.15</c:v>
                </c:pt>
                <c:pt idx="233">
                  <c:v>0.09</c:v>
                </c:pt>
                <c:pt idx="234">
                  <c:v>0.11</c:v>
                </c:pt>
                <c:pt idx="235">
                  <c:v>0.16</c:v>
                </c:pt>
                <c:pt idx="236">
                  <c:v>0.1</c:v>
                </c:pt>
                <c:pt idx="237">
                  <c:v>0.06</c:v>
                </c:pt>
                <c:pt idx="238">
                  <c:v>0.16</c:v>
                </c:pt>
                <c:pt idx="239">
                  <c:v>0.08</c:v>
                </c:pt>
                <c:pt idx="240">
                  <c:v>0.05</c:v>
                </c:pt>
                <c:pt idx="241">
                  <c:v>0.05</c:v>
                </c:pt>
                <c:pt idx="242">
                  <c:v>0.15</c:v>
                </c:pt>
                <c:pt idx="243">
                  <c:v>0.05</c:v>
                </c:pt>
                <c:pt idx="244">
                  <c:v>0.12</c:v>
                </c:pt>
                <c:pt idx="245">
                  <c:v>0.15</c:v>
                </c:pt>
                <c:pt idx="246">
                  <c:v>0.13</c:v>
                </c:pt>
                <c:pt idx="247">
                  <c:v>0.04</c:v>
                </c:pt>
                <c:pt idx="248">
                  <c:v>0.1</c:v>
                </c:pt>
                <c:pt idx="249">
                  <c:v>0.1</c:v>
                </c:pt>
                <c:pt idx="250">
                  <c:v>0.17</c:v>
                </c:pt>
                <c:pt idx="251">
                  <c:v>0.06</c:v>
                </c:pt>
                <c:pt idx="252">
                  <c:v>0.1</c:v>
                </c:pt>
                <c:pt idx="253">
                  <c:v>0.13</c:v>
                </c:pt>
                <c:pt idx="254">
                  <c:v>0.12</c:v>
                </c:pt>
                <c:pt idx="255">
                  <c:v>0.13</c:v>
                </c:pt>
                <c:pt idx="256">
                  <c:v>0.09</c:v>
                </c:pt>
                <c:pt idx="257">
                  <c:v>0.06</c:v>
                </c:pt>
                <c:pt idx="258">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9E1D-4F4A-A888-7C8000C2A025}"/>
              </c:ext>
            </c:extLst>
          </c:dPt>
          <c:dPt>
            <c:idx val="211"/>
            <c:invertIfNegative val="1"/>
            <c:bubble3D val="0"/>
            <c:spPr>
              <a:solidFill>
                <a:srgbClr val="AEABAB"/>
              </a:solidFill>
            </c:spPr>
            <c:extLst>
              <c:ext xmlns:c16="http://schemas.microsoft.com/office/drawing/2014/chart" uri="{C3380CC4-5D6E-409C-BE32-E72D297353CC}">
                <c16:uniqueId val="{000001A9-9E1D-4F4A-A888-7C8000C2A025}"/>
              </c:ext>
            </c:extLst>
          </c:dPt>
          <c:dPt>
            <c:idx val="212"/>
            <c:invertIfNegative val="1"/>
            <c:bubble3D val="0"/>
            <c:spPr>
              <a:solidFill>
                <a:srgbClr val="AEABAB"/>
              </a:solidFill>
            </c:spPr>
            <c:extLst>
              <c:ext xmlns:c16="http://schemas.microsoft.com/office/drawing/2014/chart" uri="{C3380CC4-5D6E-409C-BE32-E72D297353CC}">
                <c16:uniqueId val="{000001AB-9E1D-4F4A-A888-7C8000C2A025}"/>
              </c:ext>
            </c:extLst>
          </c:dPt>
          <c:dPt>
            <c:idx val="213"/>
            <c:invertIfNegative val="1"/>
            <c:bubble3D val="0"/>
            <c:spPr>
              <a:solidFill>
                <a:srgbClr val="AEABAB"/>
              </a:solidFill>
            </c:spPr>
            <c:extLst>
              <c:ext xmlns:c16="http://schemas.microsoft.com/office/drawing/2014/chart" uri="{C3380CC4-5D6E-409C-BE32-E72D297353CC}">
                <c16:uniqueId val="{000001AD-9E1D-4F4A-A888-7C8000C2A025}"/>
              </c:ext>
            </c:extLst>
          </c:dPt>
          <c:dPt>
            <c:idx val="214"/>
            <c:invertIfNegative val="1"/>
            <c:bubble3D val="0"/>
            <c:spPr>
              <a:solidFill>
                <a:srgbClr val="AEABAB"/>
              </a:solidFill>
            </c:spPr>
            <c:extLst>
              <c:ext xmlns:c16="http://schemas.microsoft.com/office/drawing/2014/chart" uri="{C3380CC4-5D6E-409C-BE32-E72D297353CC}">
                <c16:uniqueId val="{000001AF-9E1D-4F4A-A888-7C8000C2A025}"/>
              </c:ext>
            </c:extLst>
          </c:dPt>
          <c:dPt>
            <c:idx val="215"/>
            <c:invertIfNegative val="1"/>
            <c:bubble3D val="0"/>
            <c:spPr>
              <a:solidFill>
                <a:srgbClr val="AEABAB"/>
              </a:solidFill>
            </c:spPr>
            <c:extLst>
              <c:ext xmlns:c16="http://schemas.microsoft.com/office/drawing/2014/chart" uri="{C3380CC4-5D6E-409C-BE32-E72D297353CC}">
                <c16:uniqueId val="{000001B1-9E1D-4F4A-A888-7C8000C2A025}"/>
              </c:ext>
            </c:extLst>
          </c:dPt>
          <c:dPt>
            <c:idx val="216"/>
            <c:invertIfNegative val="1"/>
            <c:bubble3D val="0"/>
            <c:spPr>
              <a:solidFill>
                <a:srgbClr val="AEABAB"/>
              </a:solidFill>
            </c:spPr>
            <c:extLst>
              <c:ext xmlns:c16="http://schemas.microsoft.com/office/drawing/2014/chart" uri="{C3380CC4-5D6E-409C-BE32-E72D297353CC}">
                <c16:uniqueId val="{000001B3-9E1D-4F4A-A888-7C8000C2A025}"/>
              </c:ext>
            </c:extLst>
          </c:dPt>
          <c:dPt>
            <c:idx val="217"/>
            <c:invertIfNegative val="1"/>
            <c:bubble3D val="0"/>
            <c:spPr>
              <a:solidFill>
                <a:srgbClr val="AEABAB"/>
              </a:solidFill>
            </c:spPr>
            <c:extLst>
              <c:ext xmlns:c16="http://schemas.microsoft.com/office/drawing/2014/chart" uri="{C3380CC4-5D6E-409C-BE32-E72D297353CC}">
                <c16:uniqueId val="{000001B5-9E1D-4F4A-A888-7C8000C2A025}"/>
              </c:ext>
            </c:extLst>
          </c:dPt>
          <c:dPt>
            <c:idx val="218"/>
            <c:invertIfNegative val="1"/>
            <c:bubble3D val="0"/>
            <c:spPr>
              <a:solidFill>
                <a:srgbClr val="AEABAB"/>
              </a:solidFill>
            </c:spPr>
            <c:extLst>
              <c:ext xmlns:c16="http://schemas.microsoft.com/office/drawing/2014/chart" uri="{C3380CC4-5D6E-409C-BE32-E72D297353CC}">
                <c16:uniqueId val="{000001B7-9E1D-4F4A-A888-7C8000C2A025}"/>
              </c:ext>
            </c:extLst>
          </c:dPt>
          <c:dPt>
            <c:idx val="219"/>
            <c:invertIfNegative val="1"/>
            <c:bubble3D val="0"/>
            <c:spPr>
              <a:solidFill>
                <a:srgbClr val="AEABAB"/>
              </a:solidFill>
            </c:spPr>
            <c:extLst>
              <c:ext xmlns:c16="http://schemas.microsoft.com/office/drawing/2014/chart" uri="{C3380CC4-5D6E-409C-BE32-E72D297353CC}">
                <c16:uniqueId val="{000001B9-9E1D-4F4A-A888-7C8000C2A025}"/>
              </c:ext>
            </c:extLst>
          </c:dPt>
          <c:dPt>
            <c:idx val="220"/>
            <c:invertIfNegative val="1"/>
            <c:bubble3D val="0"/>
            <c:spPr>
              <a:solidFill>
                <a:srgbClr val="AEABAB"/>
              </a:solidFill>
            </c:spPr>
            <c:extLst>
              <c:ext xmlns:c16="http://schemas.microsoft.com/office/drawing/2014/chart" uri="{C3380CC4-5D6E-409C-BE32-E72D297353CC}">
                <c16:uniqueId val="{000001BB-9E1D-4F4A-A888-7C8000C2A025}"/>
              </c:ext>
            </c:extLst>
          </c:dPt>
          <c:dPt>
            <c:idx val="221"/>
            <c:invertIfNegative val="1"/>
            <c:bubble3D val="0"/>
            <c:spPr>
              <a:solidFill>
                <a:srgbClr val="AEABAB"/>
              </a:solidFill>
            </c:spPr>
            <c:extLst>
              <c:ext xmlns:c16="http://schemas.microsoft.com/office/drawing/2014/chart" uri="{C3380CC4-5D6E-409C-BE32-E72D297353CC}">
                <c16:uniqueId val="{000001BD-9E1D-4F4A-A888-7C8000C2A025}"/>
              </c:ext>
            </c:extLst>
          </c:dPt>
          <c:dPt>
            <c:idx val="222"/>
            <c:invertIfNegative val="1"/>
            <c:bubble3D val="0"/>
            <c:spPr>
              <a:solidFill>
                <a:srgbClr val="AEABAB"/>
              </a:solidFill>
            </c:spPr>
            <c:extLst>
              <c:ext xmlns:c16="http://schemas.microsoft.com/office/drawing/2014/chart" uri="{C3380CC4-5D6E-409C-BE32-E72D297353CC}">
                <c16:uniqueId val="{000001BF-9E1D-4F4A-A888-7C8000C2A025}"/>
              </c:ext>
            </c:extLst>
          </c:dPt>
          <c:dPt>
            <c:idx val="223"/>
            <c:invertIfNegative val="1"/>
            <c:bubble3D val="0"/>
            <c:spPr>
              <a:solidFill>
                <a:srgbClr val="AEABAB"/>
              </a:solidFill>
            </c:spPr>
            <c:extLst>
              <c:ext xmlns:c16="http://schemas.microsoft.com/office/drawing/2014/chart" uri="{C3380CC4-5D6E-409C-BE32-E72D297353CC}">
                <c16:uniqueId val="{000001C1-9E1D-4F4A-A888-7C8000C2A025}"/>
              </c:ext>
            </c:extLst>
          </c:dPt>
          <c:dPt>
            <c:idx val="224"/>
            <c:invertIfNegative val="1"/>
            <c:bubble3D val="0"/>
            <c:spPr>
              <a:solidFill>
                <a:srgbClr val="AEABAB"/>
              </a:solidFill>
            </c:spPr>
            <c:extLst>
              <c:ext xmlns:c16="http://schemas.microsoft.com/office/drawing/2014/chart" uri="{C3380CC4-5D6E-409C-BE32-E72D297353CC}">
                <c16:uniqueId val="{000001C3-9E1D-4F4A-A888-7C8000C2A025}"/>
              </c:ext>
            </c:extLst>
          </c:dPt>
          <c:dPt>
            <c:idx val="225"/>
            <c:invertIfNegative val="1"/>
            <c:bubble3D val="0"/>
            <c:spPr>
              <a:solidFill>
                <a:srgbClr val="AEABAB"/>
              </a:solidFill>
            </c:spPr>
            <c:extLst>
              <c:ext xmlns:c16="http://schemas.microsoft.com/office/drawing/2014/chart" uri="{C3380CC4-5D6E-409C-BE32-E72D297353CC}">
                <c16:uniqueId val="{000001C5-9E1D-4F4A-A888-7C8000C2A025}"/>
              </c:ext>
            </c:extLst>
          </c:dPt>
          <c:dPt>
            <c:idx val="226"/>
            <c:invertIfNegative val="1"/>
            <c:bubble3D val="0"/>
            <c:spPr>
              <a:solidFill>
                <a:srgbClr val="AEABAB"/>
              </a:solidFill>
            </c:spPr>
            <c:extLst>
              <c:ext xmlns:c16="http://schemas.microsoft.com/office/drawing/2014/chart" uri="{C3380CC4-5D6E-409C-BE32-E72D297353CC}">
                <c16:uniqueId val="{000001C7-9E1D-4F4A-A888-7C8000C2A025}"/>
              </c:ext>
            </c:extLst>
          </c:dPt>
          <c:dPt>
            <c:idx val="227"/>
            <c:invertIfNegative val="1"/>
            <c:bubble3D val="0"/>
            <c:spPr>
              <a:solidFill>
                <a:srgbClr val="AEABAB"/>
              </a:solidFill>
            </c:spPr>
            <c:extLst>
              <c:ext xmlns:c16="http://schemas.microsoft.com/office/drawing/2014/chart" uri="{C3380CC4-5D6E-409C-BE32-E72D297353CC}">
                <c16:uniqueId val="{000001C9-9E1D-4F4A-A888-7C8000C2A025}"/>
              </c:ext>
            </c:extLst>
          </c:dPt>
          <c:dPt>
            <c:idx val="228"/>
            <c:invertIfNegative val="1"/>
            <c:bubble3D val="0"/>
            <c:spPr>
              <a:solidFill>
                <a:srgbClr val="AEABAB"/>
              </a:solidFill>
            </c:spPr>
            <c:extLst>
              <c:ext xmlns:c16="http://schemas.microsoft.com/office/drawing/2014/chart" uri="{C3380CC4-5D6E-409C-BE32-E72D297353CC}">
                <c16:uniqueId val="{000001CB-9E1D-4F4A-A888-7C8000C2A025}"/>
              </c:ext>
            </c:extLst>
          </c:dPt>
          <c:dPt>
            <c:idx val="229"/>
            <c:invertIfNegative val="1"/>
            <c:bubble3D val="0"/>
            <c:spPr>
              <a:solidFill>
                <a:srgbClr val="AEABAB"/>
              </a:solidFill>
            </c:spPr>
            <c:extLst>
              <c:ext xmlns:c16="http://schemas.microsoft.com/office/drawing/2014/chart" uri="{C3380CC4-5D6E-409C-BE32-E72D297353CC}">
                <c16:uniqueId val="{000001CD-9E1D-4F4A-A888-7C8000C2A025}"/>
              </c:ext>
            </c:extLst>
          </c:dPt>
          <c:dPt>
            <c:idx val="230"/>
            <c:invertIfNegative val="1"/>
            <c:bubble3D val="0"/>
            <c:spPr>
              <a:solidFill>
                <a:srgbClr val="AEABAB"/>
              </a:solidFill>
            </c:spPr>
            <c:extLst>
              <c:ext xmlns:c16="http://schemas.microsoft.com/office/drawing/2014/chart" uri="{C3380CC4-5D6E-409C-BE32-E72D297353CC}">
                <c16:uniqueId val="{000001CF-9E1D-4F4A-A888-7C8000C2A025}"/>
              </c:ext>
            </c:extLst>
          </c:dPt>
          <c:dPt>
            <c:idx val="231"/>
            <c:invertIfNegative val="1"/>
            <c:bubble3D val="0"/>
            <c:spPr>
              <a:solidFill>
                <a:srgbClr val="AEABAB"/>
              </a:solidFill>
            </c:spPr>
            <c:extLst>
              <c:ext xmlns:c16="http://schemas.microsoft.com/office/drawing/2014/chart" uri="{C3380CC4-5D6E-409C-BE32-E72D297353CC}">
                <c16:uniqueId val="{000001D1-9E1D-4F4A-A888-7C8000C2A025}"/>
              </c:ext>
            </c:extLst>
          </c:dPt>
          <c:dPt>
            <c:idx val="232"/>
            <c:invertIfNegative val="1"/>
            <c:bubble3D val="0"/>
            <c:spPr>
              <a:solidFill>
                <a:srgbClr val="AEABAB"/>
              </a:solidFill>
            </c:spPr>
            <c:extLst>
              <c:ext xmlns:c16="http://schemas.microsoft.com/office/drawing/2014/chart" uri="{C3380CC4-5D6E-409C-BE32-E72D297353CC}">
                <c16:uniqueId val="{000001D3-9E1D-4F4A-A888-7C8000C2A025}"/>
              </c:ext>
            </c:extLst>
          </c:dPt>
          <c:dPt>
            <c:idx val="233"/>
            <c:invertIfNegative val="1"/>
            <c:bubble3D val="0"/>
            <c:spPr>
              <a:solidFill>
                <a:srgbClr val="AEABAB"/>
              </a:solidFill>
            </c:spPr>
            <c:extLst>
              <c:ext xmlns:c16="http://schemas.microsoft.com/office/drawing/2014/chart" uri="{C3380CC4-5D6E-409C-BE32-E72D297353CC}">
                <c16:uniqueId val="{000001D5-9E1D-4F4A-A888-7C8000C2A025}"/>
              </c:ext>
            </c:extLst>
          </c:dPt>
          <c:dPt>
            <c:idx val="234"/>
            <c:invertIfNegative val="1"/>
            <c:bubble3D val="0"/>
            <c:spPr>
              <a:solidFill>
                <a:srgbClr val="AEABAB"/>
              </a:solidFill>
            </c:spPr>
            <c:extLst>
              <c:ext xmlns:c16="http://schemas.microsoft.com/office/drawing/2014/chart" uri="{C3380CC4-5D6E-409C-BE32-E72D297353CC}">
                <c16:uniqueId val="{000001D7-9E1D-4F4A-A888-7C8000C2A025}"/>
              </c:ext>
            </c:extLst>
          </c:dPt>
          <c:dPt>
            <c:idx val="235"/>
            <c:invertIfNegative val="1"/>
            <c:bubble3D val="0"/>
            <c:spPr>
              <a:solidFill>
                <a:srgbClr val="AEABAB"/>
              </a:solidFill>
            </c:spPr>
            <c:extLst>
              <c:ext xmlns:c16="http://schemas.microsoft.com/office/drawing/2014/chart" uri="{C3380CC4-5D6E-409C-BE32-E72D297353CC}">
                <c16:uniqueId val="{000001D9-9E1D-4F4A-A888-7C8000C2A025}"/>
              </c:ext>
            </c:extLst>
          </c:dPt>
          <c:dPt>
            <c:idx val="236"/>
            <c:invertIfNegative val="1"/>
            <c:bubble3D val="0"/>
            <c:spPr>
              <a:solidFill>
                <a:srgbClr val="AEABAB"/>
              </a:solidFill>
            </c:spPr>
            <c:extLst>
              <c:ext xmlns:c16="http://schemas.microsoft.com/office/drawing/2014/chart" uri="{C3380CC4-5D6E-409C-BE32-E72D297353CC}">
                <c16:uniqueId val="{000001DB-9E1D-4F4A-A888-7C8000C2A025}"/>
              </c:ext>
            </c:extLst>
          </c:dPt>
          <c:dPt>
            <c:idx val="237"/>
            <c:invertIfNegative val="1"/>
            <c:bubble3D val="0"/>
            <c:spPr>
              <a:solidFill>
                <a:srgbClr val="AEABAB"/>
              </a:solidFill>
            </c:spPr>
            <c:extLst>
              <c:ext xmlns:c16="http://schemas.microsoft.com/office/drawing/2014/chart" uri="{C3380CC4-5D6E-409C-BE32-E72D297353CC}">
                <c16:uniqueId val="{000001DD-9E1D-4F4A-A888-7C8000C2A025}"/>
              </c:ext>
            </c:extLst>
          </c:dPt>
          <c:dPt>
            <c:idx val="238"/>
            <c:invertIfNegative val="1"/>
            <c:bubble3D val="0"/>
            <c:spPr>
              <a:solidFill>
                <a:srgbClr val="AEABAB"/>
              </a:solidFill>
            </c:spPr>
            <c:extLst>
              <c:ext xmlns:c16="http://schemas.microsoft.com/office/drawing/2014/chart" uri="{C3380CC4-5D6E-409C-BE32-E72D297353CC}">
                <c16:uniqueId val="{000001DF-9E1D-4F4A-A888-7C8000C2A025}"/>
              </c:ext>
            </c:extLst>
          </c:dPt>
          <c:dPt>
            <c:idx val="239"/>
            <c:invertIfNegative val="1"/>
            <c:bubble3D val="0"/>
            <c:spPr>
              <a:solidFill>
                <a:srgbClr val="AEABAB"/>
              </a:solidFill>
            </c:spPr>
            <c:extLst>
              <c:ext xmlns:c16="http://schemas.microsoft.com/office/drawing/2014/chart" uri="{C3380CC4-5D6E-409C-BE32-E72D297353CC}">
                <c16:uniqueId val="{000001E1-9E1D-4F4A-A888-7C8000C2A025}"/>
              </c:ext>
            </c:extLst>
          </c:dPt>
          <c:dPt>
            <c:idx val="240"/>
            <c:invertIfNegative val="1"/>
            <c:bubble3D val="0"/>
            <c:spPr>
              <a:solidFill>
                <a:srgbClr val="AEABAB"/>
              </a:solidFill>
            </c:spPr>
            <c:extLst>
              <c:ext xmlns:c16="http://schemas.microsoft.com/office/drawing/2014/chart" uri="{C3380CC4-5D6E-409C-BE32-E72D297353CC}">
                <c16:uniqueId val="{000001E3-9E1D-4F4A-A888-7C8000C2A025}"/>
              </c:ext>
            </c:extLst>
          </c:dPt>
          <c:dPt>
            <c:idx val="241"/>
            <c:invertIfNegative val="1"/>
            <c:bubble3D val="0"/>
            <c:spPr>
              <a:solidFill>
                <a:srgbClr val="AEABAB"/>
              </a:solidFill>
            </c:spPr>
            <c:extLst>
              <c:ext xmlns:c16="http://schemas.microsoft.com/office/drawing/2014/chart" uri="{C3380CC4-5D6E-409C-BE32-E72D297353CC}">
                <c16:uniqueId val="{000001E5-9E1D-4F4A-A888-7C8000C2A025}"/>
              </c:ext>
            </c:extLst>
          </c:dPt>
          <c:dPt>
            <c:idx val="242"/>
            <c:invertIfNegative val="1"/>
            <c:bubble3D val="0"/>
            <c:spPr>
              <a:solidFill>
                <a:srgbClr val="AEABAB"/>
              </a:solidFill>
            </c:spPr>
            <c:extLst>
              <c:ext xmlns:c16="http://schemas.microsoft.com/office/drawing/2014/chart" uri="{C3380CC4-5D6E-409C-BE32-E72D297353CC}">
                <c16:uniqueId val="{000001E7-9E1D-4F4A-A888-7C8000C2A025}"/>
              </c:ext>
            </c:extLst>
          </c:dPt>
          <c:dPt>
            <c:idx val="243"/>
            <c:invertIfNegative val="1"/>
            <c:bubble3D val="0"/>
            <c:spPr>
              <a:solidFill>
                <a:srgbClr val="AEABAB"/>
              </a:solidFill>
            </c:spPr>
            <c:extLst>
              <c:ext xmlns:c16="http://schemas.microsoft.com/office/drawing/2014/chart" uri="{C3380CC4-5D6E-409C-BE32-E72D297353CC}">
                <c16:uniqueId val="{000001E9-9E1D-4F4A-A888-7C8000C2A025}"/>
              </c:ext>
            </c:extLst>
          </c:dPt>
          <c:dPt>
            <c:idx val="244"/>
            <c:invertIfNegative val="1"/>
            <c:bubble3D val="0"/>
            <c:spPr>
              <a:solidFill>
                <a:srgbClr val="AEABAB"/>
              </a:solidFill>
            </c:spPr>
            <c:extLst>
              <c:ext xmlns:c16="http://schemas.microsoft.com/office/drawing/2014/chart" uri="{C3380CC4-5D6E-409C-BE32-E72D297353CC}">
                <c16:uniqueId val="{000001EB-9E1D-4F4A-A888-7C8000C2A025}"/>
              </c:ext>
            </c:extLst>
          </c:dPt>
          <c:dPt>
            <c:idx val="245"/>
            <c:invertIfNegative val="1"/>
            <c:bubble3D val="0"/>
            <c:spPr>
              <a:solidFill>
                <a:srgbClr val="AEABAB"/>
              </a:solidFill>
            </c:spPr>
            <c:extLst>
              <c:ext xmlns:c16="http://schemas.microsoft.com/office/drawing/2014/chart" uri="{C3380CC4-5D6E-409C-BE32-E72D297353CC}">
                <c16:uniqueId val="{000001ED-9E1D-4F4A-A888-7C8000C2A025}"/>
              </c:ext>
            </c:extLst>
          </c:dPt>
          <c:dPt>
            <c:idx val="246"/>
            <c:invertIfNegative val="1"/>
            <c:bubble3D val="0"/>
            <c:spPr>
              <a:solidFill>
                <a:srgbClr val="AEABAB"/>
              </a:solidFill>
            </c:spPr>
            <c:extLst>
              <c:ext xmlns:c16="http://schemas.microsoft.com/office/drawing/2014/chart" uri="{C3380CC4-5D6E-409C-BE32-E72D297353CC}">
                <c16:uniqueId val="{000001EF-9E1D-4F4A-A888-7C8000C2A025}"/>
              </c:ext>
            </c:extLst>
          </c:dPt>
          <c:dPt>
            <c:idx val="247"/>
            <c:invertIfNegative val="1"/>
            <c:bubble3D val="0"/>
            <c:spPr>
              <a:solidFill>
                <a:srgbClr val="AEABAB"/>
              </a:solidFill>
            </c:spPr>
            <c:extLst>
              <c:ext xmlns:c16="http://schemas.microsoft.com/office/drawing/2014/chart" uri="{C3380CC4-5D6E-409C-BE32-E72D297353CC}">
                <c16:uniqueId val="{000001F1-9E1D-4F4A-A888-7C8000C2A025}"/>
              </c:ext>
            </c:extLst>
          </c:dPt>
          <c:dPt>
            <c:idx val="248"/>
            <c:invertIfNegative val="1"/>
            <c:bubble3D val="0"/>
            <c:spPr>
              <a:solidFill>
                <a:srgbClr val="AEABAB"/>
              </a:solidFill>
            </c:spPr>
            <c:extLst>
              <c:ext xmlns:c16="http://schemas.microsoft.com/office/drawing/2014/chart" uri="{C3380CC4-5D6E-409C-BE32-E72D297353CC}">
                <c16:uniqueId val="{000001F3-9E1D-4F4A-A888-7C8000C2A025}"/>
              </c:ext>
            </c:extLst>
          </c:dPt>
          <c:dPt>
            <c:idx val="249"/>
            <c:invertIfNegative val="1"/>
            <c:bubble3D val="0"/>
            <c:spPr>
              <a:solidFill>
                <a:srgbClr val="AEABAB"/>
              </a:solidFill>
            </c:spPr>
            <c:extLst>
              <c:ext xmlns:c16="http://schemas.microsoft.com/office/drawing/2014/chart" uri="{C3380CC4-5D6E-409C-BE32-E72D297353CC}">
                <c16:uniqueId val="{000001F5-9E1D-4F4A-A888-7C8000C2A025}"/>
              </c:ext>
            </c:extLst>
          </c:dPt>
          <c:dPt>
            <c:idx val="250"/>
            <c:invertIfNegative val="1"/>
            <c:bubble3D val="0"/>
            <c:spPr>
              <a:solidFill>
                <a:srgbClr val="AEABAB"/>
              </a:solidFill>
            </c:spPr>
            <c:extLst>
              <c:ext xmlns:c16="http://schemas.microsoft.com/office/drawing/2014/chart" uri="{C3380CC4-5D6E-409C-BE32-E72D297353CC}">
                <c16:uniqueId val="{000001F7-9E1D-4F4A-A888-7C8000C2A025}"/>
              </c:ext>
            </c:extLst>
          </c:dPt>
          <c:dPt>
            <c:idx val="251"/>
            <c:invertIfNegative val="1"/>
            <c:bubble3D val="0"/>
            <c:spPr>
              <a:solidFill>
                <a:srgbClr val="AEABAB"/>
              </a:solidFill>
            </c:spPr>
            <c:extLst>
              <c:ext xmlns:c16="http://schemas.microsoft.com/office/drawing/2014/chart" uri="{C3380CC4-5D6E-409C-BE32-E72D297353CC}">
                <c16:uniqueId val="{000001F9-9E1D-4F4A-A888-7C8000C2A025}"/>
              </c:ext>
            </c:extLst>
          </c:dPt>
          <c:dPt>
            <c:idx val="252"/>
            <c:invertIfNegative val="1"/>
            <c:bubble3D val="0"/>
            <c:spPr>
              <a:solidFill>
                <a:srgbClr val="AEABAB"/>
              </a:solidFill>
            </c:spPr>
            <c:extLst>
              <c:ext xmlns:c16="http://schemas.microsoft.com/office/drawing/2014/chart" uri="{C3380CC4-5D6E-409C-BE32-E72D297353CC}">
                <c16:uniqueId val="{000001FB-9E1D-4F4A-A888-7C8000C2A025}"/>
              </c:ext>
            </c:extLst>
          </c:dPt>
          <c:dPt>
            <c:idx val="253"/>
            <c:invertIfNegative val="1"/>
            <c:bubble3D val="0"/>
            <c:spPr>
              <a:solidFill>
                <a:srgbClr val="AEABAB"/>
              </a:solidFill>
            </c:spPr>
            <c:extLst>
              <c:ext xmlns:c16="http://schemas.microsoft.com/office/drawing/2014/chart" uri="{C3380CC4-5D6E-409C-BE32-E72D297353CC}">
                <c16:uniqueId val="{000001FD-9E1D-4F4A-A888-7C8000C2A025}"/>
              </c:ext>
            </c:extLst>
          </c:dPt>
          <c:dPt>
            <c:idx val="254"/>
            <c:invertIfNegative val="1"/>
            <c:bubble3D val="0"/>
            <c:spPr>
              <a:solidFill>
                <a:srgbClr val="AEABAB"/>
              </a:solidFill>
            </c:spPr>
            <c:extLst>
              <c:ext xmlns:c16="http://schemas.microsoft.com/office/drawing/2014/chart" uri="{C3380CC4-5D6E-409C-BE32-E72D297353CC}">
                <c16:uniqueId val="{000001FF-9E1D-4F4A-A888-7C8000C2A025}"/>
              </c:ext>
            </c:extLst>
          </c:dPt>
          <c:dPt>
            <c:idx val="255"/>
            <c:invertIfNegative val="1"/>
            <c:bubble3D val="0"/>
            <c:spPr>
              <a:solidFill>
                <a:srgbClr val="AEABAB"/>
              </a:solidFill>
            </c:spPr>
            <c:extLst>
              <c:ext xmlns:c16="http://schemas.microsoft.com/office/drawing/2014/chart" uri="{C3380CC4-5D6E-409C-BE32-E72D297353CC}">
                <c16:uniqueId val="{00000201-9E1D-4F4A-A888-7C8000C2A025}"/>
              </c:ext>
            </c:extLst>
          </c:dPt>
          <c:dPt>
            <c:idx val="256"/>
            <c:invertIfNegative val="1"/>
            <c:bubble3D val="0"/>
            <c:spPr>
              <a:solidFill>
                <a:srgbClr val="AEABAB"/>
              </a:solidFill>
            </c:spPr>
            <c:extLst>
              <c:ext xmlns:c16="http://schemas.microsoft.com/office/drawing/2014/chart" uri="{C3380CC4-5D6E-409C-BE32-E72D297353CC}">
                <c16:uniqueId val="{00000203-9E1D-4F4A-A888-7C8000C2A025}"/>
              </c:ext>
            </c:extLst>
          </c:dPt>
          <c:dPt>
            <c:idx val="257"/>
            <c:invertIfNegative val="1"/>
            <c:bubble3D val="0"/>
            <c:spPr>
              <a:solidFill>
                <a:srgbClr val="AEABAB"/>
              </a:solidFill>
            </c:spPr>
            <c:extLst>
              <c:ext xmlns:c16="http://schemas.microsoft.com/office/drawing/2014/chart" uri="{C3380CC4-5D6E-409C-BE32-E72D297353CC}">
                <c16:uniqueId val="{00000205-9E1D-4F4A-A888-7C8000C2A025}"/>
              </c:ext>
            </c:extLst>
          </c:dPt>
          <c:dPt>
            <c:idx val="258"/>
            <c:invertIfNegative val="1"/>
            <c:bubble3D val="0"/>
            <c:spPr>
              <a:solidFill>
                <a:srgbClr val="AEABAB"/>
              </a:solidFill>
            </c:spPr>
            <c:extLst>
              <c:ext xmlns:c16="http://schemas.microsoft.com/office/drawing/2014/chart" uri="{C3380CC4-5D6E-409C-BE32-E72D297353CC}">
                <c16:uniqueId val="{00000207-9E1D-4F4A-A888-7C8000C2A025}"/>
              </c:ext>
            </c:extLst>
          </c:dPt>
          <c:cat>
            <c:strRef>
              <c:f>Sheet1!$A$2:$A$260</c:f>
              <c:strCache>
                <c:ptCount val="259"/>
                <c:pt idx="0">
                  <c:v>Ruinart</c:v>
                </c:pt>
                <c:pt idx="1">
                  <c:v>Nicolas</c:v>
                </c:pt>
                <c:pt idx="2">
                  <c:v>Ruinart</c:v>
                </c:pt>
                <c:pt idx="3">
                  <c:v>Deutz</c:v>
                </c:pt>
                <c:pt idx="4">
                  <c:v>De Bligny</c:v>
                </c:pt>
                <c:pt idx="5">
                  <c:v>Heidsieck &amp;</c:v>
                </c:pt>
                <c:pt idx="6">
                  <c:v>Nicolas Feu</c:v>
                </c:pt>
                <c:pt idx="7">
                  <c:v>Malard</c:v>
                </c:pt>
                <c:pt idx="8">
                  <c:v>Ayala</c:v>
                </c:pt>
                <c:pt idx="9">
                  <c:v>Canard Duch</c:v>
                </c:pt>
                <c:pt idx="10">
                  <c:v>Laurent Per</c:v>
                </c:pt>
                <c:pt idx="11">
                  <c:v>Ruinart</c:v>
                </c:pt>
                <c:pt idx="12">
                  <c:v>Bollinger</c:v>
                </c:pt>
                <c:pt idx="13">
                  <c:v>Demoiselle</c:v>
                </c:pt>
                <c:pt idx="14">
                  <c:v>Taittinger</c:v>
                </c:pt>
                <c:pt idx="15">
                  <c:v>Ruinart</c:v>
                </c:pt>
                <c:pt idx="16">
                  <c:v>Ruinart</c:v>
                </c:pt>
                <c:pt idx="17">
                  <c:v>Deutz</c:v>
                </c:pt>
                <c:pt idx="18">
                  <c:v>Besserat De</c:v>
                </c:pt>
                <c:pt idx="19">
                  <c:v>All Others</c:v>
                </c:pt>
                <c:pt idx="20">
                  <c:v>Malard</c:v>
                </c:pt>
                <c:pt idx="21">
                  <c:v>Patriarche</c:v>
                </c:pt>
                <c:pt idx="22">
                  <c:v>Ruinart</c:v>
                </c:pt>
                <c:pt idx="23">
                  <c:v>Perrier Jou</c:v>
                </c:pt>
                <c:pt idx="24">
                  <c:v>Bottega</c:v>
                </c:pt>
                <c:pt idx="25">
                  <c:v>Vesselle</c:v>
                </c:pt>
                <c:pt idx="26">
                  <c:v>Savian</c:v>
                </c:pt>
                <c:pt idx="27">
                  <c:v>Laurent Per</c:v>
                </c:pt>
                <c:pt idx="28">
                  <c:v>Mure</c:v>
                </c:pt>
                <c:pt idx="29">
                  <c:v>All Others</c:v>
                </c:pt>
                <c:pt idx="30">
                  <c:v>Ruinart</c:v>
                </c:pt>
                <c:pt idx="31">
                  <c:v>All Others</c:v>
                </c:pt>
                <c:pt idx="32">
                  <c:v>Nicolas</c:v>
                </c:pt>
                <c:pt idx="33">
                  <c:v>Dom Perigno</c:v>
                </c:pt>
                <c:pt idx="34">
                  <c:v>Moët &amp; Chan</c:v>
                </c:pt>
                <c:pt idx="35">
                  <c:v>Campari: Al</c:v>
                </c:pt>
                <c:pt idx="36">
                  <c:v>Nicolas</c:v>
                </c:pt>
                <c:pt idx="37">
                  <c:v>Pommery</c:v>
                </c:pt>
                <c:pt idx="38">
                  <c:v>Dom Perigno</c:v>
                </c:pt>
                <c:pt idx="39">
                  <c:v>Moët &amp; Chan</c:v>
                </c:pt>
                <c:pt idx="40">
                  <c:v>Roederer</c:v>
                </c:pt>
                <c:pt idx="41">
                  <c:v>Veuve Clicq</c:v>
                </c:pt>
                <c:pt idx="42">
                  <c:v>Henriot</c:v>
                </c:pt>
                <c:pt idx="43">
                  <c:v>Deutz</c:v>
                </c:pt>
                <c:pt idx="44">
                  <c:v>Demoiselle</c:v>
                </c:pt>
                <c:pt idx="45">
                  <c:v>De Bligny</c:v>
                </c:pt>
                <c:pt idx="46">
                  <c:v>All Others</c:v>
                </c:pt>
                <c:pt idx="47">
                  <c:v>Taittinger</c:v>
                </c:pt>
                <c:pt idx="48">
                  <c:v>Ruinart</c:v>
                </c:pt>
                <c:pt idx="49">
                  <c:v>All Others</c:v>
                </c:pt>
                <c:pt idx="50">
                  <c:v>Kriter</c:v>
                </c:pt>
                <c:pt idx="51">
                  <c:v>Laurent Per</c:v>
                </c:pt>
                <c:pt idx="52">
                  <c:v>Veuve Clicq</c:v>
                </c:pt>
                <c:pt idx="53">
                  <c:v>Canard Duch</c:v>
                </c:pt>
                <c:pt idx="54">
                  <c:v>Bouvet-Ladu</c:v>
                </c:pt>
                <c:pt idx="55">
                  <c:v>Roederer</c:v>
                </c:pt>
                <c:pt idx="56">
                  <c:v>Veuve Clicq</c:v>
                </c:pt>
                <c:pt idx="57">
                  <c:v>De Chanceny</c:v>
                </c:pt>
                <c:pt idx="58">
                  <c:v>Besserat De</c:v>
                </c:pt>
                <c:pt idx="59">
                  <c:v>Malard</c:v>
                </c:pt>
                <c:pt idx="60">
                  <c:v>Nicolas</c:v>
                </c:pt>
                <c:pt idx="61">
                  <c:v>De Venoge</c:v>
                </c:pt>
                <c:pt idx="62">
                  <c:v>Chateau Mon</c:v>
                </c:pt>
                <c:pt idx="63">
                  <c:v>Lyre's</c:v>
                </c:pt>
                <c:pt idx="64">
                  <c:v>Ruinart</c:v>
                </c:pt>
                <c:pt idx="65">
                  <c:v>Bollinger</c:v>
                </c:pt>
                <c:pt idx="66">
                  <c:v>Malard</c:v>
                </c:pt>
                <c:pt idx="67">
                  <c:v>Ruinart</c:v>
                </c:pt>
                <c:pt idx="68">
                  <c:v>De Venoge</c:v>
                </c:pt>
                <c:pt idx="69">
                  <c:v>Nicolas Feu</c:v>
                </c:pt>
                <c:pt idx="70">
                  <c:v>All Others</c:v>
                </c:pt>
                <c:pt idx="71">
                  <c:v>Deutz</c:v>
                </c:pt>
                <c:pt idx="72">
                  <c:v>Canard Duch</c:v>
                </c:pt>
                <c:pt idx="73">
                  <c:v>Besserat De</c:v>
                </c:pt>
                <c:pt idx="74">
                  <c:v>Malard</c:v>
                </c:pt>
                <c:pt idx="75">
                  <c:v>De Venoge</c:v>
                </c:pt>
                <c:pt idx="76">
                  <c:v>Nicolas Feu</c:v>
                </c:pt>
                <c:pt idx="77">
                  <c:v>Piper Heids</c:v>
                </c:pt>
                <c:pt idx="78">
                  <c:v>Patriarche</c:v>
                </c:pt>
                <c:pt idx="79">
                  <c:v>Laurent Per</c:v>
                </c:pt>
                <c:pt idx="80">
                  <c:v>Louis Marti</c:v>
                </c:pt>
                <c:pt idx="81">
                  <c:v>Krug</c:v>
                </c:pt>
                <c:pt idx="82">
                  <c:v>Henriot</c:v>
                </c:pt>
                <c:pt idx="83">
                  <c:v>Savian</c:v>
                </c:pt>
                <c:pt idx="84">
                  <c:v>Lanson</c:v>
                </c:pt>
                <c:pt idx="85">
                  <c:v>Ruinart</c:v>
                </c:pt>
                <c:pt idx="86">
                  <c:v>Campari: Al</c:v>
                </c:pt>
                <c:pt idx="87">
                  <c:v>De Venoge</c:v>
                </c:pt>
                <c:pt idx="88">
                  <c:v>De Chanceny</c:v>
                </c:pt>
                <c:pt idx="89">
                  <c:v>Nicolas</c:v>
                </c:pt>
                <c:pt idx="90">
                  <c:v>Pommery</c:v>
                </c:pt>
                <c:pt idx="91">
                  <c:v>Delamotte</c:v>
                </c:pt>
                <c:pt idx="92">
                  <c:v>Nicolas Feu</c:v>
                </c:pt>
                <c:pt idx="93">
                  <c:v>Roederer</c:v>
                </c:pt>
                <c:pt idx="94">
                  <c:v>Roederer</c:v>
                </c:pt>
                <c:pt idx="95">
                  <c:v>Pommery</c:v>
                </c:pt>
                <c:pt idx="96">
                  <c:v>Henriot</c:v>
                </c:pt>
                <c:pt idx="97">
                  <c:v>Canard Duch</c:v>
                </c:pt>
                <c:pt idx="98">
                  <c:v>All Others</c:v>
                </c:pt>
                <c:pt idx="99">
                  <c:v>Nicolas</c:v>
                </c:pt>
                <c:pt idx="100">
                  <c:v>Dom Perigno</c:v>
                </c:pt>
                <c:pt idx="101">
                  <c:v>Henriot</c:v>
                </c:pt>
                <c:pt idx="102">
                  <c:v>Roederer</c:v>
                </c:pt>
                <c:pt idx="103">
                  <c:v>Ruinart</c:v>
                </c:pt>
                <c:pt idx="104">
                  <c:v>All Others</c:v>
                </c:pt>
                <c:pt idx="105">
                  <c:v>Moët &amp; Chan</c:v>
                </c:pt>
                <c:pt idx="106">
                  <c:v>Veuve Clicq</c:v>
                </c:pt>
                <c:pt idx="107">
                  <c:v>Roederer</c:v>
                </c:pt>
                <c:pt idx="108">
                  <c:v>Bottega</c:v>
                </c:pt>
                <c:pt idx="109">
                  <c:v>Deutz</c:v>
                </c:pt>
                <c:pt idx="110">
                  <c:v>Deutz</c:v>
                </c:pt>
                <c:pt idx="111">
                  <c:v>Nicolas</c:v>
                </c:pt>
                <c:pt idx="112">
                  <c:v>All Others</c:v>
                </c:pt>
                <c:pt idx="113">
                  <c:v>Malard</c:v>
                </c:pt>
                <c:pt idx="114">
                  <c:v>All Others</c:v>
                </c:pt>
                <c:pt idx="115">
                  <c:v>Ruinart</c:v>
                </c:pt>
                <c:pt idx="116">
                  <c:v>Roederer</c:v>
                </c:pt>
                <c:pt idx="117">
                  <c:v>Cru La Maqu</c:v>
                </c:pt>
                <c:pt idx="118">
                  <c:v>Taittinger</c:v>
                </c:pt>
                <c:pt idx="119">
                  <c:v>Vranken</c:v>
                </c:pt>
                <c:pt idx="120">
                  <c:v>Ruinart</c:v>
                </c:pt>
                <c:pt idx="121">
                  <c:v>Vranken</c:v>
                </c:pt>
                <c:pt idx="122">
                  <c:v>Contarini</c:v>
                </c:pt>
                <c:pt idx="123">
                  <c:v>All Others</c:v>
                </c:pt>
                <c:pt idx="124">
                  <c:v>Nicolas</c:v>
                </c:pt>
                <c:pt idx="125">
                  <c:v>Nicolas</c:v>
                </c:pt>
                <c:pt idx="126">
                  <c:v>Laurent Per</c:v>
                </c:pt>
                <c:pt idx="127">
                  <c:v>All Others</c:v>
                </c:pt>
                <c:pt idx="128">
                  <c:v>Demoiselle</c:v>
                </c:pt>
                <c:pt idx="129">
                  <c:v>Perrier Jou</c:v>
                </c:pt>
                <c:pt idx="130">
                  <c:v>Nicolas</c:v>
                </c:pt>
                <c:pt idx="131">
                  <c:v>Nicolas</c:v>
                </c:pt>
                <c:pt idx="132">
                  <c:v>Nicolas</c:v>
                </c:pt>
                <c:pt idx="133">
                  <c:v>Ruinart</c:v>
                </c:pt>
                <c:pt idx="134">
                  <c:v>Laurent Per</c:v>
                </c:pt>
                <c:pt idx="135">
                  <c:v>Ayala</c:v>
                </c:pt>
                <c:pt idx="136">
                  <c:v>All Others</c:v>
                </c:pt>
                <c:pt idx="137">
                  <c:v>Roederer</c:v>
                </c:pt>
                <c:pt idx="138">
                  <c:v>Canard Duch</c:v>
                </c:pt>
                <c:pt idx="139">
                  <c:v>Roederer</c:v>
                </c:pt>
                <c:pt idx="140">
                  <c:v>Ruinart</c:v>
                </c:pt>
                <c:pt idx="141">
                  <c:v>All Others</c:v>
                </c:pt>
                <c:pt idx="142">
                  <c:v>Canard Duch</c:v>
                </c:pt>
                <c:pt idx="143">
                  <c:v>All Others</c:v>
                </c:pt>
                <c:pt idx="144">
                  <c:v>Ayala</c:v>
                </c:pt>
                <c:pt idx="145">
                  <c:v>Nicolas Feu</c:v>
                </c:pt>
                <c:pt idx="146">
                  <c:v>All Others</c:v>
                </c:pt>
                <c:pt idx="147">
                  <c:v>All Others</c:v>
                </c:pt>
                <c:pt idx="148">
                  <c:v>Piper Heids</c:v>
                </c:pt>
                <c:pt idx="149">
                  <c:v>Ruinart</c:v>
                </c:pt>
                <c:pt idx="150">
                  <c:v>All Others</c:v>
                </c:pt>
                <c:pt idx="151">
                  <c:v>Ruinart</c:v>
                </c:pt>
                <c:pt idx="152">
                  <c:v>Nicolas</c:v>
                </c:pt>
                <c:pt idx="153">
                  <c:v>Nicolas</c:v>
                </c:pt>
                <c:pt idx="154">
                  <c:v>All Others</c:v>
                </c:pt>
                <c:pt idx="155">
                  <c:v>Pommery</c:v>
                </c:pt>
                <c:pt idx="156">
                  <c:v>Bollinger</c:v>
                </c:pt>
                <c:pt idx="157">
                  <c:v>Besserat De</c:v>
                </c:pt>
                <c:pt idx="158">
                  <c:v>Roederer</c:v>
                </c:pt>
                <c:pt idx="159">
                  <c:v>Roederer</c:v>
                </c:pt>
                <c:pt idx="160">
                  <c:v>Taittinger</c:v>
                </c:pt>
                <c:pt idx="161">
                  <c:v>Pommery</c:v>
                </c:pt>
                <c:pt idx="162">
                  <c:v>Ruinart</c:v>
                </c:pt>
                <c:pt idx="163">
                  <c:v>Roederer</c:v>
                </c:pt>
                <c:pt idx="164">
                  <c:v>Roederer</c:v>
                </c:pt>
                <c:pt idx="165">
                  <c:v>Ruinart</c:v>
                </c:pt>
                <c:pt idx="166">
                  <c:v>Perrier Jou</c:v>
                </c:pt>
                <c:pt idx="167">
                  <c:v>Taittinger</c:v>
                </c:pt>
                <c:pt idx="168">
                  <c:v>All Others</c:v>
                </c:pt>
                <c:pt idx="169">
                  <c:v>All Others</c:v>
                </c:pt>
                <c:pt idx="170">
                  <c:v>Louis Marti</c:v>
                </c:pt>
                <c:pt idx="171">
                  <c:v>All Others</c:v>
                </c:pt>
                <c:pt idx="172">
                  <c:v>Pommery</c:v>
                </c:pt>
                <c:pt idx="173">
                  <c:v>All Others</c:v>
                </c:pt>
                <c:pt idx="174">
                  <c:v>All Others</c:v>
                </c:pt>
                <c:pt idx="175">
                  <c:v>All Others</c:v>
                </c:pt>
                <c:pt idx="176">
                  <c:v>Deutz</c:v>
                </c:pt>
                <c:pt idx="177">
                  <c:v>Roederer</c:v>
                </c:pt>
                <c:pt idx="178">
                  <c:v>Canard Duch</c:v>
                </c:pt>
                <c:pt idx="179">
                  <c:v>Nicolas</c:v>
                </c:pt>
                <c:pt idx="180">
                  <c:v>Demoiselle</c:v>
                </c:pt>
                <c:pt idx="181">
                  <c:v>Vranken</c:v>
                </c:pt>
                <c:pt idx="182">
                  <c:v>Moët &amp; Chan</c:v>
                </c:pt>
                <c:pt idx="183">
                  <c:v>Lanson</c:v>
                </c:pt>
                <c:pt idx="184">
                  <c:v>Vesselle</c:v>
                </c:pt>
                <c:pt idx="185">
                  <c:v>Nicolas</c:v>
                </c:pt>
                <c:pt idx="186">
                  <c:v>Ruinart</c:v>
                </c:pt>
                <c:pt idx="187">
                  <c:v>All Others</c:v>
                </c:pt>
                <c:pt idx="188">
                  <c:v>All Others</c:v>
                </c:pt>
                <c:pt idx="189">
                  <c:v>Dom Perigno</c:v>
                </c:pt>
                <c:pt idx="190">
                  <c:v>Nicolas Feu</c:v>
                </c:pt>
                <c:pt idx="191">
                  <c:v>Besserat De</c:v>
                </c:pt>
                <c:pt idx="192">
                  <c:v>Roederer</c:v>
                </c:pt>
                <c:pt idx="193">
                  <c:v>All Others</c:v>
                </c:pt>
                <c:pt idx="194">
                  <c:v>Bouvet-Ladu</c:v>
                </c:pt>
                <c:pt idx="195">
                  <c:v>All Others</c:v>
                </c:pt>
                <c:pt idx="196">
                  <c:v>De Venoge</c:v>
                </c:pt>
                <c:pt idx="197">
                  <c:v>Piper Heids</c:v>
                </c:pt>
                <c:pt idx="198">
                  <c:v>Laurent Per</c:v>
                </c:pt>
                <c:pt idx="199">
                  <c:v>Bollinger</c:v>
                </c:pt>
                <c:pt idx="200">
                  <c:v>Nicolas</c:v>
                </c:pt>
                <c:pt idx="201">
                  <c:v>Contarini</c:v>
                </c:pt>
                <c:pt idx="202">
                  <c:v>Laurent Per</c:v>
                </c:pt>
                <c:pt idx="203">
                  <c:v>Deutz</c:v>
                </c:pt>
                <c:pt idx="204">
                  <c:v>Pommery</c:v>
                </c:pt>
                <c:pt idx="205">
                  <c:v>Ruinart</c:v>
                </c:pt>
                <c:pt idx="206">
                  <c:v>Pommery</c:v>
                </c:pt>
                <c:pt idx="207">
                  <c:v>De Venoge</c:v>
                </c:pt>
                <c:pt idx="208">
                  <c:v>Roederer</c:v>
                </c:pt>
                <c:pt idx="209">
                  <c:v>Pommery</c:v>
                </c:pt>
                <c:pt idx="210">
                  <c:v>Moët &amp; Chan</c:v>
                </c:pt>
                <c:pt idx="211">
                  <c:v>Laurent Per</c:v>
                </c:pt>
                <c:pt idx="212">
                  <c:v>Martel</c:v>
                </c:pt>
                <c:pt idx="213">
                  <c:v>Piper Heids</c:v>
                </c:pt>
                <c:pt idx="214">
                  <c:v>Bouvet-Ladu</c:v>
                </c:pt>
                <c:pt idx="215">
                  <c:v>Lanson</c:v>
                </c:pt>
                <c:pt idx="216">
                  <c:v>Piper Heids</c:v>
                </c:pt>
                <c:pt idx="217">
                  <c:v>Bollinger</c:v>
                </c:pt>
                <c:pt idx="218">
                  <c:v>De Venoge</c:v>
                </c:pt>
                <c:pt idx="219">
                  <c:v>All Others</c:v>
                </c:pt>
                <c:pt idx="220">
                  <c:v>De Venoge</c:v>
                </c:pt>
                <c:pt idx="221">
                  <c:v>All Others</c:v>
                </c:pt>
                <c:pt idx="222">
                  <c:v>Bouvet-Ladu</c:v>
                </c:pt>
                <c:pt idx="223">
                  <c:v>Laurent Per</c:v>
                </c:pt>
                <c:pt idx="224">
                  <c:v>Bollinger</c:v>
                </c:pt>
                <c:pt idx="225">
                  <c:v>Malard</c:v>
                </c:pt>
                <c:pt idx="226">
                  <c:v>Nicolas</c:v>
                </c:pt>
                <c:pt idx="227">
                  <c:v>Delamotte</c:v>
                </c:pt>
                <c:pt idx="228">
                  <c:v>Roederer</c:v>
                </c:pt>
                <c:pt idx="229">
                  <c:v>Vesselle</c:v>
                </c:pt>
                <c:pt idx="230">
                  <c:v>Celene</c:v>
                </c:pt>
                <c:pt idx="231">
                  <c:v>Henriot</c:v>
                </c:pt>
                <c:pt idx="232">
                  <c:v>All Others</c:v>
                </c:pt>
                <c:pt idx="233">
                  <c:v>Canard Duch</c:v>
                </c:pt>
                <c:pt idx="234">
                  <c:v>Roederer</c:v>
                </c:pt>
                <c:pt idx="235">
                  <c:v>All Others</c:v>
                </c:pt>
                <c:pt idx="236">
                  <c:v>Malard</c:v>
                </c:pt>
                <c:pt idx="237">
                  <c:v>Nicolas</c:v>
                </c:pt>
                <c:pt idx="238">
                  <c:v>Bouvet-Ladu</c:v>
                </c:pt>
                <c:pt idx="239">
                  <c:v>Bouvet-Ladu</c:v>
                </c:pt>
                <c:pt idx="240">
                  <c:v>Deutz</c:v>
                </c:pt>
                <c:pt idx="241">
                  <c:v>Laurent Per</c:v>
                </c:pt>
                <c:pt idx="242">
                  <c:v>Bottega</c:v>
                </c:pt>
                <c:pt idx="243">
                  <c:v>All Others</c:v>
                </c:pt>
                <c:pt idx="244">
                  <c:v>Henriot</c:v>
                </c:pt>
                <c:pt idx="245">
                  <c:v>Celene</c:v>
                </c:pt>
                <c:pt idx="246">
                  <c:v>All Others</c:v>
                </c:pt>
                <c:pt idx="247">
                  <c:v>Moët &amp; Chan</c:v>
                </c:pt>
                <c:pt idx="248">
                  <c:v>Nicolas</c:v>
                </c:pt>
                <c:pt idx="249">
                  <c:v>All Others</c:v>
                </c:pt>
                <c:pt idx="250">
                  <c:v>Veuve Clicq</c:v>
                </c:pt>
                <c:pt idx="251">
                  <c:v>Bollinger</c:v>
                </c:pt>
                <c:pt idx="252">
                  <c:v>Jaillance</c:v>
                </c:pt>
                <c:pt idx="253">
                  <c:v>All Others</c:v>
                </c:pt>
                <c:pt idx="254">
                  <c:v>All Others</c:v>
                </c:pt>
                <c:pt idx="255">
                  <c:v>All Others</c:v>
                </c:pt>
                <c:pt idx="256">
                  <c:v>All Others</c:v>
                </c:pt>
                <c:pt idx="257">
                  <c:v>All Others</c:v>
                </c:pt>
                <c:pt idx="258">
                  <c:v>All Others</c:v>
                </c:pt>
              </c:strCache>
            </c:strRef>
          </c:cat>
          <c:val>
            <c:numRef>
              <c:f>Sheet1!$C$2:$C$260</c:f>
              <c:numCache>
                <c:formatCode>General</c:formatCode>
                <c:ptCount val="259"/>
                <c:pt idx="0">
                  <c:v>0.10154740049520969</c:v>
                </c:pt>
                <c:pt idx="1">
                  <c:v>0.17464014243767056</c:v>
                </c:pt>
                <c:pt idx="2">
                  <c:v>0.21916489167504419</c:v>
                </c:pt>
                <c:pt idx="3">
                  <c:v>0.25898930160207778</c:v>
                </c:pt>
                <c:pt idx="4">
                  <c:v>0.29856454942320709</c:v>
                </c:pt>
                <c:pt idx="5">
                  <c:v>0.33750997080996725</c:v>
                </c:pt>
                <c:pt idx="6">
                  <c:v>0.37093489428778575</c:v>
                </c:pt>
                <c:pt idx="7">
                  <c:v>0.40110600290343074</c:v>
                </c:pt>
                <c:pt idx="8">
                  <c:v>0.42628002706177326</c:v>
                </c:pt>
                <c:pt idx="9">
                  <c:v>0.44992274244424574</c:v>
                </c:pt>
                <c:pt idx="10">
                  <c:v>0.47211979852475278</c:v>
                </c:pt>
                <c:pt idx="11">
                  <c:v>0.4878369095593465</c:v>
                </c:pt>
                <c:pt idx="12">
                  <c:v>0.50279788281421689</c:v>
                </c:pt>
                <c:pt idx="13">
                  <c:v>0.51737819174062238</c:v>
                </c:pt>
                <c:pt idx="14">
                  <c:v>0.53184257107608623</c:v>
                </c:pt>
                <c:pt idx="15">
                  <c:v>0.54613305602513773</c:v>
                </c:pt>
                <c:pt idx="16">
                  <c:v>0.55889309734452031</c:v>
                </c:pt>
                <c:pt idx="17">
                  <c:v>0.57132438310750144</c:v>
                </c:pt>
                <c:pt idx="18">
                  <c:v>0.58372711904584762</c:v>
                </c:pt>
                <c:pt idx="19">
                  <c:v>0.59498786199879927</c:v>
                </c:pt>
                <c:pt idx="20">
                  <c:v>0.60446813406997657</c:v>
                </c:pt>
                <c:pt idx="21">
                  <c:v>0.61387573386026517</c:v>
                </c:pt>
                <c:pt idx="22">
                  <c:v>0.62288017552086139</c:v>
                </c:pt>
                <c:pt idx="23">
                  <c:v>0.63162247788253745</c:v>
                </c:pt>
                <c:pt idx="24">
                  <c:v>0.6398768377868177</c:v>
                </c:pt>
                <c:pt idx="25">
                  <c:v>0.6480507390943997</c:v>
                </c:pt>
                <c:pt idx="26">
                  <c:v>0.65618743911533628</c:v>
                </c:pt>
                <c:pt idx="27">
                  <c:v>0.66408622393098227</c:v>
                </c:pt>
                <c:pt idx="28">
                  <c:v>0.67146159529498906</c:v>
                </c:pt>
                <c:pt idx="29">
                  <c:v>0.67865528595677405</c:v>
                </c:pt>
                <c:pt idx="30">
                  <c:v>0.68573650761242166</c:v>
                </c:pt>
                <c:pt idx="31">
                  <c:v>0.69263431827344524</c:v>
                </c:pt>
                <c:pt idx="32">
                  <c:v>0.69947502928519911</c:v>
                </c:pt>
                <c:pt idx="33">
                  <c:v>0.70621884392243461</c:v>
                </c:pt>
                <c:pt idx="34">
                  <c:v>0.71284413353012543</c:v>
                </c:pt>
                <c:pt idx="35">
                  <c:v>0.71918738547627181</c:v>
                </c:pt>
                <c:pt idx="36">
                  <c:v>0.72539567461505339</c:v>
                </c:pt>
                <c:pt idx="37">
                  <c:v>0.73156762761339056</c:v>
                </c:pt>
                <c:pt idx="38">
                  <c:v>0.73770410961748445</c:v>
                </c:pt>
                <c:pt idx="39">
                  <c:v>0.74372120144583254</c:v>
                </c:pt>
                <c:pt idx="40">
                  <c:v>0.74971406918055106</c:v>
                </c:pt>
                <c:pt idx="41">
                  <c:v>0.75546902170997898</c:v>
                </c:pt>
                <c:pt idx="42">
                  <c:v>0.76122051365460275</c:v>
                </c:pt>
                <c:pt idx="43">
                  <c:v>0.76668477706047566</c:v>
                </c:pt>
                <c:pt idx="44">
                  <c:v>0.77211616491070845</c:v>
                </c:pt>
                <c:pt idx="45">
                  <c:v>0.77747488048005253</c:v>
                </c:pt>
                <c:pt idx="46">
                  <c:v>0.7826666228325927</c:v>
                </c:pt>
                <c:pt idx="47">
                  <c:v>0.78783241079910116</c:v>
                </c:pt>
                <c:pt idx="48">
                  <c:v>0.79247218987536727</c:v>
                </c:pt>
                <c:pt idx="49">
                  <c:v>0.79705227386376043</c:v>
                </c:pt>
                <c:pt idx="50">
                  <c:v>0.80158563995729659</c:v>
                </c:pt>
                <c:pt idx="51">
                  <c:v>0.80604460347754192</c:v>
                </c:pt>
                <c:pt idx="52">
                  <c:v>0.81044819764091958</c:v>
                </c:pt>
                <c:pt idx="53">
                  <c:v>0.81482843285686868</c:v>
                </c:pt>
                <c:pt idx="54">
                  <c:v>0.81914637754634179</c:v>
                </c:pt>
                <c:pt idx="55">
                  <c:v>0.82344701931179376</c:v>
                </c:pt>
                <c:pt idx="56">
                  <c:v>0.8276940220127802</c:v>
                </c:pt>
                <c:pt idx="57">
                  <c:v>0.83186143126326939</c:v>
                </c:pt>
                <c:pt idx="58">
                  <c:v>0.83591810180002335</c:v>
                </c:pt>
                <c:pt idx="59">
                  <c:v>0.83993843619633302</c:v>
                </c:pt>
                <c:pt idx="60">
                  <c:v>0.84337306661452738</c:v>
                </c:pt>
                <c:pt idx="61">
                  <c:v>0.84680683188652073</c:v>
                </c:pt>
                <c:pt idx="62">
                  <c:v>0.85018609294784753</c:v>
                </c:pt>
                <c:pt idx="63">
                  <c:v>0.85337156126013758</c:v>
                </c:pt>
                <c:pt idx="64">
                  <c:v>0.85628364337289387</c:v>
                </c:pt>
                <c:pt idx="65">
                  <c:v>0.8591048851345392</c:v>
                </c:pt>
                <c:pt idx="66">
                  <c:v>0.86186556666211056</c:v>
                </c:pt>
                <c:pt idx="67">
                  <c:v>0.86455617134739637</c:v>
                </c:pt>
                <c:pt idx="68">
                  <c:v>0.86724331544787792</c:v>
                </c:pt>
                <c:pt idx="69">
                  <c:v>0.86988806738450764</c:v>
                </c:pt>
                <c:pt idx="70">
                  <c:v>0.87250859522750779</c:v>
                </c:pt>
                <c:pt idx="71">
                  <c:v>0.8751109550002858</c:v>
                </c:pt>
                <c:pt idx="72">
                  <c:v>0.87766573173200568</c:v>
                </c:pt>
                <c:pt idx="73">
                  <c:v>0.88013485898982102</c:v>
                </c:pt>
                <c:pt idx="74">
                  <c:v>0.88253217911294868</c:v>
                </c:pt>
                <c:pt idx="75">
                  <c:v>0.88492084777406577</c:v>
                </c:pt>
                <c:pt idx="76">
                  <c:v>0.88729221351116172</c:v>
                </c:pt>
                <c:pt idx="77">
                  <c:v>0.88966271410205655</c:v>
                </c:pt>
                <c:pt idx="78">
                  <c:v>0.89196227270446482</c:v>
                </c:pt>
                <c:pt idx="79">
                  <c:v>0.89425404499106353</c:v>
                </c:pt>
                <c:pt idx="80">
                  <c:v>0.89649217821319671</c:v>
                </c:pt>
                <c:pt idx="81">
                  <c:v>0.89870349190309717</c:v>
                </c:pt>
                <c:pt idx="82">
                  <c:v>0.9008663574057385</c:v>
                </c:pt>
                <c:pt idx="83">
                  <c:v>0.9030119199843587</c:v>
                </c:pt>
                <c:pt idx="84">
                  <c:v>0.90514450536996305</c:v>
                </c:pt>
                <c:pt idx="85">
                  <c:v>0.907241619761324</c:v>
                </c:pt>
                <c:pt idx="86">
                  <c:v>0.90929201625782796</c:v>
                </c:pt>
                <c:pt idx="87">
                  <c:v>0.91131213263729494</c:v>
                </c:pt>
                <c:pt idx="88">
                  <c:v>0.91317738784677283</c:v>
                </c:pt>
                <c:pt idx="89">
                  <c:v>0.91504177791004959</c:v>
                </c:pt>
                <c:pt idx="90">
                  <c:v>0.91671237522428972</c:v>
                </c:pt>
                <c:pt idx="91">
                  <c:v>0.91836047873730242</c:v>
                </c:pt>
                <c:pt idx="92">
                  <c:v>0.91998781874148972</c:v>
                </c:pt>
                <c:pt idx="93">
                  <c:v>0.92155200307299989</c:v>
                </c:pt>
                <c:pt idx="94">
                  <c:v>0.92308677243367421</c:v>
                </c:pt>
                <c:pt idx="95">
                  <c:v>0.92461289033233796</c:v>
                </c:pt>
                <c:pt idx="96">
                  <c:v>0.92612516589178473</c:v>
                </c:pt>
                <c:pt idx="97">
                  <c:v>0.92757255548615225</c:v>
                </c:pt>
                <c:pt idx="98">
                  <c:v>0.92895246367683737</c:v>
                </c:pt>
                <c:pt idx="99">
                  <c:v>0.93031074321249607</c:v>
                </c:pt>
                <c:pt idx="100">
                  <c:v>0.93165085467793263</c:v>
                </c:pt>
                <c:pt idx="101">
                  <c:v>0.93298317982755963</c:v>
                </c:pt>
                <c:pt idx="102">
                  <c:v>0.93431290953858348</c:v>
                </c:pt>
                <c:pt idx="103">
                  <c:v>0.93563917866480317</c:v>
                </c:pt>
                <c:pt idx="104">
                  <c:v>0.93691786474996475</c:v>
                </c:pt>
                <c:pt idx="105">
                  <c:v>0.93818530393451249</c:v>
                </c:pt>
                <c:pt idx="106">
                  <c:v>0.93942073270962123</c:v>
                </c:pt>
                <c:pt idx="107">
                  <c:v>0.94063626312210569</c:v>
                </c:pt>
                <c:pt idx="108">
                  <c:v>0.9418396814877753</c:v>
                </c:pt>
                <c:pt idx="109">
                  <c:v>0.94300330312819636</c:v>
                </c:pt>
                <c:pt idx="110">
                  <c:v>0.94414270067498784</c:v>
                </c:pt>
                <c:pt idx="111">
                  <c:v>0.94525700898194864</c:v>
                </c:pt>
                <c:pt idx="112">
                  <c:v>0.94630297073902592</c:v>
                </c:pt>
                <c:pt idx="113">
                  <c:v>0.94734720220370117</c:v>
                </c:pt>
                <c:pt idx="114">
                  <c:v>0.94838797308357214</c:v>
                </c:pt>
                <c:pt idx="115">
                  <c:v>0.94941057589322098</c:v>
                </c:pt>
                <c:pt idx="116">
                  <c:v>0.95042452724085924</c:v>
                </c:pt>
                <c:pt idx="117">
                  <c:v>0.95143674829609537</c:v>
                </c:pt>
                <c:pt idx="118">
                  <c:v>0.95243599215831565</c:v>
                </c:pt>
                <c:pt idx="119">
                  <c:v>0.95341533765791164</c:v>
                </c:pt>
                <c:pt idx="120">
                  <c:v>0.95438430140309494</c:v>
                </c:pt>
                <c:pt idx="121">
                  <c:v>0.95535066970967508</c:v>
                </c:pt>
                <c:pt idx="122">
                  <c:v>0.95627724129100666</c:v>
                </c:pt>
                <c:pt idx="123">
                  <c:v>0.95718737509451812</c:v>
                </c:pt>
                <c:pt idx="124">
                  <c:v>0.95805684702657989</c:v>
                </c:pt>
                <c:pt idx="125">
                  <c:v>0.95889949942640895</c:v>
                </c:pt>
                <c:pt idx="126">
                  <c:v>0.95973955638763486</c:v>
                </c:pt>
                <c:pt idx="127">
                  <c:v>0.96057442247165437</c:v>
                </c:pt>
                <c:pt idx="128">
                  <c:v>0.96140150223986443</c:v>
                </c:pt>
                <c:pt idx="129">
                  <c:v>0.96222771686187336</c:v>
                </c:pt>
                <c:pt idx="130">
                  <c:v>0.96305220119148027</c:v>
                </c:pt>
                <c:pt idx="131">
                  <c:v>0.9638723597900819</c:v>
                </c:pt>
                <c:pt idx="132">
                  <c:v>0.96469078809628139</c:v>
                </c:pt>
                <c:pt idx="133">
                  <c:v>0.96550748611007875</c:v>
                </c:pt>
                <c:pt idx="134">
                  <c:v>0.96631034178465924</c:v>
                </c:pt>
                <c:pt idx="135">
                  <c:v>0.96709935512002276</c:v>
                </c:pt>
                <c:pt idx="136">
                  <c:v>0.96787193067756627</c:v>
                </c:pt>
                <c:pt idx="137">
                  <c:v>0.96862979874969179</c:v>
                </c:pt>
                <c:pt idx="138">
                  <c:v>0.96936863360539405</c:v>
                </c:pt>
                <c:pt idx="139">
                  <c:v>0.97010227758389</c:v>
                </c:pt>
                <c:pt idx="140">
                  <c:v>0.97082986553897854</c:v>
                </c:pt>
                <c:pt idx="141">
                  <c:v>0.97155658834786607</c:v>
                </c:pt>
                <c:pt idx="142">
                  <c:v>0.97228158086435146</c:v>
                </c:pt>
                <c:pt idx="143">
                  <c:v>0.97300657338083685</c:v>
                </c:pt>
                <c:pt idx="144">
                  <c:v>0.97370993724229582</c:v>
                </c:pt>
                <c:pt idx="145">
                  <c:v>0.97438994215632624</c:v>
                </c:pt>
                <c:pt idx="146">
                  <c:v>0.97504226239192282</c:v>
                </c:pt>
                <c:pt idx="147">
                  <c:v>0.97568939175031311</c:v>
                </c:pt>
                <c:pt idx="148">
                  <c:v>0.97632527420808968</c:v>
                </c:pt>
                <c:pt idx="149">
                  <c:v>0.97695250520385568</c:v>
                </c:pt>
                <c:pt idx="150">
                  <c:v>0.97756675900660583</c:v>
                </c:pt>
                <c:pt idx="151">
                  <c:v>0.9781766870783507</c:v>
                </c:pt>
                <c:pt idx="152">
                  <c:v>0.97875114415585218</c:v>
                </c:pt>
                <c:pt idx="153">
                  <c:v>0.97931348918653893</c:v>
                </c:pt>
                <c:pt idx="154">
                  <c:v>0.9798715084862204</c:v>
                </c:pt>
                <c:pt idx="155">
                  <c:v>0.98041741573908703</c:v>
                </c:pt>
                <c:pt idx="156">
                  <c:v>0.98095640182234523</c:v>
                </c:pt>
                <c:pt idx="157">
                  <c:v>0.98147289410437599</c:v>
                </c:pt>
                <c:pt idx="158">
                  <c:v>0.98198333036299934</c:v>
                </c:pt>
                <c:pt idx="159">
                  <c:v>0.98248684545201426</c:v>
                </c:pt>
                <c:pt idx="160">
                  <c:v>0.98296440615499747</c:v>
                </c:pt>
                <c:pt idx="161">
                  <c:v>0.98344110171177956</c:v>
                </c:pt>
                <c:pt idx="162">
                  <c:v>0.98390828066035008</c:v>
                </c:pt>
                <c:pt idx="163">
                  <c:v>0.98436248241590474</c:v>
                </c:pt>
                <c:pt idx="164">
                  <c:v>0.98481495387905726</c:v>
                </c:pt>
                <c:pt idx="165">
                  <c:v>0.98524579668718337</c:v>
                </c:pt>
                <c:pt idx="166">
                  <c:v>0.98567144861810319</c:v>
                </c:pt>
                <c:pt idx="167">
                  <c:v>0.9860711461629913</c:v>
                </c:pt>
                <c:pt idx="168">
                  <c:v>0.98644748476045085</c:v>
                </c:pt>
                <c:pt idx="169">
                  <c:v>0.98681863248070412</c:v>
                </c:pt>
                <c:pt idx="170">
                  <c:v>0.98717074698453411</c:v>
                </c:pt>
                <c:pt idx="171">
                  <c:v>0.98752199634216309</c:v>
                </c:pt>
                <c:pt idx="172">
                  <c:v>0.98786545938398251</c:v>
                </c:pt>
                <c:pt idx="173">
                  <c:v>0.98820632698719879</c:v>
                </c:pt>
                <c:pt idx="174">
                  <c:v>0.98854632944421406</c:v>
                </c:pt>
                <c:pt idx="175">
                  <c:v>0.9888854667550282</c:v>
                </c:pt>
                <c:pt idx="176">
                  <c:v>0.98921422231142964</c:v>
                </c:pt>
                <c:pt idx="177">
                  <c:v>0.98954211272163006</c:v>
                </c:pt>
                <c:pt idx="178">
                  <c:v>0.98986913798562948</c:v>
                </c:pt>
                <c:pt idx="179">
                  <c:v>0.99019443295722676</c:v>
                </c:pt>
                <c:pt idx="180">
                  <c:v>0.99050588558960706</c:v>
                </c:pt>
                <c:pt idx="181">
                  <c:v>0.9908138776371832</c:v>
                </c:pt>
                <c:pt idx="182">
                  <c:v>0.99110716219934136</c:v>
                </c:pt>
                <c:pt idx="183">
                  <c:v>0.99139179529948895</c:v>
                </c:pt>
                <c:pt idx="184">
                  <c:v>0.99167556325343553</c:v>
                </c:pt>
                <c:pt idx="185">
                  <c:v>0.99195673576877885</c:v>
                </c:pt>
                <c:pt idx="186">
                  <c:v>0.99222493109110632</c:v>
                </c:pt>
                <c:pt idx="187">
                  <c:v>0.99248187951282008</c:v>
                </c:pt>
                <c:pt idx="188">
                  <c:v>0.99272325530291483</c:v>
                </c:pt>
                <c:pt idx="189">
                  <c:v>0.99296117050820543</c:v>
                </c:pt>
                <c:pt idx="190">
                  <c:v>0.9931878388128822</c:v>
                </c:pt>
                <c:pt idx="191">
                  <c:v>0.99340499050934739</c:v>
                </c:pt>
                <c:pt idx="192">
                  <c:v>0.99360916501279672</c:v>
                </c:pt>
                <c:pt idx="193">
                  <c:v>0.99380987893144179</c:v>
                </c:pt>
                <c:pt idx="194">
                  <c:v>0.99400626711908158</c:v>
                </c:pt>
                <c:pt idx="195">
                  <c:v>0.99420179016052035</c:v>
                </c:pt>
                <c:pt idx="196">
                  <c:v>0.99439644805575811</c:v>
                </c:pt>
                <c:pt idx="197">
                  <c:v>0.99458851051239261</c:v>
                </c:pt>
                <c:pt idx="198">
                  <c:v>0.99477624723802183</c:v>
                </c:pt>
                <c:pt idx="199">
                  <c:v>0.99495792794024374</c:v>
                </c:pt>
                <c:pt idx="200">
                  <c:v>0.99513614805766137</c:v>
                </c:pt>
                <c:pt idx="201">
                  <c:v>0.99530917729787272</c:v>
                </c:pt>
                <c:pt idx="202">
                  <c:v>0.99548134139188293</c:v>
                </c:pt>
                <c:pt idx="203">
                  <c:v>0.99563533741567101</c:v>
                </c:pt>
                <c:pt idx="204">
                  <c:v>0.99578414256225267</c:v>
                </c:pt>
                <c:pt idx="205">
                  <c:v>0.99593294770883434</c:v>
                </c:pt>
                <c:pt idx="206">
                  <c:v>0.99607915741681285</c:v>
                </c:pt>
                <c:pt idx="207">
                  <c:v>0.99622190653998721</c:v>
                </c:pt>
                <c:pt idx="208">
                  <c:v>0.996356004201151</c:v>
                </c:pt>
                <c:pt idx="209">
                  <c:v>0.99648837156991266</c:v>
                </c:pt>
                <c:pt idx="210">
                  <c:v>0.99661814350007116</c:v>
                </c:pt>
                <c:pt idx="211">
                  <c:v>0.99674705028402855</c:v>
                </c:pt>
                <c:pt idx="212">
                  <c:v>0.99687509192178492</c:v>
                </c:pt>
                <c:pt idx="213">
                  <c:v>0.99700226841334028</c:v>
                </c:pt>
                <c:pt idx="214">
                  <c:v>0.99712598432009136</c:v>
                </c:pt>
                <c:pt idx="215">
                  <c:v>0.99724970022684245</c:v>
                </c:pt>
                <c:pt idx="216">
                  <c:v>0.99736995554878927</c:v>
                </c:pt>
                <c:pt idx="217">
                  <c:v>0.99748242455492664</c:v>
                </c:pt>
                <c:pt idx="218">
                  <c:v>0.99759489356106401</c:v>
                </c:pt>
                <c:pt idx="219">
                  <c:v>0.99770649742100026</c:v>
                </c:pt>
                <c:pt idx="220">
                  <c:v>0.9978172361347355</c:v>
                </c:pt>
                <c:pt idx="221">
                  <c:v>0.99792797484847073</c:v>
                </c:pt>
                <c:pt idx="222">
                  <c:v>0.9980352529774017</c:v>
                </c:pt>
                <c:pt idx="223">
                  <c:v>0.99813820537532738</c:v>
                </c:pt>
                <c:pt idx="224">
                  <c:v>0.9982376971884489</c:v>
                </c:pt>
                <c:pt idx="225">
                  <c:v>0.9983363238553693</c:v>
                </c:pt>
                <c:pt idx="226">
                  <c:v>0.99843148993748554</c:v>
                </c:pt>
                <c:pt idx="227">
                  <c:v>0.99852665601960178</c:v>
                </c:pt>
                <c:pt idx="228">
                  <c:v>0.99860884490870216</c:v>
                </c:pt>
                <c:pt idx="229">
                  <c:v>0.99868584292059615</c:v>
                </c:pt>
                <c:pt idx="230">
                  <c:v>0.99875851520148484</c:v>
                </c:pt>
                <c:pt idx="231">
                  <c:v>0.99883118748237354</c:v>
                </c:pt>
                <c:pt idx="232">
                  <c:v>0.99890385976326224</c:v>
                </c:pt>
                <c:pt idx="233">
                  <c:v>0.99897653204415093</c:v>
                </c:pt>
                <c:pt idx="234">
                  <c:v>0.99904747403263761</c:v>
                </c:pt>
                <c:pt idx="235">
                  <c:v>0.99911582058252102</c:v>
                </c:pt>
                <c:pt idx="236">
                  <c:v>0.99918157169380128</c:v>
                </c:pt>
                <c:pt idx="237">
                  <c:v>0.99924732280508155</c:v>
                </c:pt>
                <c:pt idx="238">
                  <c:v>0.99930788303915552</c:v>
                </c:pt>
                <c:pt idx="239">
                  <c:v>0.99936498268842522</c:v>
                </c:pt>
                <c:pt idx="240">
                  <c:v>0.99941775660668963</c:v>
                </c:pt>
                <c:pt idx="241">
                  <c:v>0.99946966537875304</c:v>
                </c:pt>
                <c:pt idx="242">
                  <c:v>0.9995198438584143</c:v>
                </c:pt>
                <c:pt idx="243">
                  <c:v>0.99956915719187456</c:v>
                </c:pt>
                <c:pt idx="244">
                  <c:v>0.99961847052533481</c:v>
                </c:pt>
                <c:pt idx="245">
                  <c:v>0.9996643232739908</c:v>
                </c:pt>
                <c:pt idx="246">
                  <c:v>0.99970671543784262</c:v>
                </c:pt>
                <c:pt idx="247">
                  <c:v>0.99974564701689017</c:v>
                </c:pt>
                <c:pt idx="248">
                  <c:v>0.99978111801113345</c:v>
                </c:pt>
                <c:pt idx="249">
                  <c:v>0.99981485871297471</c:v>
                </c:pt>
                <c:pt idx="250">
                  <c:v>0.9998460039762127</c:v>
                </c:pt>
                <c:pt idx="251">
                  <c:v>0.99987368865464654</c:v>
                </c:pt>
                <c:pt idx="252">
                  <c:v>0.99989964304067824</c:v>
                </c:pt>
                <c:pt idx="253">
                  <c:v>0.99992473228050893</c:v>
                </c:pt>
                <c:pt idx="254">
                  <c:v>0.9999489563741385</c:v>
                </c:pt>
                <c:pt idx="255">
                  <c:v>0.99996798959056177</c:v>
                </c:pt>
                <c:pt idx="256">
                  <c:v>0.99998356222218077</c:v>
                </c:pt>
                <c:pt idx="257">
                  <c:v>0.99999221368419133</c:v>
                </c:pt>
                <c:pt idx="258">
                  <c:v>1.000000000000000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29</c:f>
              <c:strCache>
                <c:ptCount val="228"/>
                <c:pt idx="0">
                  <c:v>Ruinart</c:v>
                </c:pt>
                <c:pt idx="1">
                  <c:v>Nicolas</c:v>
                </c:pt>
                <c:pt idx="2">
                  <c:v>Heidsieck &amp;</c:v>
                </c:pt>
                <c:pt idx="3">
                  <c:v>Malard</c:v>
                </c:pt>
                <c:pt idx="4">
                  <c:v>Deutz</c:v>
                </c:pt>
                <c:pt idx="5">
                  <c:v>Ruinart</c:v>
                </c:pt>
                <c:pt idx="6">
                  <c:v>De Bligny</c:v>
                </c:pt>
                <c:pt idx="7">
                  <c:v>Ayala</c:v>
                </c:pt>
                <c:pt idx="8">
                  <c:v>Nicolas Feu</c:v>
                </c:pt>
                <c:pt idx="9">
                  <c:v>Demoiselle</c:v>
                </c:pt>
                <c:pt idx="10">
                  <c:v>Besserat De</c:v>
                </c:pt>
                <c:pt idx="11">
                  <c:v>Canard Duch</c:v>
                </c:pt>
                <c:pt idx="12">
                  <c:v>Bollinger</c:v>
                </c:pt>
                <c:pt idx="13">
                  <c:v>Taittinger</c:v>
                </c:pt>
                <c:pt idx="14">
                  <c:v>Laurent Per</c:v>
                </c:pt>
                <c:pt idx="15">
                  <c:v>Ruinart</c:v>
                </c:pt>
                <c:pt idx="16">
                  <c:v>Deutz</c:v>
                </c:pt>
                <c:pt idx="17">
                  <c:v>All Others</c:v>
                </c:pt>
                <c:pt idx="18">
                  <c:v>Ruinart</c:v>
                </c:pt>
                <c:pt idx="19">
                  <c:v>All Others</c:v>
                </c:pt>
                <c:pt idx="20">
                  <c:v>All Others</c:v>
                </c:pt>
                <c:pt idx="21">
                  <c:v>Vesselle</c:v>
                </c:pt>
                <c:pt idx="22">
                  <c:v>Patriarche</c:v>
                </c:pt>
                <c:pt idx="23">
                  <c:v>Ruinart</c:v>
                </c:pt>
                <c:pt idx="24">
                  <c:v>All Others</c:v>
                </c:pt>
                <c:pt idx="25">
                  <c:v>Malard</c:v>
                </c:pt>
                <c:pt idx="26">
                  <c:v>Demoiselle</c:v>
                </c:pt>
                <c:pt idx="27">
                  <c:v>Laurent Per</c:v>
                </c:pt>
                <c:pt idx="28">
                  <c:v>Ruinart</c:v>
                </c:pt>
                <c:pt idx="29">
                  <c:v>Mure</c:v>
                </c:pt>
                <c:pt idx="30">
                  <c:v>Bottega</c:v>
                </c:pt>
                <c:pt idx="31">
                  <c:v>Malard</c:v>
                </c:pt>
                <c:pt idx="32">
                  <c:v>Bouvet-Ladu</c:v>
                </c:pt>
                <c:pt idx="33">
                  <c:v>Roederer</c:v>
                </c:pt>
                <c:pt idx="34">
                  <c:v>Louis Marti</c:v>
                </c:pt>
                <c:pt idx="35">
                  <c:v>All Others</c:v>
                </c:pt>
                <c:pt idx="36">
                  <c:v>Pommery</c:v>
                </c:pt>
                <c:pt idx="37">
                  <c:v>Henriot</c:v>
                </c:pt>
                <c:pt idx="38">
                  <c:v>Perrier Jou</c:v>
                </c:pt>
                <c:pt idx="39">
                  <c:v>All Others</c:v>
                </c:pt>
                <c:pt idx="40">
                  <c:v>Savian</c:v>
                </c:pt>
                <c:pt idx="41">
                  <c:v>Ruinart</c:v>
                </c:pt>
                <c:pt idx="42">
                  <c:v>All Others</c:v>
                </c:pt>
                <c:pt idx="43">
                  <c:v>Kriter</c:v>
                </c:pt>
                <c:pt idx="44">
                  <c:v>Moët &amp; Chan</c:v>
                </c:pt>
                <c:pt idx="45">
                  <c:v>Chateau Mon</c:v>
                </c:pt>
                <c:pt idx="46">
                  <c:v>Nicolas</c:v>
                </c:pt>
                <c:pt idx="47">
                  <c:v>Deutz</c:v>
                </c:pt>
                <c:pt idx="48">
                  <c:v>Roederer</c:v>
                </c:pt>
                <c:pt idx="49">
                  <c:v>Laurent Per</c:v>
                </c:pt>
                <c:pt idx="50">
                  <c:v>Lyre's</c:v>
                </c:pt>
                <c:pt idx="51">
                  <c:v>Besserat De</c:v>
                </c:pt>
                <c:pt idx="52">
                  <c:v>Nicolas</c:v>
                </c:pt>
                <c:pt idx="53">
                  <c:v>Henriot</c:v>
                </c:pt>
                <c:pt idx="54">
                  <c:v>Campari: Al</c:v>
                </c:pt>
                <c:pt idx="55">
                  <c:v>De Chanceny</c:v>
                </c:pt>
                <c:pt idx="56">
                  <c:v>Deutz</c:v>
                </c:pt>
                <c:pt idx="57">
                  <c:v>Savian</c:v>
                </c:pt>
                <c:pt idx="58">
                  <c:v>Nicolas</c:v>
                </c:pt>
                <c:pt idx="59">
                  <c:v>Patriarche</c:v>
                </c:pt>
                <c:pt idx="60">
                  <c:v>Dom Perigno</c:v>
                </c:pt>
                <c:pt idx="61">
                  <c:v>Veuve Clicq</c:v>
                </c:pt>
                <c:pt idx="62">
                  <c:v>Taittinger</c:v>
                </c:pt>
                <c:pt idx="63">
                  <c:v>Canard Duch</c:v>
                </c:pt>
                <c:pt idx="64">
                  <c:v>De Venoge</c:v>
                </c:pt>
                <c:pt idx="65">
                  <c:v>Ruinart</c:v>
                </c:pt>
                <c:pt idx="66">
                  <c:v>Nicolas Feu</c:v>
                </c:pt>
                <c:pt idx="67">
                  <c:v>Nicolas Feu</c:v>
                </c:pt>
                <c:pt idx="68">
                  <c:v>Piper Heids</c:v>
                </c:pt>
                <c:pt idx="69">
                  <c:v>Veuve Clicq</c:v>
                </c:pt>
                <c:pt idx="70">
                  <c:v>All Others</c:v>
                </c:pt>
                <c:pt idx="71">
                  <c:v>Malard</c:v>
                </c:pt>
                <c:pt idx="72">
                  <c:v>Campari: Al</c:v>
                </c:pt>
                <c:pt idx="73">
                  <c:v>Bollinger</c:v>
                </c:pt>
                <c:pt idx="74">
                  <c:v>Delamotte</c:v>
                </c:pt>
                <c:pt idx="75">
                  <c:v>Ruinart</c:v>
                </c:pt>
                <c:pt idx="76">
                  <c:v>Besserat De</c:v>
                </c:pt>
                <c:pt idx="77">
                  <c:v>All Others</c:v>
                </c:pt>
                <c:pt idx="78">
                  <c:v>All Others</c:v>
                </c:pt>
                <c:pt idx="79">
                  <c:v>Dom Perigno</c:v>
                </c:pt>
                <c:pt idx="80">
                  <c:v>Dom Perigno</c:v>
                </c:pt>
                <c:pt idx="81">
                  <c:v>De Bligny</c:v>
                </c:pt>
                <c:pt idx="82">
                  <c:v>Henriot</c:v>
                </c:pt>
                <c:pt idx="83">
                  <c:v>Nicolas</c:v>
                </c:pt>
                <c:pt idx="84">
                  <c:v>Deutz</c:v>
                </c:pt>
                <c:pt idx="85">
                  <c:v>Vranken</c:v>
                </c:pt>
                <c:pt idx="86">
                  <c:v>De Venoge</c:v>
                </c:pt>
                <c:pt idx="87">
                  <c:v>De Chanceny</c:v>
                </c:pt>
                <c:pt idx="88">
                  <c:v>Nicolas</c:v>
                </c:pt>
                <c:pt idx="89">
                  <c:v>All Others</c:v>
                </c:pt>
                <c:pt idx="90">
                  <c:v>Malard</c:v>
                </c:pt>
                <c:pt idx="91">
                  <c:v>Pommery</c:v>
                </c:pt>
                <c:pt idx="92">
                  <c:v>Lanson</c:v>
                </c:pt>
                <c:pt idx="93">
                  <c:v>Cru La Maqu</c:v>
                </c:pt>
                <c:pt idx="94">
                  <c:v>Laurent Per</c:v>
                </c:pt>
                <c:pt idx="95">
                  <c:v>All Others</c:v>
                </c:pt>
                <c:pt idx="96">
                  <c:v>All Others</c:v>
                </c:pt>
                <c:pt idx="97">
                  <c:v>Ruinart</c:v>
                </c:pt>
                <c:pt idx="98">
                  <c:v>Bottega</c:v>
                </c:pt>
                <c:pt idx="99">
                  <c:v>De Venoge</c:v>
                </c:pt>
                <c:pt idx="100">
                  <c:v>Ruinart</c:v>
                </c:pt>
                <c:pt idx="101">
                  <c:v>Veuve Clicq</c:v>
                </c:pt>
                <c:pt idx="102">
                  <c:v>Laurent Per</c:v>
                </c:pt>
                <c:pt idx="103">
                  <c:v>Roederer</c:v>
                </c:pt>
                <c:pt idx="104">
                  <c:v>Malard</c:v>
                </c:pt>
                <c:pt idx="105">
                  <c:v>All Others</c:v>
                </c:pt>
                <c:pt idx="106">
                  <c:v>Nicolas</c:v>
                </c:pt>
                <c:pt idx="107">
                  <c:v>All Others</c:v>
                </c:pt>
                <c:pt idx="108">
                  <c:v>All Others</c:v>
                </c:pt>
                <c:pt idx="109">
                  <c:v>Nicolas Feu</c:v>
                </c:pt>
                <c:pt idx="110">
                  <c:v>All Others</c:v>
                </c:pt>
                <c:pt idx="111">
                  <c:v>Roederer</c:v>
                </c:pt>
                <c:pt idx="112">
                  <c:v>Roederer</c:v>
                </c:pt>
                <c:pt idx="113">
                  <c:v>Canard Duch</c:v>
                </c:pt>
                <c:pt idx="114">
                  <c:v>Roederer</c:v>
                </c:pt>
                <c:pt idx="115">
                  <c:v>Roederer</c:v>
                </c:pt>
                <c:pt idx="116">
                  <c:v>Ruinart</c:v>
                </c:pt>
                <c:pt idx="117">
                  <c:v>Contarini</c:v>
                </c:pt>
                <c:pt idx="118">
                  <c:v>All Others</c:v>
                </c:pt>
                <c:pt idx="119">
                  <c:v>Besserat De</c:v>
                </c:pt>
                <c:pt idx="120">
                  <c:v>Ruinart</c:v>
                </c:pt>
                <c:pt idx="121">
                  <c:v>Veuve Clicq</c:v>
                </c:pt>
                <c:pt idx="122">
                  <c:v>Ayala</c:v>
                </c:pt>
                <c:pt idx="123">
                  <c:v>Roederer</c:v>
                </c:pt>
                <c:pt idx="124">
                  <c:v>Krug</c:v>
                </c:pt>
                <c:pt idx="125">
                  <c:v>All Others</c:v>
                </c:pt>
                <c:pt idx="126">
                  <c:v>Roederer</c:v>
                </c:pt>
                <c:pt idx="127">
                  <c:v>Louis Marti</c:v>
                </c:pt>
                <c:pt idx="128">
                  <c:v>Moët &amp; Chan</c:v>
                </c:pt>
                <c:pt idx="129">
                  <c:v>Canard Duch</c:v>
                </c:pt>
                <c:pt idx="130">
                  <c:v>Nicolas</c:v>
                </c:pt>
                <c:pt idx="131">
                  <c:v>Nicolas</c:v>
                </c:pt>
                <c:pt idx="132">
                  <c:v>Ayala</c:v>
                </c:pt>
                <c:pt idx="133">
                  <c:v>Nicolas</c:v>
                </c:pt>
                <c:pt idx="134">
                  <c:v>Ruinart</c:v>
                </c:pt>
                <c:pt idx="135">
                  <c:v>Laurent Per</c:v>
                </c:pt>
                <c:pt idx="136">
                  <c:v>Nicolas</c:v>
                </c:pt>
                <c:pt idx="137">
                  <c:v>Roederer</c:v>
                </c:pt>
                <c:pt idx="138">
                  <c:v>De Venoge</c:v>
                </c:pt>
                <c:pt idx="139">
                  <c:v>Nicolas Feu</c:v>
                </c:pt>
                <c:pt idx="140">
                  <c:v>Moët &amp; Chan</c:v>
                </c:pt>
                <c:pt idx="141">
                  <c:v>Roederer</c:v>
                </c:pt>
                <c:pt idx="142">
                  <c:v>Roederer</c:v>
                </c:pt>
                <c:pt idx="143">
                  <c:v>De Venoge</c:v>
                </c:pt>
                <c:pt idx="144">
                  <c:v>All Others</c:v>
                </c:pt>
                <c:pt idx="145">
                  <c:v>All Others</c:v>
                </c:pt>
                <c:pt idx="146">
                  <c:v>Henriot</c:v>
                </c:pt>
                <c:pt idx="147">
                  <c:v>Laurent Per</c:v>
                </c:pt>
                <c:pt idx="148">
                  <c:v>Perrier Jou</c:v>
                </c:pt>
                <c:pt idx="149">
                  <c:v>Contarini</c:v>
                </c:pt>
                <c:pt idx="150">
                  <c:v>Nicolas</c:v>
                </c:pt>
                <c:pt idx="151">
                  <c:v>Nicolas</c:v>
                </c:pt>
                <c:pt idx="152">
                  <c:v>Nicolas</c:v>
                </c:pt>
                <c:pt idx="153">
                  <c:v>Taittinger</c:v>
                </c:pt>
                <c:pt idx="154">
                  <c:v>All Others</c:v>
                </c:pt>
                <c:pt idx="155">
                  <c:v>Bollinger</c:v>
                </c:pt>
                <c:pt idx="156">
                  <c:v>Pommery</c:v>
                </c:pt>
                <c:pt idx="157">
                  <c:v>Demoiselle</c:v>
                </c:pt>
                <c:pt idx="158">
                  <c:v>All Others</c:v>
                </c:pt>
                <c:pt idx="159">
                  <c:v>Deutz</c:v>
                </c:pt>
                <c:pt idx="160">
                  <c:v>Bollinger</c:v>
                </c:pt>
                <c:pt idx="161">
                  <c:v>Taittinger</c:v>
                </c:pt>
                <c:pt idx="162">
                  <c:v>Nicolas</c:v>
                </c:pt>
                <c:pt idx="163">
                  <c:v>Besserat De</c:v>
                </c:pt>
                <c:pt idx="164">
                  <c:v>All Others</c:v>
                </c:pt>
                <c:pt idx="165">
                  <c:v>Nicolas</c:v>
                </c:pt>
                <c:pt idx="166">
                  <c:v>Canard Duch</c:v>
                </c:pt>
                <c:pt idx="167">
                  <c:v>All Others</c:v>
                </c:pt>
                <c:pt idx="168">
                  <c:v>Roederer</c:v>
                </c:pt>
                <c:pt idx="169">
                  <c:v>Vranken</c:v>
                </c:pt>
                <c:pt idx="170">
                  <c:v>Deutz</c:v>
                </c:pt>
                <c:pt idx="171">
                  <c:v>Canard Duch</c:v>
                </c:pt>
                <c:pt idx="172">
                  <c:v>Piper Heids</c:v>
                </c:pt>
                <c:pt idx="173">
                  <c:v>Nicolas</c:v>
                </c:pt>
                <c:pt idx="174">
                  <c:v>Laurent Per</c:v>
                </c:pt>
                <c:pt idx="175">
                  <c:v>Pommery</c:v>
                </c:pt>
                <c:pt idx="176">
                  <c:v>Piper Heids</c:v>
                </c:pt>
                <c:pt idx="177">
                  <c:v>Nicolas</c:v>
                </c:pt>
                <c:pt idx="178">
                  <c:v>All Others</c:v>
                </c:pt>
                <c:pt idx="179">
                  <c:v>Henriot</c:v>
                </c:pt>
                <c:pt idx="180">
                  <c:v>Ruinart</c:v>
                </c:pt>
                <c:pt idx="181">
                  <c:v>Bouvet-Ladu</c:v>
                </c:pt>
                <c:pt idx="182">
                  <c:v>Taittinger</c:v>
                </c:pt>
                <c:pt idx="183">
                  <c:v>All Others</c:v>
                </c:pt>
                <c:pt idx="184">
                  <c:v>Pommery</c:v>
                </c:pt>
                <c:pt idx="185">
                  <c:v>Nicolas</c:v>
                </c:pt>
                <c:pt idx="186">
                  <c:v>Ruinart</c:v>
                </c:pt>
                <c:pt idx="187">
                  <c:v>All Others</c:v>
                </c:pt>
                <c:pt idx="188">
                  <c:v>Demoiselle</c:v>
                </c:pt>
                <c:pt idx="189">
                  <c:v>De Venoge</c:v>
                </c:pt>
                <c:pt idx="190">
                  <c:v>Ruinart</c:v>
                </c:pt>
                <c:pt idx="191">
                  <c:v>Deutz</c:v>
                </c:pt>
                <c:pt idx="192">
                  <c:v>Vesselle</c:v>
                </c:pt>
                <c:pt idx="193">
                  <c:v>All Others</c:v>
                </c:pt>
                <c:pt idx="194">
                  <c:v>All Others</c:v>
                </c:pt>
                <c:pt idx="195">
                  <c:v>Bottega</c:v>
                </c:pt>
                <c:pt idx="196">
                  <c:v>Vesselle</c:v>
                </c:pt>
                <c:pt idx="197">
                  <c:v>Bollinger</c:v>
                </c:pt>
                <c:pt idx="198">
                  <c:v>Celene</c:v>
                </c:pt>
                <c:pt idx="199">
                  <c:v>All Others</c:v>
                </c:pt>
                <c:pt idx="200">
                  <c:v>Ruinart</c:v>
                </c:pt>
                <c:pt idx="201">
                  <c:v>Roederer</c:v>
                </c:pt>
                <c:pt idx="202">
                  <c:v>De Venoge</c:v>
                </c:pt>
                <c:pt idx="203">
                  <c:v>Roederer</c:v>
                </c:pt>
                <c:pt idx="204">
                  <c:v>Henriot</c:v>
                </c:pt>
                <c:pt idx="205">
                  <c:v>Nicolas</c:v>
                </c:pt>
                <c:pt idx="206">
                  <c:v>Bollinger</c:v>
                </c:pt>
                <c:pt idx="207">
                  <c:v>Roederer</c:v>
                </c:pt>
                <c:pt idx="208">
                  <c:v>Celene</c:v>
                </c:pt>
                <c:pt idx="209">
                  <c:v>Lanson</c:v>
                </c:pt>
                <c:pt idx="210">
                  <c:v>Vranken</c:v>
                </c:pt>
                <c:pt idx="211">
                  <c:v>De Venoge</c:v>
                </c:pt>
                <c:pt idx="212">
                  <c:v>Ayala</c:v>
                </c:pt>
                <c:pt idx="213">
                  <c:v>Laurent Per</c:v>
                </c:pt>
                <c:pt idx="214">
                  <c:v>Ayala</c:v>
                </c:pt>
                <c:pt idx="215">
                  <c:v>Delamotte</c:v>
                </c:pt>
                <c:pt idx="216">
                  <c:v>Bouvet-Ladu</c:v>
                </c:pt>
                <c:pt idx="217">
                  <c:v>Ayala</c:v>
                </c:pt>
                <c:pt idx="218">
                  <c:v>Lanson</c:v>
                </c:pt>
                <c:pt idx="219">
                  <c:v>Besserat De</c:v>
                </c:pt>
                <c:pt idx="220">
                  <c:v>Contarini</c:v>
                </c:pt>
                <c:pt idx="221">
                  <c:v>All Others</c:v>
                </c:pt>
                <c:pt idx="222">
                  <c:v>All Others</c:v>
                </c:pt>
                <c:pt idx="223">
                  <c:v>Besserat De</c:v>
                </c:pt>
                <c:pt idx="224">
                  <c:v>All Others</c:v>
                </c:pt>
                <c:pt idx="225">
                  <c:v>All Others</c:v>
                </c:pt>
                <c:pt idx="226">
                  <c:v>Bottega</c:v>
                </c:pt>
                <c:pt idx="227">
                  <c:v>All Others</c:v>
                </c:pt>
              </c:strCache>
            </c:strRef>
          </c:cat>
          <c:val>
            <c:numRef>
              <c:f>Sheet1!$B$2:$B$229</c:f>
              <c:numCache>
                <c:formatCode>General</c:formatCode>
                <c:ptCount val="228"/>
                <c:pt idx="0">
                  <c:v>1</c:v>
                </c:pt>
                <c:pt idx="1">
                  <c:v>1</c:v>
                </c:pt>
                <c:pt idx="2">
                  <c:v>0.95</c:v>
                </c:pt>
                <c:pt idx="3">
                  <c:v>1</c:v>
                </c:pt>
                <c:pt idx="4">
                  <c:v>1</c:v>
                </c:pt>
                <c:pt idx="5">
                  <c:v>0.82</c:v>
                </c:pt>
                <c:pt idx="6">
                  <c:v>1</c:v>
                </c:pt>
                <c:pt idx="7">
                  <c:v>1</c:v>
                </c:pt>
                <c:pt idx="8">
                  <c:v>0.93</c:v>
                </c:pt>
                <c:pt idx="9">
                  <c:v>1</c:v>
                </c:pt>
                <c:pt idx="10">
                  <c:v>0.94</c:v>
                </c:pt>
                <c:pt idx="11">
                  <c:v>1</c:v>
                </c:pt>
                <c:pt idx="12">
                  <c:v>1</c:v>
                </c:pt>
                <c:pt idx="13">
                  <c:v>0.94</c:v>
                </c:pt>
                <c:pt idx="14">
                  <c:v>0.86</c:v>
                </c:pt>
                <c:pt idx="15">
                  <c:v>0.55000000000000004</c:v>
                </c:pt>
                <c:pt idx="16">
                  <c:v>0.79</c:v>
                </c:pt>
                <c:pt idx="17">
                  <c:v>1</c:v>
                </c:pt>
                <c:pt idx="18">
                  <c:v>0.56000000000000005</c:v>
                </c:pt>
                <c:pt idx="19">
                  <c:v>0.28000000000000003</c:v>
                </c:pt>
                <c:pt idx="20">
                  <c:v>0.9</c:v>
                </c:pt>
                <c:pt idx="21">
                  <c:v>0.8</c:v>
                </c:pt>
                <c:pt idx="22">
                  <c:v>1</c:v>
                </c:pt>
                <c:pt idx="23">
                  <c:v>0.93</c:v>
                </c:pt>
                <c:pt idx="24">
                  <c:v>0.72</c:v>
                </c:pt>
                <c:pt idx="25">
                  <c:v>0.85</c:v>
                </c:pt>
                <c:pt idx="26">
                  <c:v>0.77</c:v>
                </c:pt>
                <c:pt idx="27">
                  <c:v>0.76</c:v>
                </c:pt>
                <c:pt idx="28">
                  <c:v>0.56999999999999995</c:v>
                </c:pt>
                <c:pt idx="29">
                  <c:v>0.83</c:v>
                </c:pt>
                <c:pt idx="30">
                  <c:v>0.72</c:v>
                </c:pt>
                <c:pt idx="31">
                  <c:v>0.77</c:v>
                </c:pt>
                <c:pt idx="32">
                  <c:v>0.98</c:v>
                </c:pt>
                <c:pt idx="33">
                  <c:v>0.59</c:v>
                </c:pt>
                <c:pt idx="34">
                  <c:v>0.66</c:v>
                </c:pt>
                <c:pt idx="35">
                  <c:v>0.76</c:v>
                </c:pt>
                <c:pt idx="36">
                  <c:v>0.69</c:v>
                </c:pt>
                <c:pt idx="37">
                  <c:v>0.83</c:v>
                </c:pt>
                <c:pt idx="38">
                  <c:v>0.7</c:v>
                </c:pt>
                <c:pt idx="39">
                  <c:v>0.64</c:v>
                </c:pt>
                <c:pt idx="40">
                  <c:v>0.6</c:v>
                </c:pt>
                <c:pt idx="41">
                  <c:v>0.35</c:v>
                </c:pt>
                <c:pt idx="42">
                  <c:v>0.56999999999999995</c:v>
                </c:pt>
                <c:pt idx="43">
                  <c:v>0.89</c:v>
                </c:pt>
                <c:pt idx="44">
                  <c:v>0.55000000000000004</c:v>
                </c:pt>
                <c:pt idx="45">
                  <c:v>0.82</c:v>
                </c:pt>
                <c:pt idx="46">
                  <c:v>0.76</c:v>
                </c:pt>
                <c:pt idx="47">
                  <c:v>0.85</c:v>
                </c:pt>
                <c:pt idx="48">
                  <c:v>0.65</c:v>
                </c:pt>
                <c:pt idx="49">
                  <c:v>0.42</c:v>
                </c:pt>
                <c:pt idx="50">
                  <c:v>1</c:v>
                </c:pt>
                <c:pt idx="51">
                  <c:v>0.62</c:v>
                </c:pt>
                <c:pt idx="52">
                  <c:v>0.56000000000000005</c:v>
                </c:pt>
                <c:pt idx="53">
                  <c:v>0.77</c:v>
                </c:pt>
                <c:pt idx="54">
                  <c:v>0.56000000000000005</c:v>
                </c:pt>
                <c:pt idx="55">
                  <c:v>0.53</c:v>
                </c:pt>
                <c:pt idx="56">
                  <c:v>0.64</c:v>
                </c:pt>
                <c:pt idx="57">
                  <c:v>0.8</c:v>
                </c:pt>
                <c:pt idx="58">
                  <c:v>0.51</c:v>
                </c:pt>
                <c:pt idx="59">
                  <c:v>0.69</c:v>
                </c:pt>
                <c:pt idx="60">
                  <c:v>0.45</c:v>
                </c:pt>
                <c:pt idx="61">
                  <c:v>0.44</c:v>
                </c:pt>
                <c:pt idx="62">
                  <c:v>0.62</c:v>
                </c:pt>
                <c:pt idx="63">
                  <c:v>0.8</c:v>
                </c:pt>
                <c:pt idx="64">
                  <c:v>0.68</c:v>
                </c:pt>
                <c:pt idx="65">
                  <c:v>0.55000000000000004</c:v>
                </c:pt>
                <c:pt idx="66">
                  <c:v>0.53</c:v>
                </c:pt>
                <c:pt idx="67">
                  <c:v>0.52</c:v>
                </c:pt>
                <c:pt idx="68">
                  <c:v>0.56000000000000005</c:v>
                </c:pt>
                <c:pt idx="69">
                  <c:v>0.56000000000000005</c:v>
                </c:pt>
                <c:pt idx="70">
                  <c:v>0.66</c:v>
                </c:pt>
                <c:pt idx="71">
                  <c:v>0.6</c:v>
                </c:pt>
                <c:pt idx="72">
                  <c:v>0.56999999999999995</c:v>
                </c:pt>
                <c:pt idx="73">
                  <c:v>0.51</c:v>
                </c:pt>
                <c:pt idx="74">
                  <c:v>0.55000000000000004</c:v>
                </c:pt>
                <c:pt idx="75">
                  <c:v>0.66</c:v>
                </c:pt>
                <c:pt idx="76">
                  <c:v>0.41</c:v>
                </c:pt>
                <c:pt idx="77">
                  <c:v>0.59</c:v>
                </c:pt>
                <c:pt idx="78">
                  <c:v>0.68</c:v>
                </c:pt>
                <c:pt idx="79">
                  <c:v>0.36</c:v>
                </c:pt>
                <c:pt idx="80">
                  <c:v>0.45</c:v>
                </c:pt>
                <c:pt idx="81">
                  <c:v>0.38</c:v>
                </c:pt>
                <c:pt idx="82">
                  <c:v>0.47</c:v>
                </c:pt>
                <c:pt idx="83">
                  <c:v>0.49</c:v>
                </c:pt>
                <c:pt idx="84">
                  <c:v>0.38</c:v>
                </c:pt>
                <c:pt idx="85">
                  <c:v>0.34</c:v>
                </c:pt>
                <c:pt idx="86">
                  <c:v>0.73</c:v>
                </c:pt>
                <c:pt idx="87">
                  <c:v>0.75</c:v>
                </c:pt>
                <c:pt idx="88">
                  <c:v>0.85</c:v>
                </c:pt>
                <c:pt idx="89">
                  <c:v>0.23</c:v>
                </c:pt>
                <c:pt idx="90">
                  <c:v>0.47</c:v>
                </c:pt>
                <c:pt idx="91">
                  <c:v>0.38</c:v>
                </c:pt>
                <c:pt idx="92">
                  <c:v>0.37</c:v>
                </c:pt>
                <c:pt idx="93">
                  <c:v>0.62</c:v>
                </c:pt>
                <c:pt idx="94">
                  <c:v>0.36</c:v>
                </c:pt>
                <c:pt idx="95">
                  <c:v>0.33</c:v>
                </c:pt>
                <c:pt idx="96">
                  <c:v>0.44</c:v>
                </c:pt>
                <c:pt idx="97">
                  <c:v>0.35</c:v>
                </c:pt>
                <c:pt idx="98">
                  <c:v>0.59</c:v>
                </c:pt>
                <c:pt idx="99">
                  <c:v>0.39</c:v>
                </c:pt>
                <c:pt idx="100">
                  <c:v>0.52</c:v>
                </c:pt>
                <c:pt idx="101">
                  <c:v>0.46</c:v>
                </c:pt>
                <c:pt idx="102">
                  <c:v>0.18</c:v>
                </c:pt>
                <c:pt idx="103">
                  <c:v>0.21</c:v>
                </c:pt>
                <c:pt idx="104">
                  <c:v>0.43</c:v>
                </c:pt>
                <c:pt idx="105">
                  <c:v>0.47</c:v>
                </c:pt>
                <c:pt idx="106">
                  <c:v>0.46</c:v>
                </c:pt>
                <c:pt idx="107">
                  <c:v>0.56000000000000005</c:v>
                </c:pt>
                <c:pt idx="108">
                  <c:v>0.59</c:v>
                </c:pt>
                <c:pt idx="109">
                  <c:v>0.36</c:v>
                </c:pt>
                <c:pt idx="110">
                  <c:v>0.28000000000000003</c:v>
                </c:pt>
                <c:pt idx="111">
                  <c:v>0.38</c:v>
                </c:pt>
                <c:pt idx="112">
                  <c:v>0.46</c:v>
                </c:pt>
                <c:pt idx="113">
                  <c:v>0.32</c:v>
                </c:pt>
                <c:pt idx="114">
                  <c:v>0.28000000000000003</c:v>
                </c:pt>
                <c:pt idx="115">
                  <c:v>0.28000000000000003</c:v>
                </c:pt>
                <c:pt idx="116">
                  <c:v>0.45</c:v>
                </c:pt>
                <c:pt idx="117">
                  <c:v>0.83</c:v>
                </c:pt>
                <c:pt idx="118">
                  <c:v>0.56999999999999995</c:v>
                </c:pt>
                <c:pt idx="119">
                  <c:v>0.33</c:v>
                </c:pt>
                <c:pt idx="120">
                  <c:v>0.25</c:v>
                </c:pt>
                <c:pt idx="121">
                  <c:v>0.38</c:v>
                </c:pt>
                <c:pt idx="122">
                  <c:v>0.36</c:v>
                </c:pt>
                <c:pt idx="123">
                  <c:v>0.32</c:v>
                </c:pt>
                <c:pt idx="124">
                  <c:v>0.36</c:v>
                </c:pt>
                <c:pt idx="125">
                  <c:v>0.68</c:v>
                </c:pt>
                <c:pt idx="126">
                  <c:v>0.26</c:v>
                </c:pt>
                <c:pt idx="127">
                  <c:v>0.13</c:v>
                </c:pt>
                <c:pt idx="128">
                  <c:v>0.22</c:v>
                </c:pt>
                <c:pt idx="129">
                  <c:v>0.24</c:v>
                </c:pt>
                <c:pt idx="130">
                  <c:v>0.4</c:v>
                </c:pt>
                <c:pt idx="131">
                  <c:v>0.62</c:v>
                </c:pt>
                <c:pt idx="132">
                  <c:v>0.31</c:v>
                </c:pt>
                <c:pt idx="133">
                  <c:v>0.38</c:v>
                </c:pt>
                <c:pt idx="134">
                  <c:v>0.25</c:v>
                </c:pt>
                <c:pt idx="135">
                  <c:v>0.18</c:v>
                </c:pt>
                <c:pt idx="136">
                  <c:v>0.62</c:v>
                </c:pt>
                <c:pt idx="137">
                  <c:v>0.36</c:v>
                </c:pt>
                <c:pt idx="138">
                  <c:v>0.22</c:v>
                </c:pt>
                <c:pt idx="139">
                  <c:v>0.45</c:v>
                </c:pt>
                <c:pt idx="140">
                  <c:v>0.27</c:v>
                </c:pt>
                <c:pt idx="141">
                  <c:v>0.26</c:v>
                </c:pt>
                <c:pt idx="142">
                  <c:v>0.42</c:v>
                </c:pt>
                <c:pt idx="143">
                  <c:v>0.27</c:v>
                </c:pt>
                <c:pt idx="144">
                  <c:v>0.31</c:v>
                </c:pt>
                <c:pt idx="145">
                  <c:v>0.26</c:v>
                </c:pt>
                <c:pt idx="146">
                  <c:v>0.27</c:v>
                </c:pt>
                <c:pt idx="147">
                  <c:v>0.25</c:v>
                </c:pt>
                <c:pt idx="148">
                  <c:v>0.24</c:v>
                </c:pt>
                <c:pt idx="149">
                  <c:v>0.45</c:v>
                </c:pt>
                <c:pt idx="150">
                  <c:v>0.24</c:v>
                </c:pt>
                <c:pt idx="151">
                  <c:v>0.26</c:v>
                </c:pt>
                <c:pt idx="152">
                  <c:v>0.48</c:v>
                </c:pt>
                <c:pt idx="153">
                  <c:v>0.25</c:v>
                </c:pt>
                <c:pt idx="154">
                  <c:v>0.21</c:v>
                </c:pt>
                <c:pt idx="155">
                  <c:v>0.34</c:v>
                </c:pt>
                <c:pt idx="156">
                  <c:v>0.27</c:v>
                </c:pt>
                <c:pt idx="157">
                  <c:v>0.32</c:v>
                </c:pt>
                <c:pt idx="158">
                  <c:v>0.23</c:v>
                </c:pt>
                <c:pt idx="159">
                  <c:v>0.22</c:v>
                </c:pt>
                <c:pt idx="160">
                  <c:v>0.16</c:v>
                </c:pt>
                <c:pt idx="161">
                  <c:v>0.06</c:v>
                </c:pt>
                <c:pt idx="162">
                  <c:v>0.14000000000000001</c:v>
                </c:pt>
                <c:pt idx="163">
                  <c:v>0.32</c:v>
                </c:pt>
                <c:pt idx="164">
                  <c:v>0.31</c:v>
                </c:pt>
                <c:pt idx="165">
                  <c:v>0.11</c:v>
                </c:pt>
                <c:pt idx="166">
                  <c:v>0.16</c:v>
                </c:pt>
                <c:pt idx="167">
                  <c:v>0.35</c:v>
                </c:pt>
                <c:pt idx="168">
                  <c:v>0.26</c:v>
                </c:pt>
                <c:pt idx="169">
                  <c:v>0.3</c:v>
                </c:pt>
                <c:pt idx="170">
                  <c:v>0.24</c:v>
                </c:pt>
                <c:pt idx="171">
                  <c:v>0.45</c:v>
                </c:pt>
                <c:pt idx="172">
                  <c:v>0.14000000000000001</c:v>
                </c:pt>
                <c:pt idx="173">
                  <c:v>0.1</c:v>
                </c:pt>
                <c:pt idx="174">
                  <c:v>0.12</c:v>
                </c:pt>
                <c:pt idx="175">
                  <c:v>0.2</c:v>
                </c:pt>
                <c:pt idx="176">
                  <c:v>0.26</c:v>
                </c:pt>
                <c:pt idx="177">
                  <c:v>0.35</c:v>
                </c:pt>
                <c:pt idx="178">
                  <c:v>0.09</c:v>
                </c:pt>
                <c:pt idx="179">
                  <c:v>0.08</c:v>
                </c:pt>
                <c:pt idx="180">
                  <c:v>0.16</c:v>
                </c:pt>
                <c:pt idx="181">
                  <c:v>0.33</c:v>
                </c:pt>
                <c:pt idx="182">
                  <c:v>0.32</c:v>
                </c:pt>
                <c:pt idx="183">
                  <c:v>7.0000000000000007E-2</c:v>
                </c:pt>
                <c:pt idx="184">
                  <c:v>0.22</c:v>
                </c:pt>
                <c:pt idx="185">
                  <c:v>0.66</c:v>
                </c:pt>
                <c:pt idx="186">
                  <c:v>0.04</c:v>
                </c:pt>
                <c:pt idx="187">
                  <c:v>0.17</c:v>
                </c:pt>
                <c:pt idx="188">
                  <c:v>0.24</c:v>
                </c:pt>
                <c:pt idx="189">
                  <c:v>0.2</c:v>
                </c:pt>
                <c:pt idx="190">
                  <c:v>0.11</c:v>
                </c:pt>
                <c:pt idx="191">
                  <c:v>0.11</c:v>
                </c:pt>
                <c:pt idx="192">
                  <c:v>0.34</c:v>
                </c:pt>
                <c:pt idx="193">
                  <c:v>0.22</c:v>
                </c:pt>
                <c:pt idx="194">
                  <c:v>0.12</c:v>
                </c:pt>
                <c:pt idx="195">
                  <c:v>0.52</c:v>
                </c:pt>
                <c:pt idx="196">
                  <c:v>0.15</c:v>
                </c:pt>
                <c:pt idx="197">
                  <c:v>0.2</c:v>
                </c:pt>
                <c:pt idx="198">
                  <c:v>0.39</c:v>
                </c:pt>
                <c:pt idx="199">
                  <c:v>0.56000000000000005</c:v>
                </c:pt>
                <c:pt idx="200">
                  <c:v>0.21</c:v>
                </c:pt>
                <c:pt idx="201">
                  <c:v>0.06</c:v>
                </c:pt>
                <c:pt idx="202">
                  <c:v>0.12</c:v>
                </c:pt>
                <c:pt idx="203">
                  <c:v>0.04</c:v>
                </c:pt>
                <c:pt idx="204">
                  <c:v>0.21</c:v>
                </c:pt>
                <c:pt idx="205">
                  <c:v>7.0000000000000007E-2</c:v>
                </c:pt>
                <c:pt idx="206">
                  <c:v>0.32</c:v>
                </c:pt>
                <c:pt idx="207">
                  <c:v>0.13</c:v>
                </c:pt>
                <c:pt idx="208">
                  <c:v>0.34</c:v>
                </c:pt>
                <c:pt idx="209">
                  <c:v>0.22</c:v>
                </c:pt>
                <c:pt idx="210">
                  <c:v>0.16</c:v>
                </c:pt>
                <c:pt idx="211">
                  <c:v>0.45</c:v>
                </c:pt>
                <c:pt idx="212">
                  <c:v>0.21</c:v>
                </c:pt>
                <c:pt idx="213">
                  <c:v>0.28000000000000003</c:v>
                </c:pt>
                <c:pt idx="214">
                  <c:v>0.08</c:v>
                </c:pt>
                <c:pt idx="215">
                  <c:v>0.06</c:v>
                </c:pt>
                <c:pt idx="216">
                  <c:v>0.05</c:v>
                </c:pt>
                <c:pt idx="217">
                  <c:v>0.06</c:v>
                </c:pt>
                <c:pt idx="218">
                  <c:v>0.08</c:v>
                </c:pt>
                <c:pt idx="219">
                  <c:v>0.08</c:v>
                </c:pt>
                <c:pt idx="220">
                  <c:v>7.0000000000000007E-2</c:v>
                </c:pt>
                <c:pt idx="221">
                  <c:v>0.1</c:v>
                </c:pt>
                <c:pt idx="222">
                  <c:v>0.38</c:v>
                </c:pt>
                <c:pt idx="223">
                  <c:v>0.09</c:v>
                </c:pt>
                <c:pt idx="224">
                  <c:v>0.34</c:v>
                </c:pt>
                <c:pt idx="225">
                  <c:v>0.08</c:v>
                </c:pt>
                <c:pt idx="226">
                  <c:v>0.2</c:v>
                </c:pt>
                <c:pt idx="227">
                  <c:v>0.3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D15E-4766-9FB1-0CAA6F06190F}"/>
              </c:ext>
            </c:extLst>
          </c:dPt>
          <c:dPt>
            <c:idx val="211"/>
            <c:invertIfNegative val="1"/>
            <c:bubble3D val="0"/>
            <c:spPr>
              <a:solidFill>
                <a:srgbClr val="AEABAB"/>
              </a:solidFill>
            </c:spPr>
            <c:extLst>
              <c:ext xmlns:c16="http://schemas.microsoft.com/office/drawing/2014/chart" uri="{C3380CC4-5D6E-409C-BE32-E72D297353CC}">
                <c16:uniqueId val="{000001A9-D15E-4766-9FB1-0CAA6F06190F}"/>
              </c:ext>
            </c:extLst>
          </c:dPt>
          <c:dPt>
            <c:idx val="212"/>
            <c:invertIfNegative val="1"/>
            <c:bubble3D val="0"/>
            <c:spPr>
              <a:solidFill>
                <a:srgbClr val="AEABAB"/>
              </a:solidFill>
            </c:spPr>
            <c:extLst>
              <c:ext xmlns:c16="http://schemas.microsoft.com/office/drawing/2014/chart" uri="{C3380CC4-5D6E-409C-BE32-E72D297353CC}">
                <c16:uniqueId val="{000001AB-D15E-4766-9FB1-0CAA6F06190F}"/>
              </c:ext>
            </c:extLst>
          </c:dPt>
          <c:dPt>
            <c:idx val="213"/>
            <c:invertIfNegative val="1"/>
            <c:bubble3D val="0"/>
            <c:spPr>
              <a:solidFill>
                <a:srgbClr val="AEABAB"/>
              </a:solidFill>
            </c:spPr>
            <c:extLst>
              <c:ext xmlns:c16="http://schemas.microsoft.com/office/drawing/2014/chart" uri="{C3380CC4-5D6E-409C-BE32-E72D297353CC}">
                <c16:uniqueId val="{000001AD-D15E-4766-9FB1-0CAA6F06190F}"/>
              </c:ext>
            </c:extLst>
          </c:dPt>
          <c:dPt>
            <c:idx val="214"/>
            <c:invertIfNegative val="1"/>
            <c:bubble3D val="0"/>
            <c:spPr>
              <a:solidFill>
                <a:srgbClr val="AEABAB"/>
              </a:solidFill>
            </c:spPr>
            <c:extLst>
              <c:ext xmlns:c16="http://schemas.microsoft.com/office/drawing/2014/chart" uri="{C3380CC4-5D6E-409C-BE32-E72D297353CC}">
                <c16:uniqueId val="{000001AF-D15E-4766-9FB1-0CAA6F06190F}"/>
              </c:ext>
            </c:extLst>
          </c:dPt>
          <c:dPt>
            <c:idx val="215"/>
            <c:invertIfNegative val="1"/>
            <c:bubble3D val="0"/>
            <c:spPr>
              <a:solidFill>
                <a:srgbClr val="AEABAB"/>
              </a:solidFill>
            </c:spPr>
            <c:extLst>
              <c:ext xmlns:c16="http://schemas.microsoft.com/office/drawing/2014/chart" uri="{C3380CC4-5D6E-409C-BE32-E72D297353CC}">
                <c16:uniqueId val="{000001B1-D15E-4766-9FB1-0CAA6F06190F}"/>
              </c:ext>
            </c:extLst>
          </c:dPt>
          <c:dPt>
            <c:idx val="216"/>
            <c:invertIfNegative val="1"/>
            <c:bubble3D val="0"/>
            <c:spPr>
              <a:solidFill>
                <a:srgbClr val="AEABAB"/>
              </a:solidFill>
            </c:spPr>
            <c:extLst>
              <c:ext xmlns:c16="http://schemas.microsoft.com/office/drawing/2014/chart" uri="{C3380CC4-5D6E-409C-BE32-E72D297353CC}">
                <c16:uniqueId val="{000001B3-D15E-4766-9FB1-0CAA6F06190F}"/>
              </c:ext>
            </c:extLst>
          </c:dPt>
          <c:dPt>
            <c:idx val="217"/>
            <c:invertIfNegative val="1"/>
            <c:bubble3D val="0"/>
            <c:spPr>
              <a:solidFill>
                <a:srgbClr val="AEABAB"/>
              </a:solidFill>
            </c:spPr>
            <c:extLst>
              <c:ext xmlns:c16="http://schemas.microsoft.com/office/drawing/2014/chart" uri="{C3380CC4-5D6E-409C-BE32-E72D297353CC}">
                <c16:uniqueId val="{000001B5-D15E-4766-9FB1-0CAA6F06190F}"/>
              </c:ext>
            </c:extLst>
          </c:dPt>
          <c:dPt>
            <c:idx val="218"/>
            <c:invertIfNegative val="1"/>
            <c:bubble3D val="0"/>
            <c:spPr>
              <a:solidFill>
                <a:srgbClr val="AEABAB"/>
              </a:solidFill>
            </c:spPr>
            <c:extLst>
              <c:ext xmlns:c16="http://schemas.microsoft.com/office/drawing/2014/chart" uri="{C3380CC4-5D6E-409C-BE32-E72D297353CC}">
                <c16:uniqueId val="{000001B7-D15E-4766-9FB1-0CAA6F06190F}"/>
              </c:ext>
            </c:extLst>
          </c:dPt>
          <c:dPt>
            <c:idx val="219"/>
            <c:invertIfNegative val="1"/>
            <c:bubble3D val="0"/>
            <c:spPr>
              <a:solidFill>
                <a:srgbClr val="AEABAB"/>
              </a:solidFill>
            </c:spPr>
            <c:extLst>
              <c:ext xmlns:c16="http://schemas.microsoft.com/office/drawing/2014/chart" uri="{C3380CC4-5D6E-409C-BE32-E72D297353CC}">
                <c16:uniqueId val="{000001B9-D15E-4766-9FB1-0CAA6F06190F}"/>
              </c:ext>
            </c:extLst>
          </c:dPt>
          <c:dPt>
            <c:idx val="220"/>
            <c:invertIfNegative val="1"/>
            <c:bubble3D val="0"/>
            <c:spPr>
              <a:solidFill>
                <a:srgbClr val="AEABAB"/>
              </a:solidFill>
            </c:spPr>
            <c:extLst>
              <c:ext xmlns:c16="http://schemas.microsoft.com/office/drawing/2014/chart" uri="{C3380CC4-5D6E-409C-BE32-E72D297353CC}">
                <c16:uniqueId val="{000001BB-D15E-4766-9FB1-0CAA6F06190F}"/>
              </c:ext>
            </c:extLst>
          </c:dPt>
          <c:dPt>
            <c:idx val="221"/>
            <c:invertIfNegative val="1"/>
            <c:bubble3D val="0"/>
            <c:spPr>
              <a:solidFill>
                <a:srgbClr val="AEABAB"/>
              </a:solidFill>
            </c:spPr>
            <c:extLst>
              <c:ext xmlns:c16="http://schemas.microsoft.com/office/drawing/2014/chart" uri="{C3380CC4-5D6E-409C-BE32-E72D297353CC}">
                <c16:uniqueId val="{000001BD-D15E-4766-9FB1-0CAA6F06190F}"/>
              </c:ext>
            </c:extLst>
          </c:dPt>
          <c:dPt>
            <c:idx val="222"/>
            <c:invertIfNegative val="1"/>
            <c:bubble3D val="0"/>
            <c:spPr>
              <a:solidFill>
                <a:srgbClr val="AEABAB"/>
              </a:solidFill>
            </c:spPr>
            <c:extLst>
              <c:ext xmlns:c16="http://schemas.microsoft.com/office/drawing/2014/chart" uri="{C3380CC4-5D6E-409C-BE32-E72D297353CC}">
                <c16:uniqueId val="{000001BF-D15E-4766-9FB1-0CAA6F06190F}"/>
              </c:ext>
            </c:extLst>
          </c:dPt>
          <c:dPt>
            <c:idx val="223"/>
            <c:invertIfNegative val="1"/>
            <c:bubble3D val="0"/>
            <c:spPr>
              <a:solidFill>
                <a:srgbClr val="AEABAB"/>
              </a:solidFill>
            </c:spPr>
            <c:extLst>
              <c:ext xmlns:c16="http://schemas.microsoft.com/office/drawing/2014/chart" uri="{C3380CC4-5D6E-409C-BE32-E72D297353CC}">
                <c16:uniqueId val="{000001C1-D15E-4766-9FB1-0CAA6F06190F}"/>
              </c:ext>
            </c:extLst>
          </c:dPt>
          <c:dPt>
            <c:idx val="224"/>
            <c:invertIfNegative val="1"/>
            <c:bubble3D val="0"/>
            <c:spPr>
              <a:solidFill>
                <a:srgbClr val="AEABAB"/>
              </a:solidFill>
            </c:spPr>
            <c:extLst>
              <c:ext xmlns:c16="http://schemas.microsoft.com/office/drawing/2014/chart" uri="{C3380CC4-5D6E-409C-BE32-E72D297353CC}">
                <c16:uniqueId val="{000001C3-D15E-4766-9FB1-0CAA6F06190F}"/>
              </c:ext>
            </c:extLst>
          </c:dPt>
          <c:dPt>
            <c:idx val="225"/>
            <c:invertIfNegative val="1"/>
            <c:bubble3D val="0"/>
            <c:spPr>
              <a:solidFill>
                <a:srgbClr val="AEABAB"/>
              </a:solidFill>
            </c:spPr>
            <c:extLst>
              <c:ext xmlns:c16="http://schemas.microsoft.com/office/drawing/2014/chart" uri="{C3380CC4-5D6E-409C-BE32-E72D297353CC}">
                <c16:uniqueId val="{000001C5-D15E-4766-9FB1-0CAA6F06190F}"/>
              </c:ext>
            </c:extLst>
          </c:dPt>
          <c:dPt>
            <c:idx val="226"/>
            <c:invertIfNegative val="1"/>
            <c:bubble3D val="0"/>
            <c:spPr>
              <a:solidFill>
                <a:srgbClr val="AEABAB"/>
              </a:solidFill>
            </c:spPr>
            <c:extLst>
              <c:ext xmlns:c16="http://schemas.microsoft.com/office/drawing/2014/chart" uri="{C3380CC4-5D6E-409C-BE32-E72D297353CC}">
                <c16:uniqueId val="{000001C7-D15E-4766-9FB1-0CAA6F06190F}"/>
              </c:ext>
            </c:extLst>
          </c:dPt>
          <c:dPt>
            <c:idx val="227"/>
            <c:invertIfNegative val="1"/>
            <c:bubble3D val="0"/>
            <c:spPr>
              <a:solidFill>
                <a:srgbClr val="AEABAB"/>
              </a:solidFill>
            </c:spPr>
            <c:extLst>
              <c:ext xmlns:c16="http://schemas.microsoft.com/office/drawing/2014/chart" uri="{C3380CC4-5D6E-409C-BE32-E72D297353CC}">
                <c16:uniqueId val="{000001C9-D15E-4766-9FB1-0CAA6F06190F}"/>
              </c:ext>
            </c:extLst>
          </c:dPt>
          <c:cat>
            <c:strRef>
              <c:f>Sheet1!$A$2:$A$229</c:f>
              <c:strCache>
                <c:ptCount val="228"/>
                <c:pt idx="0">
                  <c:v>Ruinart</c:v>
                </c:pt>
                <c:pt idx="1">
                  <c:v>Nicolas</c:v>
                </c:pt>
                <c:pt idx="2">
                  <c:v>Heidsieck &amp;</c:v>
                </c:pt>
                <c:pt idx="3">
                  <c:v>Malard</c:v>
                </c:pt>
                <c:pt idx="4">
                  <c:v>Deutz</c:v>
                </c:pt>
                <c:pt idx="5">
                  <c:v>Ruinart</c:v>
                </c:pt>
                <c:pt idx="6">
                  <c:v>De Bligny</c:v>
                </c:pt>
                <c:pt idx="7">
                  <c:v>Ayala</c:v>
                </c:pt>
                <c:pt idx="8">
                  <c:v>Nicolas Feu</c:v>
                </c:pt>
                <c:pt idx="9">
                  <c:v>Demoiselle</c:v>
                </c:pt>
                <c:pt idx="10">
                  <c:v>Besserat De</c:v>
                </c:pt>
                <c:pt idx="11">
                  <c:v>Canard Duch</c:v>
                </c:pt>
                <c:pt idx="12">
                  <c:v>Bollinger</c:v>
                </c:pt>
                <c:pt idx="13">
                  <c:v>Taittinger</c:v>
                </c:pt>
                <c:pt idx="14">
                  <c:v>Laurent Per</c:v>
                </c:pt>
                <c:pt idx="15">
                  <c:v>Ruinart</c:v>
                </c:pt>
                <c:pt idx="16">
                  <c:v>Deutz</c:v>
                </c:pt>
                <c:pt idx="17">
                  <c:v>All Others</c:v>
                </c:pt>
                <c:pt idx="18">
                  <c:v>Ruinart</c:v>
                </c:pt>
                <c:pt idx="19">
                  <c:v>All Others</c:v>
                </c:pt>
                <c:pt idx="20">
                  <c:v>All Others</c:v>
                </c:pt>
                <c:pt idx="21">
                  <c:v>Vesselle</c:v>
                </c:pt>
                <c:pt idx="22">
                  <c:v>Patriarche</c:v>
                </c:pt>
                <c:pt idx="23">
                  <c:v>Ruinart</c:v>
                </c:pt>
                <c:pt idx="24">
                  <c:v>All Others</c:v>
                </c:pt>
                <c:pt idx="25">
                  <c:v>Malard</c:v>
                </c:pt>
                <c:pt idx="26">
                  <c:v>Demoiselle</c:v>
                </c:pt>
                <c:pt idx="27">
                  <c:v>Laurent Per</c:v>
                </c:pt>
                <c:pt idx="28">
                  <c:v>Ruinart</c:v>
                </c:pt>
                <c:pt idx="29">
                  <c:v>Mure</c:v>
                </c:pt>
                <c:pt idx="30">
                  <c:v>Bottega</c:v>
                </c:pt>
                <c:pt idx="31">
                  <c:v>Malard</c:v>
                </c:pt>
                <c:pt idx="32">
                  <c:v>Bouvet-Ladu</c:v>
                </c:pt>
                <c:pt idx="33">
                  <c:v>Roederer</c:v>
                </c:pt>
                <c:pt idx="34">
                  <c:v>Louis Marti</c:v>
                </c:pt>
                <c:pt idx="35">
                  <c:v>All Others</c:v>
                </c:pt>
                <c:pt idx="36">
                  <c:v>Pommery</c:v>
                </c:pt>
                <c:pt idx="37">
                  <c:v>Henriot</c:v>
                </c:pt>
                <c:pt idx="38">
                  <c:v>Perrier Jou</c:v>
                </c:pt>
                <c:pt idx="39">
                  <c:v>All Others</c:v>
                </c:pt>
                <c:pt idx="40">
                  <c:v>Savian</c:v>
                </c:pt>
                <c:pt idx="41">
                  <c:v>Ruinart</c:v>
                </c:pt>
                <c:pt idx="42">
                  <c:v>All Others</c:v>
                </c:pt>
                <c:pt idx="43">
                  <c:v>Kriter</c:v>
                </c:pt>
                <c:pt idx="44">
                  <c:v>Moët &amp; Chan</c:v>
                </c:pt>
                <c:pt idx="45">
                  <c:v>Chateau Mon</c:v>
                </c:pt>
                <c:pt idx="46">
                  <c:v>Nicolas</c:v>
                </c:pt>
                <c:pt idx="47">
                  <c:v>Deutz</c:v>
                </c:pt>
                <c:pt idx="48">
                  <c:v>Roederer</c:v>
                </c:pt>
                <c:pt idx="49">
                  <c:v>Laurent Per</c:v>
                </c:pt>
                <c:pt idx="50">
                  <c:v>Lyre's</c:v>
                </c:pt>
                <c:pt idx="51">
                  <c:v>Besserat De</c:v>
                </c:pt>
                <c:pt idx="52">
                  <c:v>Nicolas</c:v>
                </c:pt>
                <c:pt idx="53">
                  <c:v>Henriot</c:v>
                </c:pt>
                <c:pt idx="54">
                  <c:v>Campari: Al</c:v>
                </c:pt>
                <c:pt idx="55">
                  <c:v>De Chanceny</c:v>
                </c:pt>
                <c:pt idx="56">
                  <c:v>Deutz</c:v>
                </c:pt>
                <c:pt idx="57">
                  <c:v>Savian</c:v>
                </c:pt>
                <c:pt idx="58">
                  <c:v>Nicolas</c:v>
                </c:pt>
                <c:pt idx="59">
                  <c:v>Patriarche</c:v>
                </c:pt>
                <c:pt idx="60">
                  <c:v>Dom Perigno</c:v>
                </c:pt>
                <c:pt idx="61">
                  <c:v>Veuve Clicq</c:v>
                </c:pt>
                <c:pt idx="62">
                  <c:v>Taittinger</c:v>
                </c:pt>
                <c:pt idx="63">
                  <c:v>Canard Duch</c:v>
                </c:pt>
                <c:pt idx="64">
                  <c:v>De Venoge</c:v>
                </c:pt>
                <c:pt idx="65">
                  <c:v>Ruinart</c:v>
                </c:pt>
                <c:pt idx="66">
                  <c:v>Nicolas Feu</c:v>
                </c:pt>
                <c:pt idx="67">
                  <c:v>Nicolas Feu</c:v>
                </c:pt>
                <c:pt idx="68">
                  <c:v>Piper Heids</c:v>
                </c:pt>
                <c:pt idx="69">
                  <c:v>Veuve Clicq</c:v>
                </c:pt>
                <c:pt idx="70">
                  <c:v>All Others</c:v>
                </c:pt>
                <c:pt idx="71">
                  <c:v>Malard</c:v>
                </c:pt>
                <c:pt idx="72">
                  <c:v>Campari: Al</c:v>
                </c:pt>
                <c:pt idx="73">
                  <c:v>Bollinger</c:v>
                </c:pt>
                <c:pt idx="74">
                  <c:v>Delamotte</c:v>
                </c:pt>
                <c:pt idx="75">
                  <c:v>Ruinart</c:v>
                </c:pt>
                <c:pt idx="76">
                  <c:v>Besserat De</c:v>
                </c:pt>
                <c:pt idx="77">
                  <c:v>All Others</c:v>
                </c:pt>
                <c:pt idx="78">
                  <c:v>All Others</c:v>
                </c:pt>
                <c:pt idx="79">
                  <c:v>Dom Perigno</c:v>
                </c:pt>
                <c:pt idx="80">
                  <c:v>Dom Perigno</c:v>
                </c:pt>
                <c:pt idx="81">
                  <c:v>De Bligny</c:v>
                </c:pt>
                <c:pt idx="82">
                  <c:v>Henriot</c:v>
                </c:pt>
                <c:pt idx="83">
                  <c:v>Nicolas</c:v>
                </c:pt>
                <c:pt idx="84">
                  <c:v>Deutz</c:v>
                </c:pt>
                <c:pt idx="85">
                  <c:v>Vranken</c:v>
                </c:pt>
                <c:pt idx="86">
                  <c:v>De Venoge</c:v>
                </c:pt>
                <c:pt idx="87">
                  <c:v>De Chanceny</c:v>
                </c:pt>
                <c:pt idx="88">
                  <c:v>Nicolas</c:v>
                </c:pt>
                <c:pt idx="89">
                  <c:v>All Others</c:v>
                </c:pt>
                <c:pt idx="90">
                  <c:v>Malard</c:v>
                </c:pt>
                <c:pt idx="91">
                  <c:v>Pommery</c:v>
                </c:pt>
                <c:pt idx="92">
                  <c:v>Lanson</c:v>
                </c:pt>
                <c:pt idx="93">
                  <c:v>Cru La Maqu</c:v>
                </c:pt>
                <c:pt idx="94">
                  <c:v>Laurent Per</c:v>
                </c:pt>
                <c:pt idx="95">
                  <c:v>All Others</c:v>
                </c:pt>
                <c:pt idx="96">
                  <c:v>All Others</c:v>
                </c:pt>
                <c:pt idx="97">
                  <c:v>Ruinart</c:v>
                </c:pt>
                <c:pt idx="98">
                  <c:v>Bottega</c:v>
                </c:pt>
                <c:pt idx="99">
                  <c:v>De Venoge</c:v>
                </c:pt>
                <c:pt idx="100">
                  <c:v>Ruinart</c:v>
                </c:pt>
                <c:pt idx="101">
                  <c:v>Veuve Clicq</c:v>
                </c:pt>
                <c:pt idx="102">
                  <c:v>Laurent Per</c:v>
                </c:pt>
                <c:pt idx="103">
                  <c:v>Roederer</c:v>
                </c:pt>
                <c:pt idx="104">
                  <c:v>Malard</c:v>
                </c:pt>
                <c:pt idx="105">
                  <c:v>All Others</c:v>
                </c:pt>
                <c:pt idx="106">
                  <c:v>Nicolas</c:v>
                </c:pt>
                <c:pt idx="107">
                  <c:v>All Others</c:v>
                </c:pt>
                <c:pt idx="108">
                  <c:v>All Others</c:v>
                </c:pt>
                <c:pt idx="109">
                  <c:v>Nicolas Feu</c:v>
                </c:pt>
                <c:pt idx="110">
                  <c:v>All Others</c:v>
                </c:pt>
                <c:pt idx="111">
                  <c:v>Roederer</c:v>
                </c:pt>
                <c:pt idx="112">
                  <c:v>Roederer</c:v>
                </c:pt>
                <c:pt idx="113">
                  <c:v>Canard Duch</c:v>
                </c:pt>
                <c:pt idx="114">
                  <c:v>Roederer</c:v>
                </c:pt>
                <c:pt idx="115">
                  <c:v>Roederer</c:v>
                </c:pt>
                <c:pt idx="116">
                  <c:v>Ruinart</c:v>
                </c:pt>
                <c:pt idx="117">
                  <c:v>Contarini</c:v>
                </c:pt>
                <c:pt idx="118">
                  <c:v>All Others</c:v>
                </c:pt>
                <c:pt idx="119">
                  <c:v>Besserat De</c:v>
                </c:pt>
                <c:pt idx="120">
                  <c:v>Ruinart</c:v>
                </c:pt>
                <c:pt idx="121">
                  <c:v>Veuve Clicq</c:v>
                </c:pt>
                <c:pt idx="122">
                  <c:v>Ayala</c:v>
                </c:pt>
                <c:pt idx="123">
                  <c:v>Roederer</c:v>
                </c:pt>
                <c:pt idx="124">
                  <c:v>Krug</c:v>
                </c:pt>
                <c:pt idx="125">
                  <c:v>All Others</c:v>
                </c:pt>
                <c:pt idx="126">
                  <c:v>Roederer</c:v>
                </c:pt>
                <c:pt idx="127">
                  <c:v>Louis Marti</c:v>
                </c:pt>
                <c:pt idx="128">
                  <c:v>Moët &amp; Chan</c:v>
                </c:pt>
                <c:pt idx="129">
                  <c:v>Canard Duch</c:v>
                </c:pt>
                <c:pt idx="130">
                  <c:v>Nicolas</c:v>
                </c:pt>
                <c:pt idx="131">
                  <c:v>Nicolas</c:v>
                </c:pt>
                <c:pt idx="132">
                  <c:v>Ayala</c:v>
                </c:pt>
                <c:pt idx="133">
                  <c:v>Nicolas</c:v>
                </c:pt>
                <c:pt idx="134">
                  <c:v>Ruinart</c:v>
                </c:pt>
                <c:pt idx="135">
                  <c:v>Laurent Per</c:v>
                </c:pt>
                <c:pt idx="136">
                  <c:v>Nicolas</c:v>
                </c:pt>
                <c:pt idx="137">
                  <c:v>Roederer</c:v>
                </c:pt>
                <c:pt idx="138">
                  <c:v>De Venoge</c:v>
                </c:pt>
                <c:pt idx="139">
                  <c:v>Nicolas Feu</c:v>
                </c:pt>
                <c:pt idx="140">
                  <c:v>Moët &amp; Chan</c:v>
                </c:pt>
                <c:pt idx="141">
                  <c:v>Roederer</c:v>
                </c:pt>
                <c:pt idx="142">
                  <c:v>Roederer</c:v>
                </c:pt>
                <c:pt idx="143">
                  <c:v>De Venoge</c:v>
                </c:pt>
                <c:pt idx="144">
                  <c:v>All Others</c:v>
                </c:pt>
                <c:pt idx="145">
                  <c:v>All Others</c:v>
                </c:pt>
                <c:pt idx="146">
                  <c:v>Henriot</c:v>
                </c:pt>
                <c:pt idx="147">
                  <c:v>Laurent Per</c:v>
                </c:pt>
                <c:pt idx="148">
                  <c:v>Perrier Jou</c:v>
                </c:pt>
                <c:pt idx="149">
                  <c:v>Contarini</c:v>
                </c:pt>
                <c:pt idx="150">
                  <c:v>Nicolas</c:v>
                </c:pt>
                <c:pt idx="151">
                  <c:v>Nicolas</c:v>
                </c:pt>
                <c:pt idx="152">
                  <c:v>Nicolas</c:v>
                </c:pt>
                <c:pt idx="153">
                  <c:v>Taittinger</c:v>
                </c:pt>
                <c:pt idx="154">
                  <c:v>All Others</c:v>
                </c:pt>
                <c:pt idx="155">
                  <c:v>Bollinger</c:v>
                </c:pt>
                <c:pt idx="156">
                  <c:v>Pommery</c:v>
                </c:pt>
                <c:pt idx="157">
                  <c:v>Demoiselle</c:v>
                </c:pt>
                <c:pt idx="158">
                  <c:v>All Others</c:v>
                </c:pt>
                <c:pt idx="159">
                  <c:v>Deutz</c:v>
                </c:pt>
                <c:pt idx="160">
                  <c:v>Bollinger</c:v>
                </c:pt>
                <c:pt idx="161">
                  <c:v>Taittinger</c:v>
                </c:pt>
                <c:pt idx="162">
                  <c:v>Nicolas</c:v>
                </c:pt>
                <c:pt idx="163">
                  <c:v>Besserat De</c:v>
                </c:pt>
                <c:pt idx="164">
                  <c:v>All Others</c:v>
                </c:pt>
                <c:pt idx="165">
                  <c:v>Nicolas</c:v>
                </c:pt>
                <c:pt idx="166">
                  <c:v>Canard Duch</c:v>
                </c:pt>
                <c:pt idx="167">
                  <c:v>All Others</c:v>
                </c:pt>
                <c:pt idx="168">
                  <c:v>Roederer</c:v>
                </c:pt>
                <c:pt idx="169">
                  <c:v>Vranken</c:v>
                </c:pt>
                <c:pt idx="170">
                  <c:v>Deutz</c:v>
                </c:pt>
                <c:pt idx="171">
                  <c:v>Canard Duch</c:v>
                </c:pt>
                <c:pt idx="172">
                  <c:v>Piper Heids</c:v>
                </c:pt>
                <c:pt idx="173">
                  <c:v>Nicolas</c:v>
                </c:pt>
                <c:pt idx="174">
                  <c:v>Laurent Per</c:v>
                </c:pt>
                <c:pt idx="175">
                  <c:v>Pommery</c:v>
                </c:pt>
                <c:pt idx="176">
                  <c:v>Piper Heids</c:v>
                </c:pt>
                <c:pt idx="177">
                  <c:v>Nicolas</c:v>
                </c:pt>
                <c:pt idx="178">
                  <c:v>All Others</c:v>
                </c:pt>
                <c:pt idx="179">
                  <c:v>Henriot</c:v>
                </c:pt>
                <c:pt idx="180">
                  <c:v>Ruinart</c:v>
                </c:pt>
                <c:pt idx="181">
                  <c:v>Bouvet-Ladu</c:v>
                </c:pt>
                <c:pt idx="182">
                  <c:v>Taittinger</c:v>
                </c:pt>
                <c:pt idx="183">
                  <c:v>All Others</c:v>
                </c:pt>
                <c:pt idx="184">
                  <c:v>Pommery</c:v>
                </c:pt>
                <c:pt idx="185">
                  <c:v>Nicolas</c:v>
                </c:pt>
                <c:pt idx="186">
                  <c:v>Ruinart</c:v>
                </c:pt>
                <c:pt idx="187">
                  <c:v>All Others</c:v>
                </c:pt>
                <c:pt idx="188">
                  <c:v>Demoiselle</c:v>
                </c:pt>
                <c:pt idx="189">
                  <c:v>De Venoge</c:v>
                </c:pt>
                <c:pt idx="190">
                  <c:v>Ruinart</c:v>
                </c:pt>
                <c:pt idx="191">
                  <c:v>Deutz</c:v>
                </c:pt>
                <c:pt idx="192">
                  <c:v>Vesselle</c:v>
                </c:pt>
                <c:pt idx="193">
                  <c:v>All Others</c:v>
                </c:pt>
                <c:pt idx="194">
                  <c:v>All Others</c:v>
                </c:pt>
                <c:pt idx="195">
                  <c:v>Bottega</c:v>
                </c:pt>
                <c:pt idx="196">
                  <c:v>Vesselle</c:v>
                </c:pt>
                <c:pt idx="197">
                  <c:v>Bollinger</c:v>
                </c:pt>
                <c:pt idx="198">
                  <c:v>Celene</c:v>
                </c:pt>
                <c:pt idx="199">
                  <c:v>All Others</c:v>
                </c:pt>
                <c:pt idx="200">
                  <c:v>Ruinart</c:v>
                </c:pt>
                <c:pt idx="201">
                  <c:v>Roederer</c:v>
                </c:pt>
                <c:pt idx="202">
                  <c:v>De Venoge</c:v>
                </c:pt>
                <c:pt idx="203">
                  <c:v>Roederer</c:v>
                </c:pt>
                <c:pt idx="204">
                  <c:v>Henriot</c:v>
                </c:pt>
                <c:pt idx="205">
                  <c:v>Nicolas</c:v>
                </c:pt>
                <c:pt idx="206">
                  <c:v>Bollinger</c:v>
                </c:pt>
                <c:pt idx="207">
                  <c:v>Roederer</c:v>
                </c:pt>
                <c:pt idx="208">
                  <c:v>Celene</c:v>
                </c:pt>
                <c:pt idx="209">
                  <c:v>Lanson</c:v>
                </c:pt>
                <c:pt idx="210">
                  <c:v>Vranken</c:v>
                </c:pt>
                <c:pt idx="211">
                  <c:v>De Venoge</c:v>
                </c:pt>
                <c:pt idx="212">
                  <c:v>Ayala</c:v>
                </c:pt>
                <c:pt idx="213">
                  <c:v>Laurent Per</c:v>
                </c:pt>
                <c:pt idx="214">
                  <c:v>Ayala</c:v>
                </c:pt>
                <c:pt idx="215">
                  <c:v>Delamotte</c:v>
                </c:pt>
                <c:pt idx="216">
                  <c:v>Bouvet-Ladu</c:v>
                </c:pt>
                <c:pt idx="217">
                  <c:v>Ayala</c:v>
                </c:pt>
                <c:pt idx="218">
                  <c:v>Lanson</c:v>
                </c:pt>
                <c:pt idx="219">
                  <c:v>Besserat De</c:v>
                </c:pt>
                <c:pt idx="220">
                  <c:v>Contarini</c:v>
                </c:pt>
                <c:pt idx="221">
                  <c:v>All Others</c:v>
                </c:pt>
                <c:pt idx="222">
                  <c:v>All Others</c:v>
                </c:pt>
                <c:pt idx="223">
                  <c:v>Besserat De</c:v>
                </c:pt>
                <c:pt idx="224">
                  <c:v>All Others</c:v>
                </c:pt>
                <c:pt idx="225">
                  <c:v>All Others</c:v>
                </c:pt>
                <c:pt idx="226">
                  <c:v>Bottega</c:v>
                </c:pt>
                <c:pt idx="227">
                  <c:v>All Others</c:v>
                </c:pt>
              </c:strCache>
            </c:strRef>
          </c:cat>
          <c:val>
            <c:numRef>
              <c:f>Sheet1!$C$2:$C$229</c:f>
              <c:numCache>
                <c:formatCode>General</c:formatCode>
                <c:ptCount val="228"/>
                <c:pt idx="0">
                  <c:v>9.226546894163741E-2</c:v>
                </c:pt>
                <c:pt idx="1">
                  <c:v>0.16882404959892436</c:v>
                </c:pt>
                <c:pt idx="2">
                  <c:v>0.21438691691023568</c:v>
                </c:pt>
                <c:pt idx="3">
                  <c:v>0.25884619369700418</c:v>
                </c:pt>
                <c:pt idx="4">
                  <c:v>0.29817546125505712</c:v>
                </c:pt>
                <c:pt idx="5">
                  <c:v>0.33256387210879762</c:v>
                </c:pt>
                <c:pt idx="6">
                  <c:v>0.3625921365560747</c:v>
                </c:pt>
                <c:pt idx="7">
                  <c:v>0.39198065584119862</c:v>
                </c:pt>
                <c:pt idx="8">
                  <c:v>0.41322356864549925</c:v>
                </c:pt>
                <c:pt idx="9">
                  <c:v>0.43274603683293617</c:v>
                </c:pt>
                <c:pt idx="10">
                  <c:v>0.45053119329942243</c:v>
                </c:pt>
                <c:pt idx="11">
                  <c:v>0.46759588346276826</c:v>
                </c:pt>
                <c:pt idx="12">
                  <c:v>0.48384492866419765</c:v>
                </c:pt>
                <c:pt idx="13">
                  <c:v>0.50008674510673268</c:v>
                </c:pt>
                <c:pt idx="14">
                  <c:v>0.51601892970995811</c:v>
                </c:pt>
                <c:pt idx="15">
                  <c:v>0.53018368276350636</c:v>
                </c:pt>
                <c:pt idx="16">
                  <c:v>0.54346652723193956</c:v>
                </c:pt>
                <c:pt idx="17">
                  <c:v>0.55641564399808197</c:v>
                </c:pt>
                <c:pt idx="18">
                  <c:v>0.56913464527275315</c:v>
                </c:pt>
                <c:pt idx="19">
                  <c:v>0.58176087747494631</c:v>
                </c:pt>
                <c:pt idx="20">
                  <c:v>0.59381242334503592</c:v>
                </c:pt>
                <c:pt idx="21">
                  <c:v>0.60513386456679252</c:v>
                </c:pt>
                <c:pt idx="22">
                  <c:v>0.61640349968313934</c:v>
                </c:pt>
                <c:pt idx="23">
                  <c:v>0.62736711733962391</c:v>
                </c:pt>
                <c:pt idx="24">
                  <c:v>0.63703076318826812</c:v>
                </c:pt>
                <c:pt idx="25">
                  <c:v>0.6464727270974846</c:v>
                </c:pt>
                <c:pt idx="26">
                  <c:v>0.65518338156521905</c:v>
                </c:pt>
                <c:pt idx="27">
                  <c:v>0.66384825389328905</c:v>
                </c:pt>
                <c:pt idx="28">
                  <c:v>0.67229023948878219</c:v>
                </c:pt>
                <c:pt idx="29">
                  <c:v>0.68008163678378064</c:v>
                </c:pt>
                <c:pt idx="30">
                  <c:v>0.68777303624740671</c:v>
                </c:pt>
                <c:pt idx="31">
                  <c:v>0.69483071451462497</c:v>
                </c:pt>
                <c:pt idx="32">
                  <c:v>0.7017992380888125</c:v>
                </c:pt>
                <c:pt idx="33">
                  <c:v>0.7085328269989325</c:v>
                </c:pt>
                <c:pt idx="34">
                  <c:v>0.71490377317118414</c:v>
                </c:pt>
                <c:pt idx="35">
                  <c:v>0.72121929885857883</c:v>
                </c:pt>
                <c:pt idx="36">
                  <c:v>0.72738422540234049</c:v>
                </c:pt>
                <c:pt idx="37">
                  <c:v>0.73354433277350595</c:v>
                </c:pt>
                <c:pt idx="38">
                  <c:v>0.73968395866113734</c:v>
                </c:pt>
                <c:pt idx="39">
                  <c:v>0.74575009216667576</c:v>
                </c:pt>
                <c:pt idx="40">
                  <c:v>0.75175478122161188</c:v>
                </c:pt>
                <c:pt idx="41">
                  <c:v>0.75761369030551129</c:v>
                </c:pt>
                <c:pt idx="42">
                  <c:v>0.76346296104421818</c:v>
                </c:pt>
                <c:pt idx="43">
                  <c:v>0.76830020553771106</c:v>
                </c:pt>
                <c:pt idx="44">
                  <c:v>0.77293504478216113</c:v>
                </c:pt>
                <c:pt idx="45">
                  <c:v>0.77750121081711454</c:v>
                </c:pt>
                <c:pt idx="46">
                  <c:v>0.78196255984809937</c:v>
                </c:pt>
                <c:pt idx="47">
                  <c:v>0.78640101780925198</c:v>
                </c:pt>
                <c:pt idx="48">
                  <c:v>0.79080092238963462</c:v>
                </c:pt>
                <c:pt idx="49">
                  <c:v>0.79514661127830932</c:v>
                </c:pt>
                <c:pt idx="50">
                  <c:v>0.79949230016698403</c:v>
                </c:pt>
                <c:pt idx="51">
                  <c:v>0.80381871236527369</c:v>
                </c:pt>
                <c:pt idx="52">
                  <c:v>0.80808970407870639</c:v>
                </c:pt>
                <c:pt idx="53">
                  <c:v>0.81200769139946327</c:v>
                </c:pt>
                <c:pt idx="54">
                  <c:v>0.81576785081769276</c:v>
                </c:pt>
                <c:pt idx="55">
                  <c:v>0.81943283157714619</c:v>
                </c:pt>
                <c:pt idx="56">
                  <c:v>0.8230664877147239</c:v>
                </c:pt>
                <c:pt idx="57">
                  <c:v>0.8266025556072274</c:v>
                </c:pt>
                <c:pt idx="58">
                  <c:v>0.8300687454970852</c:v>
                </c:pt>
                <c:pt idx="59">
                  <c:v>0.83335783079403059</c:v>
                </c:pt>
                <c:pt idx="60">
                  <c:v>0.8366264346074419</c:v>
                </c:pt>
                <c:pt idx="61">
                  <c:v>0.83985046107433781</c:v>
                </c:pt>
                <c:pt idx="62">
                  <c:v>0.84306003002344498</c:v>
                </c:pt>
                <c:pt idx="63">
                  <c:v>0.84626477979995585</c:v>
                </c:pt>
                <c:pt idx="64">
                  <c:v>0.84945386726552885</c:v>
                </c:pt>
                <c:pt idx="65">
                  <c:v>0.85263452117905847</c:v>
                </c:pt>
                <c:pt idx="66">
                  <c:v>0.85575132105568763</c:v>
                </c:pt>
                <c:pt idx="67">
                  <c:v>0.85885366341452807</c:v>
                </c:pt>
                <c:pt idx="68">
                  <c:v>0.86192709073779095</c:v>
                </c:pt>
                <c:pt idx="69">
                  <c:v>0.86469088622174428</c:v>
                </c:pt>
                <c:pt idx="70">
                  <c:v>0.86736432221951787</c:v>
                </c:pt>
                <c:pt idx="71">
                  <c:v>0.87003655342414232</c:v>
                </c:pt>
                <c:pt idx="72">
                  <c:v>0.87267264083429485</c:v>
                </c:pt>
                <c:pt idx="73">
                  <c:v>0.87530752345129836</c:v>
                </c:pt>
                <c:pt idx="74">
                  <c:v>0.87790746706697897</c:v>
                </c:pt>
                <c:pt idx="75">
                  <c:v>0.88042066557592702</c:v>
                </c:pt>
                <c:pt idx="76">
                  <c:v>0.88289772029040314</c:v>
                </c:pt>
                <c:pt idx="77">
                  <c:v>0.88524224775848215</c:v>
                </c:pt>
                <c:pt idx="78">
                  <c:v>0.88757834167451766</c:v>
                </c:pt>
                <c:pt idx="79">
                  <c:v>0.88989756848646628</c:v>
                </c:pt>
                <c:pt idx="80">
                  <c:v>0.89220956653952055</c:v>
                </c:pt>
                <c:pt idx="81">
                  <c:v>0.8944902399706991</c:v>
                </c:pt>
                <c:pt idx="82">
                  <c:v>0.89676970860872862</c:v>
                </c:pt>
                <c:pt idx="83">
                  <c:v>0.89904556286731097</c:v>
                </c:pt>
                <c:pt idx="84">
                  <c:v>0.90120093781098687</c:v>
                </c:pt>
                <c:pt idx="85">
                  <c:v>0.90333462647797969</c:v>
                </c:pt>
                <c:pt idx="86">
                  <c:v>0.90539120838343234</c:v>
                </c:pt>
                <c:pt idx="87">
                  <c:v>0.90734538287121458</c:v>
                </c:pt>
                <c:pt idx="88">
                  <c:v>0.9092465464604379</c:v>
                </c:pt>
                <c:pt idx="89">
                  <c:v>0.9111380717044687</c:v>
                </c:pt>
                <c:pt idx="90">
                  <c:v>0.91294887580751227</c:v>
                </c:pt>
                <c:pt idx="91">
                  <c:v>0.91474040322017081</c:v>
                </c:pt>
                <c:pt idx="92">
                  <c:v>0.91651626832189148</c:v>
                </c:pt>
                <c:pt idx="93">
                  <c:v>0.91825358004284208</c:v>
                </c:pt>
                <c:pt idx="94">
                  <c:v>0.91998727738434549</c:v>
                </c:pt>
                <c:pt idx="95">
                  <c:v>0.92168362613822796</c:v>
                </c:pt>
                <c:pt idx="96">
                  <c:v>0.92336913175376878</c:v>
                </c:pt>
                <c:pt idx="97">
                  <c:v>0.92505102298986241</c:v>
                </c:pt>
                <c:pt idx="98">
                  <c:v>0.9267039991903786</c:v>
                </c:pt>
                <c:pt idx="99">
                  <c:v>0.92833890349365877</c:v>
                </c:pt>
                <c:pt idx="100">
                  <c:v>0.92994368796821236</c:v>
                </c:pt>
                <c:pt idx="101">
                  <c:v>0.93154606285646779</c:v>
                </c:pt>
                <c:pt idx="102">
                  <c:v>0.93312916105433819</c:v>
                </c:pt>
                <c:pt idx="103">
                  <c:v>0.93462912852492319</c:v>
                </c:pt>
                <c:pt idx="104">
                  <c:v>0.93612186723661384</c:v>
                </c:pt>
                <c:pt idx="105">
                  <c:v>0.93761340115515535</c:v>
                </c:pt>
                <c:pt idx="106">
                  <c:v>0.93907722483126843</c:v>
                </c:pt>
                <c:pt idx="107">
                  <c:v>0.94053863892108336</c:v>
                </c:pt>
                <c:pt idx="108">
                  <c:v>0.94197836673421509</c:v>
                </c:pt>
                <c:pt idx="109">
                  <c:v>0.94339881785696178</c:v>
                </c:pt>
                <c:pt idx="110">
                  <c:v>0.94479276353042907</c:v>
                </c:pt>
                <c:pt idx="111">
                  <c:v>0.94617586606555482</c:v>
                </c:pt>
                <c:pt idx="112">
                  <c:v>0.94754933025548804</c:v>
                </c:pt>
                <c:pt idx="113">
                  <c:v>0.94885050685647743</c:v>
                </c:pt>
                <c:pt idx="114">
                  <c:v>0.95009746776575887</c:v>
                </c:pt>
                <c:pt idx="115">
                  <c:v>0.95134442867504032</c:v>
                </c:pt>
                <c:pt idx="116">
                  <c:v>0.95258657041172556</c:v>
                </c:pt>
                <c:pt idx="117">
                  <c:v>0.95379738752653509</c:v>
                </c:pt>
                <c:pt idx="118">
                  <c:v>0.95500699984819559</c:v>
                </c:pt>
                <c:pt idx="119">
                  <c:v>0.95617805878908602</c:v>
                </c:pt>
                <c:pt idx="120">
                  <c:v>0.95734791293682742</c:v>
                </c:pt>
                <c:pt idx="121">
                  <c:v>0.95846114180656272</c:v>
                </c:pt>
                <c:pt idx="122">
                  <c:v>0.95956232274480746</c:v>
                </c:pt>
                <c:pt idx="123">
                  <c:v>0.96064904616526337</c:v>
                </c:pt>
                <c:pt idx="124">
                  <c:v>0.96172733603367588</c:v>
                </c:pt>
                <c:pt idx="125">
                  <c:v>0.962779120452809</c:v>
                </c:pt>
                <c:pt idx="126">
                  <c:v>0.96380319462951358</c:v>
                </c:pt>
                <c:pt idx="127">
                  <c:v>0.96481040170213128</c:v>
                </c:pt>
                <c:pt idx="128">
                  <c:v>0.96578387456657522</c:v>
                </c:pt>
                <c:pt idx="129">
                  <c:v>0.96673084198173975</c:v>
                </c:pt>
                <c:pt idx="130">
                  <c:v>0.96755371570255067</c:v>
                </c:pt>
                <c:pt idx="131">
                  <c:v>0.96829466348922522</c:v>
                </c:pt>
                <c:pt idx="132">
                  <c:v>0.96903079210330345</c:v>
                </c:pt>
                <c:pt idx="133">
                  <c:v>0.96975969195848732</c:v>
                </c:pt>
                <c:pt idx="134">
                  <c:v>0.97046570074383898</c:v>
                </c:pt>
                <c:pt idx="135">
                  <c:v>0.97117050473604161</c:v>
                </c:pt>
                <c:pt idx="136">
                  <c:v>0.97186567038305172</c:v>
                </c:pt>
                <c:pt idx="137">
                  <c:v>0.97255481206431649</c:v>
                </c:pt>
                <c:pt idx="138">
                  <c:v>0.97323792977983592</c:v>
                </c:pt>
                <c:pt idx="139">
                  <c:v>0.97390779477071565</c:v>
                </c:pt>
                <c:pt idx="140">
                  <c:v>0.97457284058899907</c:v>
                </c:pt>
                <c:pt idx="141">
                  <c:v>0.97523788640728248</c:v>
                </c:pt>
                <c:pt idx="142">
                  <c:v>0.97589449867352251</c:v>
                </c:pt>
                <c:pt idx="143">
                  <c:v>0.97654267738771905</c:v>
                </c:pt>
                <c:pt idx="144">
                  <c:v>0.97718483213617024</c:v>
                </c:pt>
                <c:pt idx="145">
                  <c:v>0.9777944574695967</c:v>
                </c:pt>
                <c:pt idx="146">
                  <c:v>0.97838842049208541</c:v>
                </c:pt>
                <c:pt idx="147">
                  <c:v>0.97898117872142498</c:v>
                </c:pt>
                <c:pt idx="148">
                  <c:v>0.97957393695076456</c:v>
                </c:pt>
                <c:pt idx="149">
                  <c:v>0.98016308080065695</c:v>
                </c:pt>
                <c:pt idx="150">
                  <c:v>0.98074861027110216</c:v>
                </c:pt>
                <c:pt idx="151">
                  <c:v>0.98132450139635485</c:v>
                </c:pt>
                <c:pt idx="152">
                  <c:v>0.98188473021066969</c:v>
                </c:pt>
                <c:pt idx="153">
                  <c:v>0.98244134464553734</c:v>
                </c:pt>
                <c:pt idx="154">
                  <c:v>0.98297627280372191</c:v>
                </c:pt>
                <c:pt idx="155">
                  <c:v>0.9834991530304158</c:v>
                </c:pt>
                <c:pt idx="156">
                  <c:v>0.9840184188776625</c:v>
                </c:pt>
                <c:pt idx="157">
                  <c:v>0.98453407034546203</c:v>
                </c:pt>
                <c:pt idx="158">
                  <c:v>0.98504008346806904</c:v>
                </c:pt>
                <c:pt idx="159">
                  <c:v>0.98550874800305499</c:v>
                </c:pt>
                <c:pt idx="160">
                  <c:v>0.98596415981340124</c:v>
                </c:pt>
                <c:pt idx="161">
                  <c:v>0.98640752369225693</c:v>
                </c:pt>
                <c:pt idx="162">
                  <c:v>0.98684968277796348</c:v>
                </c:pt>
                <c:pt idx="163">
                  <c:v>0.98728220351847751</c:v>
                </c:pt>
                <c:pt idx="164">
                  <c:v>0.98771351946584252</c:v>
                </c:pt>
                <c:pt idx="165">
                  <c:v>0.98813640186116403</c:v>
                </c:pt>
                <c:pt idx="166">
                  <c:v>0.98854844111814399</c:v>
                </c:pt>
                <c:pt idx="167">
                  <c:v>0.98895686599567678</c:v>
                </c:pt>
                <c:pt idx="168">
                  <c:v>0.98935444773486803</c:v>
                </c:pt>
                <c:pt idx="169">
                  <c:v>0.98973275278367423</c:v>
                </c:pt>
                <c:pt idx="170">
                  <c:v>0.99010623865988412</c:v>
                </c:pt>
                <c:pt idx="171">
                  <c:v>0.99047129098405062</c:v>
                </c:pt>
                <c:pt idx="172">
                  <c:v>0.99083513851506799</c:v>
                </c:pt>
                <c:pt idx="173">
                  <c:v>0.99119657645978732</c:v>
                </c:pt>
                <c:pt idx="174">
                  <c:v>0.99154717126616498</c:v>
                </c:pt>
                <c:pt idx="175">
                  <c:v>0.99185921269177257</c:v>
                </c:pt>
                <c:pt idx="176">
                  <c:v>0.99217125411738016</c:v>
                </c:pt>
                <c:pt idx="177">
                  <c:v>0.99248209074983873</c:v>
                </c:pt>
                <c:pt idx="178">
                  <c:v>0.99278931300285012</c:v>
                </c:pt>
                <c:pt idx="179">
                  <c:v>0.99309292087641432</c:v>
                </c:pt>
                <c:pt idx="180">
                  <c:v>0.99339291437053134</c:v>
                </c:pt>
                <c:pt idx="181">
                  <c:v>0.99369049827835021</c:v>
                </c:pt>
                <c:pt idx="182">
                  <c:v>0.99396880549578404</c:v>
                </c:pt>
                <c:pt idx="183">
                  <c:v>0.99423385998857816</c:v>
                </c:pt>
                <c:pt idx="184">
                  <c:v>0.99449650489507413</c:v>
                </c:pt>
                <c:pt idx="185">
                  <c:v>0.99475794500842107</c:v>
                </c:pt>
                <c:pt idx="186">
                  <c:v>0.99501697553546986</c:v>
                </c:pt>
                <c:pt idx="187">
                  <c:v>0.99525793416528274</c:v>
                </c:pt>
                <c:pt idx="188">
                  <c:v>0.99549768800194649</c:v>
                </c:pt>
                <c:pt idx="189">
                  <c:v>0.9957314178728649</c:v>
                </c:pt>
                <c:pt idx="190">
                  <c:v>0.99596514774378331</c:v>
                </c:pt>
                <c:pt idx="191">
                  <c:v>0.99619405844210551</c:v>
                </c:pt>
                <c:pt idx="192">
                  <c:v>0.99642055955412956</c:v>
                </c:pt>
                <c:pt idx="193">
                  <c:v>0.99663983190725924</c:v>
                </c:pt>
                <c:pt idx="194">
                  <c:v>0.99684585153574923</c:v>
                </c:pt>
                <c:pt idx="195">
                  <c:v>0.99704223281904669</c:v>
                </c:pt>
                <c:pt idx="196">
                  <c:v>0.99723018055030066</c:v>
                </c:pt>
                <c:pt idx="197">
                  <c:v>0.99741812828155463</c:v>
                </c:pt>
                <c:pt idx="198">
                  <c:v>0.99760005204706337</c:v>
                </c:pt>
                <c:pt idx="199">
                  <c:v>0.99778077101942297</c:v>
                </c:pt>
                <c:pt idx="200">
                  <c:v>0.9979578756123354</c:v>
                </c:pt>
                <c:pt idx="201">
                  <c:v>0.9981337754120988</c:v>
                </c:pt>
                <c:pt idx="202">
                  <c:v>0.99829160331462619</c:v>
                </c:pt>
                <c:pt idx="203">
                  <c:v>0.99843376890621571</c:v>
                </c:pt>
                <c:pt idx="204">
                  <c:v>0.99856991053206001</c:v>
                </c:pt>
                <c:pt idx="205">
                  <c:v>0.99869882339900984</c:v>
                </c:pt>
                <c:pt idx="206">
                  <c:v>0.99881448354131996</c:v>
                </c:pt>
                <c:pt idx="207">
                  <c:v>0.99892050533843757</c:v>
                </c:pt>
                <c:pt idx="208">
                  <c:v>0.99902652713555518</c:v>
                </c:pt>
                <c:pt idx="209">
                  <c:v>0.99910483869024436</c:v>
                </c:pt>
                <c:pt idx="210">
                  <c:v>0.99918194545178451</c:v>
                </c:pt>
                <c:pt idx="211">
                  <c:v>0.99925905221332467</c:v>
                </c:pt>
                <c:pt idx="212">
                  <c:v>0.9993349541817157</c:v>
                </c:pt>
                <c:pt idx="213">
                  <c:v>0.99940603697751051</c:v>
                </c:pt>
                <c:pt idx="214">
                  <c:v>0.9994759149801562</c:v>
                </c:pt>
                <c:pt idx="215">
                  <c:v>0.9995421786033547</c:v>
                </c:pt>
                <c:pt idx="216">
                  <c:v>0.99960482784710603</c:v>
                </c:pt>
                <c:pt idx="217">
                  <c:v>0.99966506750455919</c:v>
                </c:pt>
                <c:pt idx="218">
                  <c:v>0.99971205443737265</c:v>
                </c:pt>
                <c:pt idx="219">
                  <c:v>0.99975422219758991</c:v>
                </c:pt>
                <c:pt idx="220">
                  <c:v>0.99979638995780717</c:v>
                </c:pt>
                <c:pt idx="221">
                  <c:v>0.99983735292487541</c:v>
                </c:pt>
                <c:pt idx="222">
                  <c:v>0.99987590630564549</c:v>
                </c:pt>
                <c:pt idx="223">
                  <c:v>0.99991205010011741</c:v>
                </c:pt>
                <c:pt idx="224">
                  <c:v>0.99994457951514215</c:v>
                </c:pt>
                <c:pt idx="225">
                  <c:v>0.99997469934386873</c:v>
                </c:pt>
                <c:pt idx="226">
                  <c:v>0.99998915686165746</c:v>
                </c:pt>
                <c:pt idx="227">
                  <c:v>0.99999999999999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6</c:f>
              <c:strCache>
                <c:ptCount val="235"/>
                <c:pt idx="0">
                  <c:v>Ruinart</c:v>
                </c:pt>
                <c:pt idx="1">
                  <c:v>Heidsieck &amp;</c:v>
                </c:pt>
                <c:pt idx="2">
                  <c:v>Nicolas</c:v>
                </c:pt>
                <c:pt idx="3">
                  <c:v>Deutz</c:v>
                </c:pt>
                <c:pt idx="4">
                  <c:v>Ruinart</c:v>
                </c:pt>
                <c:pt idx="5">
                  <c:v>De Bligny</c:v>
                </c:pt>
                <c:pt idx="6">
                  <c:v>Malard</c:v>
                </c:pt>
                <c:pt idx="7">
                  <c:v>Besserat De</c:v>
                </c:pt>
                <c:pt idx="8">
                  <c:v>Canard Duch</c:v>
                </c:pt>
                <c:pt idx="9">
                  <c:v>Ayala</c:v>
                </c:pt>
                <c:pt idx="10">
                  <c:v>Bouvet-Ladu</c:v>
                </c:pt>
                <c:pt idx="11">
                  <c:v>Laurent Per</c:v>
                </c:pt>
                <c:pt idx="12">
                  <c:v>All Others</c:v>
                </c:pt>
                <c:pt idx="13">
                  <c:v>Ruinart</c:v>
                </c:pt>
                <c:pt idx="14">
                  <c:v>Vesselle</c:v>
                </c:pt>
                <c:pt idx="15">
                  <c:v>Taittinger</c:v>
                </c:pt>
                <c:pt idx="16">
                  <c:v>Nicolas Feu</c:v>
                </c:pt>
                <c:pt idx="17">
                  <c:v>All Others</c:v>
                </c:pt>
                <c:pt idx="18">
                  <c:v>Bollinger</c:v>
                </c:pt>
                <c:pt idx="19">
                  <c:v>Roederer</c:v>
                </c:pt>
                <c:pt idx="20">
                  <c:v>Demoiselle</c:v>
                </c:pt>
                <c:pt idx="21">
                  <c:v>Ruinart</c:v>
                </c:pt>
                <c:pt idx="22">
                  <c:v>Deutz</c:v>
                </c:pt>
                <c:pt idx="23">
                  <c:v>Ruinart</c:v>
                </c:pt>
                <c:pt idx="24">
                  <c:v>All Others</c:v>
                </c:pt>
                <c:pt idx="25">
                  <c:v>Malard</c:v>
                </c:pt>
                <c:pt idx="26">
                  <c:v>Perrier Jou</c:v>
                </c:pt>
                <c:pt idx="27">
                  <c:v>Besserat De</c:v>
                </c:pt>
                <c:pt idx="28">
                  <c:v>All Others</c:v>
                </c:pt>
                <c:pt idx="29">
                  <c:v>Pommery</c:v>
                </c:pt>
                <c:pt idx="30">
                  <c:v>Laurent Per</c:v>
                </c:pt>
                <c:pt idx="31">
                  <c:v>Lanson</c:v>
                </c:pt>
                <c:pt idx="32">
                  <c:v>Campari: Al</c:v>
                </c:pt>
                <c:pt idx="33">
                  <c:v>Ruinart</c:v>
                </c:pt>
                <c:pt idx="34">
                  <c:v>Ruinart</c:v>
                </c:pt>
                <c:pt idx="35">
                  <c:v>Besserat De</c:v>
                </c:pt>
                <c:pt idx="36">
                  <c:v>Deutz</c:v>
                </c:pt>
                <c:pt idx="37">
                  <c:v>De Venoge</c:v>
                </c:pt>
                <c:pt idx="38">
                  <c:v>Moët &amp; Chan</c:v>
                </c:pt>
                <c:pt idx="39">
                  <c:v>Taittinger</c:v>
                </c:pt>
                <c:pt idx="40">
                  <c:v>Veuve Clicq</c:v>
                </c:pt>
                <c:pt idx="41">
                  <c:v>Roederer</c:v>
                </c:pt>
                <c:pt idx="42">
                  <c:v>Savian</c:v>
                </c:pt>
                <c:pt idx="43">
                  <c:v>Nicolas</c:v>
                </c:pt>
                <c:pt idx="44">
                  <c:v>All Others</c:v>
                </c:pt>
                <c:pt idx="45">
                  <c:v>Roederer</c:v>
                </c:pt>
                <c:pt idx="46">
                  <c:v>Roederer</c:v>
                </c:pt>
                <c:pt idx="47">
                  <c:v>De Chanceny</c:v>
                </c:pt>
                <c:pt idx="48">
                  <c:v>Mure</c:v>
                </c:pt>
                <c:pt idx="49">
                  <c:v>Patriarche</c:v>
                </c:pt>
                <c:pt idx="50">
                  <c:v>De Venoge</c:v>
                </c:pt>
                <c:pt idx="51">
                  <c:v>Bottega</c:v>
                </c:pt>
                <c:pt idx="52">
                  <c:v>Lyre's</c:v>
                </c:pt>
                <c:pt idx="53">
                  <c:v>Henriot</c:v>
                </c:pt>
                <c:pt idx="54">
                  <c:v>Bollinger</c:v>
                </c:pt>
                <c:pt idx="55">
                  <c:v>Dom Perigno</c:v>
                </c:pt>
                <c:pt idx="56">
                  <c:v>Ruinart</c:v>
                </c:pt>
                <c:pt idx="57">
                  <c:v>All Others</c:v>
                </c:pt>
                <c:pt idx="58">
                  <c:v>De Chanceny</c:v>
                </c:pt>
                <c:pt idx="59">
                  <c:v>Nicolas</c:v>
                </c:pt>
                <c:pt idx="60">
                  <c:v>Laurent Per</c:v>
                </c:pt>
                <c:pt idx="61">
                  <c:v>Veuve Clicq</c:v>
                </c:pt>
                <c:pt idx="62">
                  <c:v>All Others</c:v>
                </c:pt>
                <c:pt idx="63">
                  <c:v>Roederer</c:v>
                </c:pt>
                <c:pt idx="64">
                  <c:v>All Others</c:v>
                </c:pt>
                <c:pt idx="65">
                  <c:v>De Bligny</c:v>
                </c:pt>
                <c:pt idx="66">
                  <c:v>Chateau Mon</c:v>
                </c:pt>
                <c:pt idx="67">
                  <c:v>Dom Perigno</c:v>
                </c:pt>
                <c:pt idx="68">
                  <c:v>Henriot</c:v>
                </c:pt>
                <c:pt idx="69">
                  <c:v>Malard</c:v>
                </c:pt>
                <c:pt idx="70">
                  <c:v>Nicolas Feu</c:v>
                </c:pt>
                <c:pt idx="71">
                  <c:v>Malard</c:v>
                </c:pt>
                <c:pt idx="72">
                  <c:v>Laurent Per</c:v>
                </c:pt>
                <c:pt idx="73">
                  <c:v>Canard Duch</c:v>
                </c:pt>
                <c:pt idx="74">
                  <c:v>Nicolas</c:v>
                </c:pt>
                <c:pt idx="75">
                  <c:v>Savian</c:v>
                </c:pt>
                <c:pt idx="76">
                  <c:v>Krug</c:v>
                </c:pt>
                <c:pt idx="77">
                  <c:v>Demoiselle</c:v>
                </c:pt>
                <c:pt idx="78">
                  <c:v>Kriter</c:v>
                </c:pt>
                <c:pt idx="79">
                  <c:v>Veuve Clicq</c:v>
                </c:pt>
                <c:pt idx="80">
                  <c:v>Ruinart</c:v>
                </c:pt>
                <c:pt idx="81">
                  <c:v>Ruinart</c:v>
                </c:pt>
                <c:pt idx="82">
                  <c:v>Nicolas Feu</c:v>
                </c:pt>
                <c:pt idx="83">
                  <c:v>Malard</c:v>
                </c:pt>
                <c:pt idx="84">
                  <c:v>Henriot</c:v>
                </c:pt>
                <c:pt idx="85">
                  <c:v>Deutz</c:v>
                </c:pt>
                <c:pt idx="86">
                  <c:v>Pommery</c:v>
                </c:pt>
                <c:pt idx="87">
                  <c:v>Nicolas Feu</c:v>
                </c:pt>
                <c:pt idx="88">
                  <c:v>Piper Heids</c:v>
                </c:pt>
                <c:pt idx="89">
                  <c:v>Canard Duch</c:v>
                </c:pt>
                <c:pt idx="90">
                  <c:v>Bouvet-Ladu</c:v>
                </c:pt>
                <c:pt idx="91">
                  <c:v>Delamotte</c:v>
                </c:pt>
                <c:pt idx="92">
                  <c:v>Bottega</c:v>
                </c:pt>
                <c:pt idx="93">
                  <c:v>All Others</c:v>
                </c:pt>
                <c:pt idx="94">
                  <c:v>Canard Duch</c:v>
                </c:pt>
                <c:pt idx="95">
                  <c:v>Veuve Clicq</c:v>
                </c:pt>
                <c:pt idx="96">
                  <c:v>All Others</c:v>
                </c:pt>
                <c:pt idx="97">
                  <c:v>All Others</c:v>
                </c:pt>
                <c:pt idx="98">
                  <c:v>Malard</c:v>
                </c:pt>
                <c:pt idx="99">
                  <c:v>All Others</c:v>
                </c:pt>
                <c:pt idx="100">
                  <c:v>Roederer</c:v>
                </c:pt>
                <c:pt idx="101">
                  <c:v>Louis Marti</c:v>
                </c:pt>
                <c:pt idx="102">
                  <c:v>Campari: Al</c:v>
                </c:pt>
                <c:pt idx="103">
                  <c:v>De Venoge</c:v>
                </c:pt>
                <c:pt idx="104">
                  <c:v>Nicolas</c:v>
                </c:pt>
                <c:pt idx="105">
                  <c:v>All Others</c:v>
                </c:pt>
                <c:pt idx="106">
                  <c:v>Henriot</c:v>
                </c:pt>
                <c:pt idx="107">
                  <c:v>Patriarche</c:v>
                </c:pt>
                <c:pt idx="108">
                  <c:v>Ruinart</c:v>
                </c:pt>
                <c:pt idx="109">
                  <c:v>Dom Perigno</c:v>
                </c:pt>
                <c:pt idx="110">
                  <c:v>Vranken</c:v>
                </c:pt>
                <c:pt idx="111">
                  <c:v>Deutz</c:v>
                </c:pt>
                <c:pt idx="112">
                  <c:v>Nicolas</c:v>
                </c:pt>
                <c:pt idx="113">
                  <c:v>Nicolas</c:v>
                </c:pt>
                <c:pt idx="114">
                  <c:v>Deutz</c:v>
                </c:pt>
                <c:pt idx="115">
                  <c:v>Contarini</c:v>
                </c:pt>
                <c:pt idx="116">
                  <c:v>All Others</c:v>
                </c:pt>
                <c:pt idx="117">
                  <c:v>Deutz</c:v>
                </c:pt>
                <c:pt idx="118">
                  <c:v>Canard Duch</c:v>
                </c:pt>
                <c:pt idx="119">
                  <c:v>Ayala</c:v>
                </c:pt>
                <c:pt idx="120">
                  <c:v>Roederer</c:v>
                </c:pt>
                <c:pt idx="121">
                  <c:v>Ruinart</c:v>
                </c:pt>
                <c:pt idx="122">
                  <c:v>Ruinart</c:v>
                </c:pt>
                <c:pt idx="123">
                  <c:v>All Others</c:v>
                </c:pt>
                <c:pt idx="124">
                  <c:v>Ayala</c:v>
                </c:pt>
                <c:pt idx="125">
                  <c:v>Nicolas</c:v>
                </c:pt>
                <c:pt idx="126">
                  <c:v>Roederer</c:v>
                </c:pt>
                <c:pt idx="127">
                  <c:v>All Others</c:v>
                </c:pt>
                <c:pt idx="128">
                  <c:v>All Others</c:v>
                </c:pt>
                <c:pt idx="129">
                  <c:v>All Others</c:v>
                </c:pt>
                <c:pt idx="130">
                  <c:v>Bouvet-Ladu</c:v>
                </c:pt>
                <c:pt idx="131">
                  <c:v>All Others</c:v>
                </c:pt>
                <c:pt idx="132">
                  <c:v>Roederer</c:v>
                </c:pt>
                <c:pt idx="133">
                  <c:v>Cru La Maqu</c:v>
                </c:pt>
                <c:pt idx="134">
                  <c:v>Roederer</c:v>
                </c:pt>
                <c:pt idx="135">
                  <c:v>Ruinart</c:v>
                </c:pt>
                <c:pt idx="136">
                  <c:v>Nicolas</c:v>
                </c:pt>
                <c:pt idx="137">
                  <c:v>Laurent Per</c:v>
                </c:pt>
                <c:pt idx="138">
                  <c:v>All Others</c:v>
                </c:pt>
                <c:pt idx="139">
                  <c:v>Moët &amp; Chan</c:v>
                </c:pt>
                <c:pt idx="140">
                  <c:v>Demoiselle</c:v>
                </c:pt>
                <c:pt idx="141">
                  <c:v>Louis Marti</c:v>
                </c:pt>
                <c:pt idx="142">
                  <c:v>Nicolas</c:v>
                </c:pt>
                <c:pt idx="143">
                  <c:v>Besserat De</c:v>
                </c:pt>
                <c:pt idx="144">
                  <c:v>Nicolas</c:v>
                </c:pt>
                <c:pt idx="145">
                  <c:v>All Others</c:v>
                </c:pt>
                <c:pt idx="146">
                  <c:v>Piper Heids</c:v>
                </c:pt>
                <c:pt idx="147">
                  <c:v>Moët &amp; Chan</c:v>
                </c:pt>
                <c:pt idx="148">
                  <c:v>All Others</c:v>
                </c:pt>
                <c:pt idx="149">
                  <c:v>Roederer</c:v>
                </c:pt>
                <c:pt idx="150">
                  <c:v>All Others</c:v>
                </c:pt>
                <c:pt idx="151">
                  <c:v>Nicolas</c:v>
                </c:pt>
                <c:pt idx="152">
                  <c:v>Bollinger</c:v>
                </c:pt>
                <c:pt idx="153">
                  <c:v>Vranken</c:v>
                </c:pt>
                <c:pt idx="154">
                  <c:v>Ruinart</c:v>
                </c:pt>
                <c:pt idx="155">
                  <c:v>Nicolas</c:v>
                </c:pt>
                <c:pt idx="156">
                  <c:v>Piper Heids</c:v>
                </c:pt>
                <c:pt idx="157">
                  <c:v>All Others</c:v>
                </c:pt>
                <c:pt idx="158">
                  <c:v>Pommery</c:v>
                </c:pt>
                <c:pt idx="159">
                  <c:v>Nicolas</c:v>
                </c:pt>
                <c:pt idx="160">
                  <c:v>Demoiselle</c:v>
                </c:pt>
                <c:pt idx="161">
                  <c:v>Roederer</c:v>
                </c:pt>
                <c:pt idx="162">
                  <c:v>Laurent Per</c:v>
                </c:pt>
                <c:pt idx="163">
                  <c:v>Pommery</c:v>
                </c:pt>
                <c:pt idx="164">
                  <c:v>Roederer</c:v>
                </c:pt>
                <c:pt idx="165">
                  <c:v>Ruinart</c:v>
                </c:pt>
                <c:pt idx="166">
                  <c:v>All Others</c:v>
                </c:pt>
                <c:pt idx="167">
                  <c:v>Dom Perigno</c:v>
                </c:pt>
                <c:pt idx="168">
                  <c:v>De Venoge</c:v>
                </c:pt>
                <c:pt idx="169">
                  <c:v>Bouvet-Ladu</c:v>
                </c:pt>
                <c:pt idx="170">
                  <c:v>Canard Duch</c:v>
                </c:pt>
                <c:pt idx="171">
                  <c:v>Nicolas</c:v>
                </c:pt>
                <c:pt idx="172">
                  <c:v>Piper Heids</c:v>
                </c:pt>
                <c:pt idx="173">
                  <c:v>Nicolas Feu</c:v>
                </c:pt>
                <c:pt idx="174">
                  <c:v>All Others</c:v>
                </c:pt>
                <c:pt idx="175">
                  <c:v>Pommery</c:v>
                </c:pt>
                <c:pt idx="176">
                  <c:v>All Others</c:v>
                </c:pt>
                <c:pt idx="177">
                  <c:v>Bollinger</c:v>
                </c:pt>
                <c:pt idx="178">
                  <c:v>Besserat De</c:v>
                </c:pt>
                <c:pt idx="179">
                  <c:v>All Others</c:v>
                </c:pt>
                <c:pt idx="180">
                  <c:v>All Others</c:v>
                </c:pt>
                <c:pt idx="181">
                  <c:v>Moët &amp; Chan</c:v>
                </c:pt>
                <c:pt idx="182">
                  <c:v>Pommery</c:v>
                </c:pt>
                <c:pt idx="183">
                  <c:v>Vesselle</c:v>
                </c:pt>
                <c:pt idx="184">
                  <c:v>All Others</c:v>
                </c:pt>
                <c:pt idx="185">
                  <c:v>Roederer</c:v>
                </c:pt>
                <c:pt idx="186">
                  <c:v>Laurent Per</c:v>
                </c:pt>
                <c:pt idx="187">
                  <c:v>Ruinart</c:v>
                </c:pt>
                <c:pt idx="188">
                  <c:v>Contarini</c:v>
                </c:pt>
                <c:pt idx="189">
                  <c:v>Nicolas</c:v>
                </c:pt>
                <c:pt idx="190">
                  <c:v>Nicolas</c:v>
                </c:pt>
                <c:pt idx="191">
                  <c:v>Taittinger</c:v>
                </c:pt>
                <c:pt idx="192">
                  <c:v>Pommery</c:v>
                </c:pt>
                <c:pt idx="193">
                  <c:v>All Others</c:v>
                </c:pt>
                <c:pt idx="194">
                  <c:v>Lanson</c:v>
                </c:pt>
                <c:pt idx="195">
                  <c:v>Celene</c:v>
                </c:pt>
                <c:pt idx="196">
                  <c:v>Bollinger</c:v>
                </c:pt>
                <c:pt idx="197">
                  <c:v>All Others</c:v>
                </c:pt>
                <c:pt idx="198">
                  <c:v>Roederer</c:v>
                </c:pt>
                <c:pt idx="199">
                  <c:v>All Others</c:v>
                </c:pt>
                <c:pt idx="200">
                  <c:v>All Others</c:v>
                </c:pt>
                <c:pt idx="201">
                  <c:v>Delamotte</c:v>
                </c:pt>
                <c:pt idx="202">
                  <c:v>Martel</c:v>
                </c:pt>
                <c:pt idx="203">
                  <c:v>Bollinger</c:v>
                </c:pt>
                <c:pt idx="204">
                  <c:v>Vranken</c:v>
                </c:pt>
                <c:pt idx="205">
                  <c:v>Henriot</c:v>
                </c:pt>
                <c:pt idx="206">
                  <c:v>Ruinart</c:v>
                </c:pt>
                <c:pt idx="207">
                  <c:v>Bouvet-Ladu</c:v>
                </c:pt>
                <c:pt idx="208">
                  <c:v>Perrier Jou</c:v>
                </c:pt>
                <c:pt idx="209">
                  <c:v>Celene</c:v>
                </c:pt>
                <c:pt idx="210">
                  <c:v>Piper Heids</c:v>
                </c:pt>
                <c:pt idx="211">
                  <c:v>De Venoge</c:v>
                </c:pt>
                <c:pt idx="212">
                  <c:v>Nicolas</c:v>
                </c:pt>
                <c:pt idx="213">
                  <c:v>De Bligny</c:v>
                </c:pt>
                <c:pt idx="214">
                  <c:v>Jaillance</c:v>
                </c:pt>
                <c:pt idx="215">
                  <c:v>Laurent Per</c:v>
                </c:pt>
                <c:pt idx="216">
                  <c:v>Henriot</c:v>
                </c:pt>
                <c:pt idx="217">
                  <c:v>Nicolas Feu</c:v>
                </c:pt>
                <c:pt idx="218">
                  <c:v>Canard Duch</c:v>
                </c:pt>
                <c:pt idx="219">
                  <c:v>Laurent Per</c:v>
                </c:pt>
                <c:pt idx="220">
                  <c:v>Moët &amp; Chan</c:v>
                </c:pt>
                <c:pt idx="221">
                  <c:v>Vesselle</c:v>
                </c:pt>
                <c:pt idx="222">
                  <c:v>Nicolas</c:v>
                </c:pt>
                <c:pt idx="223">
                  <c:v>Vranken</c:v>
                </c:pt>
                <c:pt idx="224">
                  <c:v>All Others</c:v>
                </c:pt>
                <c:pt idx="225">
                  <c:v>Roederer</c:v>
                </c:pt>
                <c:pt idx="226">
                  <c:v>Besserat De</c:v>
                </c:pt>
                <c:pt idx="227">
                  <c:v>All Others</c:v>
                </c:pt>
                <c:pt idx="228">
                  <c:v>All Others</c:v>
                </c:pt>
                <c:pt idx="229">
                  <c:v>Bottega</c:v>
                </c:pt>
                <c:pt idx="230">
                  <c:v>Besserat De</c:v>
                </c:pt>
                <c:pt idx="231">
                  <c:v>All Others</c:v>
                </c:pt>
                <c:pt idx="232">
                  <c:v>Vranken</c:v>
                </c:pt>
                <c:pt idx="233">
                  <c:v>Nicolas</c:v>
                </c:pt>
                <c:pt idx="234">
                  <c:v>All Others</c:v>
                </c:pt>
              </c:strCache>
            </c:strRef>
          </c:cat>
          <c:val>
            <c:numRef>
              <c:f>Sheet1!$B$2:$B$236</c:f>
              <c:numCache>
                <c:formatCode>General</c:formatCode>
                <c:ptCount val="235"/>
                <c:pt idx="0">
                  <c:v>1</c:v>
                </c:pt>
                <c:pt idx="1">
                  <c:v>1</c:v>
                </c:pt>
                <c:pt idx="2">
                  <c:v>1</c:v>
                </c:pt>
                <c:pt idx="3">
                  <c:v>1</c:v>
                </c:pt>
                <c:pt idx="4">
                  <c:v>0.88</c:v>
                </c:pt>
                <c:pt idx="5">
                  <c:v>1</c:v>
                </c:pt>
                <c:pt idx="6">
                  <c:v>1</c:v>
                </c:pt>
                <c:pt idx="7">
                  <c:v>0.93</c:v>
                </c:pt>
                <c:pt idx="8">
                  <c:v>1</c:v>
                </c:pt>
                <c:pt idx="9">
                  <c:v>0.83</c:v>
                </c:pt>
                <c:pt idx="10">
                  <c:v>1</c:v>
                </c:pt>
                <c:pt idx="11">
                  <c:v>1</c:v>
                </c:pt>
                <c:pt idx="12">
                  <c:v>0.97</c:v>
                </c:pt>
                <c:pt idx="13">
                  <c:v>0.98</c:v>
                </c:pt>
                <c:pt idx="14">
                  <c:v>0.89</c:v>
                </c:pt>
                <c:pt idx="15">
                  <c:v>0.9</c:v>
                </c:pt>
                <c:pt idx="16">
                  <c:v>1</c:v>
                </c:pt>
                <c:pt idx="17">
                  <c:v>0.83</c:v>
                </c:pt>
                <c:pt idx="18">
                  <c:v>1</c:v>
                </c:pt>
                <c:pt idx="19">
                  <c:v>0.66</c:v>
                </c:pt>
                <c:pt idx="20">
                  <c:v>0.79</c:v>
                </c:pt>
                <c:pt idx="21">
                  <c:v>0.7</c:v>
                </c:pt>
                <c:pt idx="22">
                  <c:v>0.77</c:v>
                </c:pt>
                <c:pt idx="23">
                  <c:v>0.61</c:v>
                </c:pt>
                <c:pt idx="24">
                  <c:v>0.94</c:v>
                </c:pt>
                <c:pt idx="25">
                  <c:v>0.82</c:v>
                </c:pt>
                <c:pt idx="26">
                  <c:v>0.69</c:v>
                </c:pt>
                <c:pt idx="27">
                  <c:v>0.49</c:v>
                </c:pt>
                <c:pt idx="28">
                  <c:v>0.86</c:v>
                </c:pt>
                <c:pt idx="29">
                  <c:v>0.89</c:v>
                </c:pt>
                <c:pt idx="30">
                  <c:v>0.63</c:v>
                </c:pt>
                <c:pt idx="31">
                  <c:v>0.68</c:v>
                </c:pt>
                <c:pt idx="32">
                  <c:v>0.56000000000000005</c:v>
                </c:pt>
                <c:pt idx="33">
                  <c:v>0.68</c:v>
                </c:pt>
                <c:pt idx="34">
                  <c:v>0.38</c:v>
                </c:pt>
                <c:pt idx="35">
                  <c:v>0.7</c:v>
                </c:pt>
                <c:pt idx="36">
                  <c:v>0.51</c:v>
                </c:pt>
                <c:pt idx="37">
                  <c:v>0.44</c:v>
                </c:pt>
                <c:pt idx="38">
                  <c:v>0.61</c:v>
                </c:pt>
                <c:pt idx="39">
                  <c:v>0.56999999999999995</c:v>
                </c:pt>
                <c:pt idx="40">
                  <c:v>0.75</c:v>
                </c:pt>
                <c:pt idx="41">
                  <c:v>0.51</c:v>
                </c:pt>
                <c:pt idx="42">
                  <c:v>0.63</c:v>
                </c:pt>
                <c:pt idx="43">
                  <c:v>0.69</c:v>
                </c:pt>
                <c:pt idx="44">
                  <c:v>0.7</c:v>
                </c:pt>
                <c:pt idx="45">
                  <c:v>0.53</c:v>
                </c:pt>
                <c:pt idx="46">
                  <c:v>0.59</c:v>
                </c:pt>
                <c:pt idx="47">
                  <c:v>0.76</c:v>
                </c:pt>
                <c:pt idx="48">
                  <c:v>0.73</c:v>
                </c:pt>
                <c:pt idx="49">
                  <c:v>0.85</c:v>
                </c:pt>
                <c:pt idx="50">
                  <c:v>0.63</c:v>
                </c:pt>
                <c:pt idx="51">
                  <c:v>0.75</c:v>
                </c:pt>
                <c:pt idx="52">
                  <c:v>0.83</c:v>
                </c:pt>
                <c:pt idx="53">
                  <c:v>0.68</c:v>
                </c:pt>
                <c:pt idx="54">
                  <c:v>0.42</c:v>
                </c:pt>
                <c:pt idx="55">
                  <c:v>0.27</c:v>
                </c:pt>
                <c:pt idx="56">
                  <c:v>0.56999999999999995</c:v>
                </c:pt>
                <c:pt idx="57">
                  <c:v>0.56999999999999995</c:v>
                </c:pt>
                <c:pt idx="58">
                  <c:v>0.77</c:v>
                </c:pt>
                <c:pt idx="59">
                  <c:v>0.69</c:v>
                </c:pt>
                <c:pt idx="60">
                  <c:v>0.69</c:v>
                </c:pt>
                <c:pt idx="61">
                  <c:v>0.63</c:v>
                </c:pt>
                <c:pt idx="62">
                  <c:v>0.47</c:v>
                </c:pt>
                <c:pt idx="63">
                  <c:v>0.44</c:v>
                </c:pt>
                <c:pt idx="64">
                  <c:v>0.32</c:v>
                </c:pt>
                <c:pt idx="65">
                  <c:v>0.72</c:v>
                </c:pt>
                <c:pt idx="66">
                  <c:v>0.63</c:v>
                </c:pt>
                <c:pt idx="67">
                  <c:v>0.43</c:v>
                </c:pt>
                <c:pt idx="68">
                  <c:v>0.52</c:v>
                </c:pt>
                <c:pt idx="69">
                  <c:v>0.77</c:v>
                </c:pt>
                <c:pt idx="70">
                  <c:v>0.56999999999999995</c:v>
                </c:pt>
                <c:pt idx="71">
                  <c:v>0.5</c:v>
                </c:pt>
                <c:pt idx="72">
                  <c:v>0.54</c:v>
                </c:pt>
                <c:pt idx="73">
                  <c:v>0.54</c:v>
                </c:pt>
                <c:pt idx="74">
                  <c:v>0.6</c:v>
                </c:pt>
                <c:pt idx="75">
                  <c:v>0.6</c:v>
                </c:pt>
                <c:pt idx="76">
                  <c:v>0.48</c:v>
                </c:pt>
                <c:pt idx="77">
                  <c:v>0.74</c:v>
                </c:pt>
                <c:pt idx="78">
                  <c:v>0.84</c:v>
                </c:pt>
                <c:pt idx="79">
                  <c:v>0.65</c:v>
                </c:pt>
                <c:pt idx="80">
                  <c:v>0.48</c:v>
                </c:pt>
                <c:pt idx="81">
                  <c:v>0.65</c:v>
                </c:pt>
                <c:pt idx="82">
                  <c:v>0.45</c:v>
                </c:pt>
                <c:pt idx="83">
                  <c:v>0.52</c:v>
                </c:pt>
                <c:pt idx="84">
                  <c:v>0.62</c:v>
                </c:pt>
                <c:pt idx="85">
                  <c:v>0.77</c:v>
                </c:pt>
                <c:pt idx="86">
                  <c:v>0.6</c:v>
                </c:pt>
                <c:pt idx="87">
                  <c:v>0.51</c:v>
                </c:pt>
                <c:pt idx="88">
                  <c:v>0.44</c:v>
                </c:pt>
                <c:pt idx="89">
                  <c:v>0.74</c:v>
                </c:pt>
                <c:pt idx="90">
                  <c:v>0.35</c:v>
                </c:pt>
                <c:pt idx="91">
                  <c:v>0.69</c:v>
                </c:pt>
                <c:pt idx="92">
                  <c:v>0.68</c:v>
                </c:pt>
                <c:pt idx="93">
                  <c:v>0.3</c:v>
                </c:pt>
                <c:pt idx="94">
                  <c:v>0.61</c:v>
                </c:pt>
                <c:pt idx="95">
                  <c:v>0.37</c:v>
                </c:pt>
                <c:pt idx="96">
                  <c:v>0.18</c:v>
                </c:pt>
                <c:pt idx="97">
                  <c:v>0.43</c:v>
                </c:pt>
                <c:pt idx="98">
                  <c:v>0.41</c:v>
                </c:pt>
                <c:pt idx="99">
                  <c:v>0.53</c:v>
                </c:pt>
                <c:pt idx="100">
                  <c:v>0.42</c:v>
                </c:pt>
                <c:pt idx="101">
                  <c:v>0.39</c:v>
                </c:pt>
                <c:pt idx="102">
                  <c:v>0.51</c:v>
                </c:pt>
                <c:pt idx="103">
                  <c:v>0.6</c:v>
                </c:pt>
                <c:pt idx="104">
                  <c:v>0.63</c:v>
                </c:pt>
                <c:pt idx="105">
                  <c:v>0.44</c:v>
                </c:pt>
                <c:pt idx="106">
                  <c:v>0.41</c:v>
                </c:pt>
                <c:pt idx="107">
                  <c:v>0.68</c:v>
                </c:pt>
                <c:pt idx="108">
                  <c:v>0.21</c:v>
                </c:pt>
                <c:pt idx="109">
                  <c:v>0.26</c:v>
                </c:pt>
                <c:pt idx="110">
                  <c:v>0.41</c:v>
                </c:pt>
                <c:pt idx="111">
                  <c:v>0.2</c:v>
                </c:pt>
                <c:pt idx="112">
                  <c:v>0.49</c:v>
                </c:pt>
                <c:pt idx="113">
                  <c:v>0.35</c:v>
                </c:pt>
                <c:pt idx="114">
                  <c:v>0.87</c:v>
                </c:pt>
                <c:pt idx="115">
                  <c:v>0.7</c:v>
                </c:pt>
                <c:pt idx="116">
                  <c:v>0.66</c:v>
                </c:pt>
                <c:pt idx="117">
                  <c:v>0.26</c:v>
                </c:pt>
                <c:pt idx="118">
                  <c:v>0.63</c:v>
                </c:pt>
                <c:pt idx="119">
                  <c:v>0.3</c:v>
                </c:pt>
                <c:pt idx="120">
                  <c:v>0.24</c:v>
                </c:pt>
                <c:pt idx="121">
                  <c:v>0.4</c:v>
                </c:pt>
                <c:pt idx="122">
                  <c:v>0.38</c:v>
                </c:pt>
                <c:pt idx="123">
                  <c:v>0.62</c:v>
                </c:pt>
                <c:pt idx="124">
                  <c:v>0.26</c:v>
                </c:pt>
                <c:pt idx="125">
                  <c:v>0.34</c:v>
                </c:pt>
                <c:pt idx="126">
                  <c:v>0.49</c:v>
                </c:pt>
                <c:pt idx="127">
                  <c:v>0.49</c:v>
                </c:pt>
                <c:pt idx="128">
                  <c:v>0.26</c:v>
                </c:pt>
                <c:pt idx="129">
                  <c:v>0.47</c:v>
                </c:pt>
                <c:pt idx="130">
                  <c:v>0.2</c:v>
                </c:pt>
                <c:pt idx="131">
                  <c:v>0.59</c:v>
                </c:pt>
                <c:pt idx="132">
                  <c:v>0.28000000000000003</c:v>
                </c:pt>
                <c:pt idx="133">
                  <c:v>0.5</c:v>
                </c:pt>
                <c:pt idx="134">
                  <c:v>0.34</c:v>
                </c:pt>
                <c:pt idx="135">
                  <c:v>0.17</c:v>
                </c:pt>
                <c:pt idx="136">
                  <c:v>0.41</c:v>
                </c:pt>
                <c:pt idx="137">
                  <c:v>0.36</c:v>
                </c:pt>
                <c:pt idx="138">
                  <c:v>0.64</c:v>
                </c:pt>
                <c:pt idx="139">
                  <c:v>0.5</c:v>
                </c:pt>
                <c:pt idx="140">
                  <c:v>0.48</c:v>
                </c:pt>
                <c:pt idx="141">
                  <c:v>0.56000000000000005</c:v>
                </c:pt>
                <c:pt idx="142">
                  <c:v>0.51</c:v>
                </c:pt>
                <c:pt idx="143">
                  <c:v>0.53</c:v>
                </c:pt>
                <c:pt idx="144">
                  <c:v>0.25</c:v>
                </c:pt>
                <c:pt idx="145">
                  <c:v>0.44</c:v>
                </c:pt>
                <c:pt idx="146">
                  <c:v>0.12</c:v>
                </c:pt>
                <c:pt idx="147">
                  <c:v>0.31</c:v>
                </c:pt>
                <c:pt idx="148">
                  <c:v>0.3</c:v>
                </c:pt>
                <c:pt idx="149">
                  <c:v>0.25</c:v>
                </c:pt>
                <c:pt idx="150">
                  <c:v>0.49</c:v>
                </c:pt>
                <c:pt idx="151">
                  <c:v>0.48</c:v>
                </c:pt>
                <c:pt idx="152">
                  <c:v>0.46</c:v>
                </c:pt>
                <c:pt idx="153">
                  <c:v>0.27</c:v>
                </c:pt>
                <c:pt idx="154">
                  <c:v>0.2</c:v>
                </c:pt>
                <c:pt idx="155">
                  <c:v>0.39</c:v>
                </c:pt>
                <c:pt idx="156">
                  <c:v>0.41</c:v>
                </c:pt>
                <c:pt idx="157">
                  <c:v>0.26</c:v>
                </c:pt>
                <c:pt idx="158">
                  <c:v>0.44</c:v>
                </c:pt>
                <c:pt idx="159">
                  <c:v>0.44</c:v>
                </c:pt>
                <c:pt idx="160">
                  <c:v>0.19</c:v>
                </c:pt>
                <c:pt idx="161">
                  <c:v>0.36</c:v>
                </c:pt>
                <c:pt idx="162">
                  <c:v>0.23</c:v>
                </c:pt>
                <c:pt idx="163">
                  <c:v>0.41</c:v>
                </c:pt>
                <c:pt idx="164">
                  <c:v>0.17</c:v>
                </c:pt>
                <c:pt idx="165">
                  <c:v>0.35</c:v>
                </c:pt>
                <c:pt idx="166">
                  <c:v>0.28000000000000003</c:v>
                </c:pt>
                <c:pt idx="167">
                  <c:v>0.1</c:v>
                </c:pt>
                <c:pt idx="168">
                  <c:v>0.44</c:v>
                </c:pt>
                <c:pt idx="169">
                  <c:v>0.13</c:v>
                </c:pt>
                <c:pt idx="170">
                  <c:v>0.11</c:v>
                </c:pt>
                <c:pt idx="171">
                  <c:v>0.46</c:v>
                </c:pt>
                <c:pt idx="172">
                  <c:v>0.3</c:v>
                </c:pt>
                <c:pt idx="173">
                  <c:v>0.27</c:v>
                </c:pt>
                <c:pt idx="174">
                  <c:v>0.25</c:v>
                </c:pt>
                <c:pt idx="175">
                  <c:v>0.2</c:v>
                </c:pt>
                <c:pt idx="176">
                  <c:v>0.41</c:v>
                </c:pt>
                <c:pt idx="177">
                  <c:v>0.25</c:v>
                </c:pt>
                <c:pt idx="178">
                  <c:v>0.37</c:v>
                </c:pt>
                <c:pt idx="179">
                  <c:v>0.17</c:v>
                </c:pt>
                <c:pt idx="180">
                  <c:v>0.37</c:v>
                </c:pt>
                <c:pt idx="181">
                  <c:v>0.26</c:v>
                </c:pt>
                <c:pt idx="182">
                  <c:v>0.26</c:v>
                </c:pt>
                <c:pt idx="183">
                  <c:v>0.26</c:v>
                </c:pt>
                <c:pt idx="184">
                  <c:v>0.26</c:v>
                </c:pt>
                <c:pt idx="185">
                  <c:v>0.41</c:v>
                </c:pt>
                <c:pt idx="186">
                  <c:v>0.25</c:v>
                </c:pt>
                <c:pt idx="187">
                  <c:v>0.11</c:v>
                </c:pt>
                <c:pt idx="188">
                  <c:v>0.35</c:v>
                </c:pt>
                <c:pt idx="189">
                  <c:v>0.11</c:v>
                </c:pt>
                <c:pt idx="190">
                  <c:v>0.28000000000000003</c:v>
                </c:pt>
                <c:pt idx="191">
                  <c:v>0.11</c:v>
                </c:pt>
                <c:pt idx="192">
                  <c:v>0.39</c:v>
                </c:pt>
                <c:pt idx="193">
                  <c:v>0.18</c:v>
                </c:pt>
                <c:pt idx="194">
                  <c:v>0.35</c:v>
                </c:pt>
                <c:pt idx="195">
                  <c:v>0.22</c:v>
                </c:pt>
                <c:pt idx="196">
                  <c:v>0.09</c:v>
                </c:pt>
                <c:pt idx="197">
                  <c:v>0.1</c:v>
                </c:pt>
                <c:pt idx="198">
                  <c:v>0.08</c:v>
                </c:pt>
                <c:pt idx="199">
                  <c:v>0.13</c:v>
                </c:pt>
                <c:pt idx="200">
                  <c:v>0.09</c:v>
                </c:pt>
                <c:pt idx="201">
                  <c:v>0.09</c:v>
                </c:pt>
                <c:pt idx="202">
                  <c:v>0.18</c:v>
                </c:pt>
                <c:pt idx="203">
                  <c:v>0.27</c:v>
                </c:pt>
                <c:pt idx="204">
                  <c:v>0.19</c:v>
                </c:pt>
                <c:pt idx="205">
                  <c:v>0.08</c:v>
                </c:pt>
                <c:pt idx="206">
                  <c:v>0.06</c:v>
                </c:pt>
                <c:pt idx="207">
                  <c:v>0.41</c:v>
                </c:pt>
                <c:pt idx="208">
                  <c:v>0.25</c:v>
                </c:pt>
                <c:pt idx="209">
                  <c:v>0.26</c:v>
                </c:pt>
                <c:pt idx="210">
                  <c:v>0.1</c:v>
                </c:pt>
                <c:pt idx="211">
                  <c:v>0.05</c:v>
                </c:pt>
                <c:pt idx="212">
                  <c:v>0.28000000000000003</c:v>
                </c:pt>
                <c:pt idx="213">
                  <c:v>0.3</c:v>
                </c:pt>
                <c:pt idx="214">
                  <c:v>0.12</c:v>
                </c:pt>
                <c:pt idx="215">
                  <c:v>0.32</c:v>
                </c:pt>
                <c:pt idx="216">
                  <c:v>0.11</c:v>
                </c:pt>
                <c:pt idx="217">
                  <c:v>0.05</c:v>
                </c:pt>
                <c:pt idx="218">
                  <c:v>0.11</c:v>
                </c:pt>
                <c:pt idx="219">
                  <c:v>0.13</c:v>
                </c:pt>
                <c:pt idx="220">
                  <c:v>0.06</c:v>
                </c:pt>
                <c:pt idx="221">
                  <c:v>0.08</c:v>
                </c:pt>
                <c:pt idx="222">
                  <c:v>0.09</c:v>
                </c:pt>
                <c:pt idx="223">
                  <c:v>7.0000000000000007E-2</c:v>
                </c:pt>
                <c:pt idx="224">
                  <c:v>0.32</c:v>
                </c:pt>
                <c:pt idx="225">
                  <c:v>0.08</c:v>
                </c:pt>
                <c:pt idx="226">
                  <c:v>0.19</c:v>
                </c:pt>
                <c:pt idx="227">
                  <c:v>7.0000000000000007E-2</c:v>
                </c:pt>
                <c:pt idx="228">
                  <c:v>7.0000000000000007E-2</c:v>
                </c:pt>
                <c:pt idx="229">
                  <c:v>0.05</c:v>
                </c:pt>
                <c:pt idx="230">
                  <c:v>0.11</c:v>
                </c:pt>
                <c:pt idx="231">
                  <c:v>0.08</c:v>
                </c:pt>
                <c:pt idx="232">
                  <c:v>0.2</c:v>
                </c:pt>
                <c:pt idx="233">
                  <c:v>0.13</c:v>
                </c:pt>
                <c:pt idx="234">
                  <c:v>0.2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884-4764-9EFF-E2B7EF88C65A}"/>
              </c:ext>
            </c:extLst>
          </c:dPt>
          <c:dPt>
            <c:idx val="211"/>
            <c:invertIfNegative val="1"/>
            <c:bubble3D val="0"/>
            <c:spPr>
              <a:solidFill>
                <a:srgbClr val="AEABAB"/>
              </a:solidFill>
            </c:spPr>
            <c:extLst>
              <c:ext xmlns:c16="http://schemas.microsoft.com/office/drawing/2014/chart" uri="{C3380CC4-5D6E-409C-BE32-E72D297353CC}">
                <c16:uniqueId val="{000001A9-7884-4764-9EFF-E2B7EF88C65A}"/>
              </c:ext>
            </c:extLst>
          </c:dPt>
          <c:dPt>
            <c:idx val="212"/>
            <c:invertIfNegative val="1"/>
            <c:bubble3D val="0"/>
            <c:spPr>
              <a:solidFill>
                <a:srgbClr val="AEABAB"/>
              </a:solidFill>
            </c:spPr>
            <c:extLst>
              <c:ext xmlns:c16="http://schemas.microsoft.com/office/drawing/2014/chart" uri="{C3380CC4-5D6E-409C-BE32-E72D297353CC}">
                <c16:uniqueId val="{000001AB-7884-4764-9EFF-E2B7EF88C65A}"/>
              </c:ext>
            </c:extLst>
          </c:dPt>
          <c:dPt>
            <c:idx val="213"/>
            <c:invertIfNegative val="1"/>
            <c:bubble3D val="0"/>
            <c:spPr>
              <a:solidFill>
                <a:srgbClr val="AEABAB"/>
              </a:solidFill>
            </c:spPr>
            <c:extLst>
              <c:ext xmlns:c16="http://schemas.microsoft.com/office/drawing/2014/chart" uri="{C3380CC4-5D6E-409C-BE32-E72D297353CC}">
                <c16:uniqueId val="{000001AD-7884-4764-9EFF-E2B7EF88C65A}"/>
              </c:ext>
            </c:extLst>
          </c:dPt>
          <c:dPt>
            <c:idx val="214"/>
            <c:invertIfNegative val="1"/>
            <c:bubble3D val="0"/>
            <c:spPr>
              <a:solidFill>
                <a:srgbClr val="AEABAB"/>
              </a:solidFill>
            </c:spPr>
            <c:extLst>
              <c:ext xmlns:c16="http://schemas.microsoft.com/office/drawing/2014/chart" uri="{C3380CC4-5D6E-409C-BE32-E72D297353CC}">
                <c16:uniqueId val="{000001AF-7884-4764-9EFF-E2B7EF88C65A}"/>
              </c:ext>
            </c:extLst>
          </c:dPt>
          <c:dPt>
            <c:idx val="215"/>
            <c:invertIfNegative val="1"/>
            <c:bubble3D val="0"/>
            <c:spPr>
              <a:solidFill>
                <a:srgbClr val="AEABAB"/>
              </a:solidFill>
            </c:spPr>
            <c:extLst>
              <c:ext xmlns:c16="http://schemas.microsoft.com/office/drawing/2014/chart" uri="{C3380CC4-5D6E-409C-BE32-E72D297353CC}">
                <c16:uniqueId val="{000001B1-7884-4764-9EFF-E2B7EF88C65A}"/>
              </c:ext>
            </c:extLst>
          </c:dPt>
          <c:dPt>
            <c:idx val="216"/>
            <c:invertIfNegative val="1"/>
            <c:bubble3D val="0"/>
            <c:spPr>
              <a:solidFill>
                <a:srgbClr val="AEABAB"/>
              </a:solidFill>
            </c:spPr>
            <c:extLst>
              <c:ext xmlns:c16="http://schemas.microsoft.com/office/drawing/2014/chart" uri="{C3380CC4-5D6E-409C-BE32-E72D297353CC}">
                <c16:uniqueId val="{000001B3-7884-4764-9EFF-E2B7EF88C65A}"/>
              </c:ext>
            </c:extLst>
          </c:dPt>
          <c:dPt>
            <c:idx val="217"/>
            <c:invertIfNegative val="1"/>
            <c:bubble3D val="0"/>
            <c:spPr>
              <a:solidFill>
                <a:srgbClr val="AEABAB"/>
              </a:solidFill>
            </c:spPr>
            <c:extLst>
              <c:ext xmlns:c16="http://schemas.microsoft.com/office/drawing/2014/chart" uri="{C3380CC4-5D6E-409C-BE32-E72D297353CC}">
                <c16:uniqueId val="{000001B5-7884-4764-9EFF-E2B7EF88C65A}"/>
              </c:ext>
            </c:extLst>
          </c:dPt>
          <c:dPt>
            <c:idx val="218"/>
            <c:invertIfNegative val="1"/>
            <c:bubble3D val="0"/>
            <c:spPr>
              <a:solidFill>
                <a:srgbClr val="AEABAB"/>
              </a:solidFill>
            </c:spPr>
            <c:extLst>
              <c:ext xmlns:c16="http://schemas.microsoft.com/office/drawing/2014/chart" uri="{C3380CC4-5D6E-409C-BE32-E72D297353CC}">
                <c16:uniqueId val="{000001B7-7884-4764-9EFF-E2B7EF88C65A}"/>
              </c:ext>
            </c:extLst>
          </c:dPt>
          <c:dPt>
            <c:idx val="219"/>
            <c:invertIfNegative val="1"/>
            <c:bubble3D val="0"/>
            <c:spPr>
              <a:solidFill>
                <a:srgbClr val="AEABAB"/>
              </a:solidFill>
            </c:spPr>
            <c:extLst>
              <c:ext xmlns:c16="http://schemas.microsoft.com/office/drawing/2014/chart" uri="{C3380CC4-5D6E-409C-BE32-E72D297353CC}">
                <c16:uniqueId val="{000001B9-7884-4764-9EFF-E2B7EF88C65A}"/>
              </c:ext>
            </c:extLst>
          </c:dPt>
          <c:dPt>
            <c:idx val="220"/>
            <c:invertIfNegative val="1"/>
            <c:bubble3D val="0"/>
            <c:spPr>
              <a:solidFill>
                <a:srgbClr val="AEABAB"/>
              </a:solidFill>
            </c:spPr>
            <c:extLst>
              <c:ext xmlns:c16="http://schemas.microsoft.com/office/drawing/2014/chart" uri="{C3380CC4-5D6E-409C-BE32-E72D297353CC}">
                <c16:uniqueId val="{000001BB-7884-4764-9EFF-E2B7EF88C65A}"/>
              </c:ext>
            </c:extLst>
          </c:dPt>
          <c:dPt>
            <c:idx val="221"/>
            <c:invertIfNegative val="1"/>
            <c:bubble3D val="0"/>
            <c:spPr>
              <a:solidFill>
                <a:srgbClr val="AEABAB"/>
              </a:solidFill>
            </c:spPr>
            <c:extLst>
              <c:ext xmlns:c16="http://schemas.microsoft.com/office/drawing/2014/chart" uri="{C3380CC4-5D6E-409C-BE32-E72D297353CC}">
                <c16:uniqueId val="{000001BD-7884-4764-9EFF-E2B7EF88C65A}"/>
              </c:ext>
            </c:extLst>
          </c:dPt>
          <c:dPt>
            <c:idx val="222"/>
            <c:invertIfNegative val="1"/>
            <c:bubble3D val="0"/>
            <c:spPr>
              <a:solidFill>
                <a:srgbClr val="AEABAB"/>
              </a:solidFill>
            </c:spPr>
            <c:extLst>
              <c:ext xmlns:c16="http://schemas.microsoft.com/office/drawing/2014/chart" uri="{C3380CC4-5D6E-409C-BE32-E72D297353CC}">
                <c16:uniqueId val="{000001BF-7884-4764-9EFF-E2B7EF88C65A}"/>
              </c:ext>
            </c:extLst>
          </c:dPt>
          <c:dPt>
            <c:idx val="223"/>
            <c:invertIfNegative val="1"/>
            <c:bubble3D val="0"/>
            <c:spPr>
              <a:solidFill>
                <a:srgbClr val="AEABAB"/>
              </a:solidFill>
            </c:spPr>
            <c:extLst>
              <c:ext xmlns:c16="http://schemas.microsoft.com/office/drawing/2014/chart" uri="{C3380CC4-5D6E-409C-BE32-E72D297353CC}">
                <c16:uniqueId val="{000001C1-7884-4764-9EFF-E2B7EF88C65A}"/>
              </c:ext>
            </c:extLst>
          </c:dPt>
          <c:dPt>
            <c:idx val="224"/>
            <c:invertIfNegative val="1"/>
            <c:bubble3D val="0"/>
            <c:spPr>
              <a:solidFill>
                <a:srgbClr val="AEABAB"/>
              </a:solidFill>
            </c:spPr>
            <c:extLst>
              <c:ext xmlns:c16="http://schemas.microsoft.com/office/drawing/2014/chart" uri="{C3380CC4-5D6E-409C-BE32-E72D297353CC}">
                <c16:uniqueId val="{000001C3-7884-4764-9EFF-E2B7EF88C65A}"/>
              </c:ext>
            </c:extLst>
          </c:dPt>
          <c:dPt>
            <c:idx val="225"/>
            <c:invertIfNegative val="1"/>
            <c:bubble3D val="0"/>
            <c:spPr>
              <a:solidFill>
                <a:srgbClr val="AEABAB"/>
              </a:solidFill>
            </c:spPr>
            <c:extLst>
              <c:ext xmlns:c16="http://schemas.microsoft.com/office/drawing/2014/chart" uri="{C3380CC4-5D6E-409C-BE32-E72D297353CC}">
                <c16:uniqueId val="{000001C5-7884-4764-9EFF-E2B7EF88C65A}"/>
              </c:ext>
            </c:extLst>
          </c:dPt>
          <c:dPt>
            <c:idx val="226"/>
            <c:invertIfNegative val="1"/>
            <c:bubble3D val="0"/>
            <c:spPr>
              <a:solidFill>
                <a:srgbClr val="AEABAB"/>
              </a:solidFill>
            </c:spPr>
            <c:extLst>
              <c:ext xmlns:c16="http://schemas.microsoft.com/office/drawing/2014/chart" uri="{C3380CC4-5D6E-409C-BE32-E72D297353CC}">
                <c16:uniqueId val="{000001C7-7884-4764-9EFF-E2B7EF88C65A}"/>
              </c:ext>
            </c:extLst>
          </c:dPt>
          <c:dPt>
            <c:idx val="227"/>
            <c:invertIfNegative val="1"/>
            <c:bubble3D val="0"/>
            <c:spPr>
              <a:solidFill>
                <a:srgbClr val="AEABAB"/>
              </a:solidFill>
            </c:spPr>
            <c:extLst>
              <c:ext xmlns:c16="http://schemas.microsoft.com/office/drawing/2014/chart" uri="{C3380CC4-5D6E-409C-BE32-E72D297353CC}">
                <c16:uniqueId val="{000001C9-7884-4764-9EFF-E2B7EF88C65A}"/>
              </c:ext>
            </c:extLst>
          </c:dPt>
          <c:dPt>
            <c:idx val="228"/>
            <c:invertIfNegative val="1"/>
            <c:bubble3D val="0"/>
            <c:spPr>
              <a:solidFill>
                <a:srgbClr val="AEABAB"/>
              </a:solidFill>
            </c:spPr>
            <c:extLst>
              <c:ext xmlns:c16="http://schemas.microsoft.com/office/drawing/2014/chart" uri="{C3380CC4-5D6E-409C-BE32-E72D297353CC}">
                <c16:uniqueId val="{000001CB-7884-4764-9EFF-E2B7EF88C65A}"/>
              </c:ext>
            </c:extLst>
          </c:dPt>
          <c:dPt>
            <c:idx val="229"/>
            <c:invertIfNegative val="1"/>
            <c:bubble3D val="0"/>
            <c:spPr>
              <a:solidFill>
                <a:srgbClr val="AEABAB"/>
              </a:solidFill>
            </c:spPr>
            <c:extLst>
              <c:ext xmlns:c16="http://schemas.microsoft.com/office/drawing/2014/chart" uri="{C3380CC4-5D6E-409C-BE32-E72D297353CC}">
                <c16:uniqueId val="{000001CD-7884-4764-9EFF-E2B7EF88C65A}"/>
              </c:ext>
            </c:extLst>
          </c:dPt>
          <c:dPt>
            <c:idx val="230"/>
            <c:invertIfNegative val="1"/>
            <c:bubble3D val="0"/>
            <c:spPr>
              <a:solidFill>
                <a:srgbClr val="AEABAB"/>
              </a:solidFill>
            </c:spPr>
            <c:extLst>
              <c:ext xmlns:c16="http://schemas.microsoft.com/office/drawing/2014/chart" uri="{C3380CC4-5D6E-409C-BE32-E72D297353CC}">
                <c16:uniqueId val="{000001CF-7884-4764-9EFF-E2B7EF88C65A}"/>
              </c:ext>
            </c:extLst>
          </c:dPt>
          <c:dPt>
            <c:idx val="231"/>
            <c:invertIfNegative val="1"/>
            <c:bubble3D val="0"/>
            <c:spPr>
              <a:solidFill>
                <a:srgbClr val="AEABAB"/>
              </a:solidFill>
            </c:spPr>
            <c:extLst>
              <c:ext xmlns:c16="http://schemas.microsoft.com/office/drawing/2014/chart" uri="{C3380CC4-5D6E-409C-BE32-E72D297353CC}">
                <c16:uniqueId val="{000001D1-7884-4764-9EFF-E2B7EF88C65A}"/>
              </c:ext>
            </c:extLst>
          </c:dPt>
          <c:dPt>
            <c:idx val="232"/>
            <c:invertIfNegative val="1"/>
            <c:bubble3D val="0"/>
            <c:spPr>
              <a:solidFill>
                <a:srgbClr val="AEABAB"/>
              </a:solidFill>
            </c:spPr>
            <c:extLst>
              <c:ext xmlns:c16="http://schemas.microsoft.com/office/drawing/2014/chart" uri="{C3380CC4-5D6E-409C-BE32-E72D297353CC}">
                <c16:uniqueId val="{000001D3-7884-4764-9EFF-E2B7EF88C65A}"/>
              </c:ext>
            </c:extLst>
          </c:dPt>
          <c:dPt>
            <c:idx val="233"/>
            <c:invertIfNegative val="1"/>
            <c:bubble3D val="0"/>
            <c:spPr>
              <a:solidFill>
                <a:srgbClr val="AEABAB"/>
              </a:solidFill>
            </c:spPr>
            <c:extLst>
              <c:ext xmlns:c16="http://schemas.microsoft.com/office/drawing/2014/chart" uri="{C3380CC4-5D6E-409C-BE32-E72D297353CC}">
                <c16:uniqueId val="{000001D5-7884-4764-9EFF-E2B7EF88C65A}"/>
              </c:ext>
            </c:extLst>
          </c:dPt>
          <c:dPt>
            <c:idx val="234"/>
            <c:invertIfNegative val="1"/>
            <c:bubble3D val="0"/>
            <c:spPr>
              <a:solidFill>
                <a:srgbClr val="AEABAB"/>
              </a:solidFill>
            </c:spPr>
            <c:extLst>
              <c:ext xmlns:c16="http://schemas.microsoft.com/office/drawing/2014/chart" uri="{C3380CC4-5D6E-409C-BE32-E72D297353CC}">
                <c16:uniqueId val="{000001D7-7884-4764-9EFF-E2B7EF88C65A}"/>
              </c:ext>
            </c:extLst>
          </c:dPt>
          <c:cat>
            <c:strRef>
              <c:f>Sheet1!$A$2:$A$236</c:f>
              <c:strCache>
                <c:ptCount val="235"/>
                <c:pt idx="0">
                  <c:v>Ruinart</c:v>
                </c:pt>
                <c:pt idx="1">
                  <c:v>Heidsieck &amp;</c:v>
                </c:pt>
                <c:pt idx="2">
                  <c:v>Nicolas</c:v>
                </c:pt>
                <c:pt idx="3">
                  <c:v>Deutz</c:v>
                </c:pt>
                <c:pt idx="4">
                  <c:v>Ruinart</c:v>
                </c:pt>
                <c:pt idx="5">
                  <c:v>De Bligny</c:v>
                </c:pt>
                <c:pt idx="6">
                  <c:v>Malard</c:v>
                </c:pt>
                <c:pt idx="7">
                  <c:v>Besserat De</c:v>
                </c:pt>
                <c:pt idx="8">
                  <c:v>Canard Duch</c:v>
                </c:pt>
                <c:pt idx="9">
                  <c:v>Ayala</c:v>
                </c:pt>
                <c:pt idx="10">
                  <c:v>Bouvet-Ladu</c:v>
                </c:pt>
                <c:pt idx="11">
                  <c:v>Laurent Per</c:v>
                </c:pt>
                <c:pt idx="12">
                  <c:v>All Others</c:v>
                </c:pt>
                <c:pt idx="13">
                  <c:v>Ruinart</c:v>
                </c:pt>
                <c:pt idx="14">
                  <c:v>Vesselle</c:v>
                </c:pt>
                <c:pt idx="15">
                  <c:v>Taittinger</c:v>
                </c:pt>
                <c:pt idx="16">
                  <c:v>Nicolas Feu</c:v>
                </c:pt>
                <c:pt idx="17">
                  <c:v>All Others</c:v>
                </c:pt>
                <c:pt idx="18">
                  <c:v>Bollinger</c:v>
                </c:pt>
                <c:pt idx="19">
                  <c:v>Roederer</c:v>
                </c:pt>
                <c:pt idx="20">
                  <c:v>Demoiselle</c:v>
                </c:pt>
                <c:pt idx="21">
                  <c:v>Ruinart</c:v>
                </c:pt>
                <c:pt idx="22">
                  <c:v>Deutz</c:v>
                </c:pt>
                <c:pt idx="23">
                  <c:v>Ruinart</c:v>
                </c:pt>
                <c:pt idx="24">
                  <c:v>All Others</c:v>
                </c:pt>
                <c:pt idx="25">
                  <c:v>Malard</c:v>
                </c:pt>
                <c:pt idx="26">
                  <c:v>Perrier Jou</c:v>
                </c:pt>
                <c:pt idx="27">
                  <c:v>Besserat De</c:v>
                </c:pt>
                <c:pt idx="28">
                  <c:v>All Others</c:v>
                </c:pt>
                <c:pt idx="29">
                  <c:v>Pommery</c:v>
                </c:pt>
                <c:pt idx="30">
                  <c:v>Laurent Per</c:v>
                </c:pt>
                <c:pt idx="31">
                  <c:v>Lanson</c:v>
                </c:pt>
                <c:pt idx="32">
                  <c:v>Campari: Al</c:v>
                </c:pt>
                <c:pt idx="33">
                  <c:v>Ruinart</c:v>
                </c:pt>
                <c:pt idx="34">
                  <c:v>Ruinart</c:v>
                </c:pt>
                <c:pt idx="35">
                  <c:v>Besserat De</c:v>
                </c:pt>
                <c:pt idx="36">
                  <c:v>Deutz</c:v>
                </c:pt>
                <c:pt idx="37">
                  <c:v>De Venoge</c:v>
                </c:pt>
                <c:pt idx="38">
                  <c:v>Moët &amp; Chan</c:v>
                </c:pt>
                <c:pt idx="39">
                  <c:v>Taittinger</c:v>
                </c:pt>
                <c:pt idx="40">
                  <c:v>Veuve Clicq</c:v>
                </c:pt>
                <c:pt idx="41">
                  <c:v>Roederer</c:v>
                </c:pt>
                <c:pt idx="42">
                  <c:v>Savian</c:v>
                </c:pt>
                <c:pt idx="43">
                  <c:v>Nicolas</c:v>
                </c:pt>
                <c:pt idx="44">
                  <c:v>All Others</c:v>
                </c:pt>
                <c:pt idx="45">
                  <c:v>Roederer</c:v>
                </c:pt>
                <c:pt idx="46">
                  <c:v>Roederer</c:v>
                </c:pt>
                <c:pt idx="47">
                  <c:v>De Chanceny</c:v>
                </c:pt>
                <c:pt idx="48">
                  <c:v>Mure</c:v>
                </c:pt>
                <c:pt idx="49">
                  <c:v>Patriarche</c:v>
                </c:pt>
                <c:pt idx="50">
                  <c:v>De Venoge</c:v>
                </c:pt>
                <c:pt idx="51">
                  <c:v>Bottega</c:v>
                </c:pt>
                <c:pt idx="52">
                  <c:v>Lyre's</c:v>
                </c:pt>
                <c:pt idx="53">
                  <c:v>Henriot</c:v>
                </c:pt>
                <c:pt idx="54">
                  <c:v>Bollinger</c:v>
                </c:pt>
                <c:pt idx="55">
                  <c:v>Dom Perigno</c:v>
                </c:pt>
                <c:pt idx="56">
                  <c:v>Ruinart</c:v>
                </c:pt>
                <c:pt idx="57">
                  <c:v>All Others</c:v>
                </c:pt>
                <c:pt idx="58">
                  <c:v>De Chanceny</c:v>
                </c:pt>
                <c:pt idx="59">
                  <c:v>Nicolas</c:v>
                </c:pt>
                <c:pt idx="60">
                  <c:v>Laurent Per</c:v>
                </c:pt>
                <c:pt idx="61">
                  <c:v>Veuve Clicq</c:v>
                </c:pt>
                <c:pt idx="62">
                  <c:v>All Others</c:v>
                </c:pt>
                <c:pt idx="63">
                  <c:v>Roederer</c:v>
                </c:pt>
                <c:pt idx="64">
                  <c:v>All Others</c:v>
                </c:pt>
                <c:pt idx="65">
                  <c:v>De Bligny</c:v>
                </c:pt>
                <c:pt idx="66">
                  <c:v>Chateau Mon</c:v>
                </c:pt>
                <c:pt idx="67">
                  <c:v>Dom Perigno</c:v>
                </c:pt>
                <c:pt idx="68">
                  <c:v>Henriot</c:v>
                </c:pt>
                <c:pt idx="69">
                  <c:v>Malard</c:v>
                </c:pt>
                <c:pt idx="70">
                  <c:v>Nicolas Feu</c:v>
                </c:pt>
                <c:pt idx="71">
                  <c:v>Malard</c:v>
                </c:pt>
                <c:pt idx="72">
                  <c:v>Laurent Per</c:v>
                </c:pt>
                <c:pt idx="73">
                  <c:v>Canard Duch</c:v>
                </c:pt>
                <c:pt idx="74">
                  <c:v>Nicolas</c:v>
                </c:pt>
                <c:pt idx="75">
                  <c:v>Savian</c:v>
                </c:pt>
                <c:pt idx="76">
                  <c:v>Krug</c:v>
                </c:pt>
                <c:pt idx="77">
                  <c:v>Demoiselle</c:v>
                </c:pt>
                <c:pt idx="78">
                  <c:v>Kriter</c:v>
                </c:pt>
                <c:pt idx="79">
                  <c:v>Veuve Clicq</c:v>
                </c:pt>
                <c:pt idx="80">
                  <c:v>Ruinart</c:v>
                </c:pt>
                <c:pt idx="81">
                  <c:v>Ruinart</c:v>
                </c:pt>
                <c:pt idx="82">
                  <c:v>Nicolas Feu</c:v>
                </c:pt>
                <c:pt idx="83">
                  <c:v>Malard</c:v>
                </c:pt>
                <c:pt idx="84">
                  <c:v>Henriot</c:v>
                </c:pt>
                <c:pt idx="85">
                  <c:v>Deutz</c:v>
                </c:pt>
                <c:pt idx="86">
                  <c:v>Pommery</c:v>
                </c:pt>
                <c:pt idx="87">
                  <c:v>Nicolas Feu</c:v>
                </c:pt>
                <c:pt idx="88">
                  <c:v>Piper Heids</c:v>
                </c:pt>
                <c:pt idx="89">
                  <c:v>Canard Duch</c:v>
                </c:pt>
                <c:pt idx="90">
                  <c:v>Bouvet-Ladu</c:v>
                </c:pt>
                <c:pt idx="91">
                  <c:v>Delamotte</c:v>
                </c:pt>
                <c:pt idx="92">
                  <c:v>Bottega</c:v>
                </c:pt>
                <c:pt idx="93">
                  <c:v>All Others</c:v>
                </c:pt>
                <c:pt idx="94">
                  <c:v>Canard Duch</c:v>
                </c:pt>
                <c:pt idx="95">
                  <c:v>Veuve Clicq</c:v>
                </c:pt>
                <c:pt idx="96">
                  <c:v>All Others</c:v>
                </c:pt>
                <c:pt idx="97">
                  <c:v>All Others</c:v>
                </c:pt>
                <c:pt idx="98">
                  <c:v>Malard</c:v>
                </c:pt>
                <c:pt idx="99">
                  <c:v>All Others</c:v>
                </c:pt>
                <c:pt idx="100">
                  <c:v>Roederer</c:v>
                </c:pt>
                <c:pt idx="101">
                  <c:v>Louis Marti</c:v>
                </c:pt>
                <c:pt idx="102">
                  <c:v>Campari: Al</c:v>
                </c:pt>
                <c:pt idx="103">
                  <c:v>De Venoge</c:v>
                </c:pt>
                <c:pt idx="104">
                  <c:v>Nicolas</c:v>
                </c:pt>
                <c:pt idx="105">
                  <c:v>All Others</c:v>
                </c:pt>
                <c:pt idx="106">
                  <c:v>Henriot</c:v>
                </c:pt>
                <c:pt idx="107">
                  <c:v>Patriarche</c:v>
                </c:pt>
                <c:pt idx="108">
                  <c:v>Ruinart</c:v>
                </c:pt>
                <c:pt idx="109">
                  <c:v>Dom Perigno</c:v>
                </c:pt>
                <c:pt idx="110">
                  <c:v>Vranken</c:v>
                </c:pt>
                <c:pt idx="111">
                  <c:v>Deutz</c:v>
                </c:pt>
                <c:pt idx="112">
                  <c:v>Nicolas</c:v>
                </c:pt>
                <c:pt idx="113">
                  <c:v>Nicolas</c:v>
                </c:pt>
                <c:pt idx="114">
                  <c:v>Deutz</c:v>
                </c:pt>
                <c:pt idx="115">
                  <c:v>Contarini</c:v>
                </c:pt>
                <c:pt idx="116">
                  <c:v>All Others</c:v>
                </c:pt>
                <c:pt idx="117">
                  <c:v>Deutz</c:v>
                </c:pt>
                <c:pt idx="118">
                  <c:v>Canard Duch</c:v>
                </c:pt>
                <c:pt idx="119">
                  <c:v>Ayala</c:v>
                </c:pt>
                <c:pt idx="120">
                  <c:v>Roederer</c:v>
                </c:pt>
                <c:pt idx="121">
                  <c:v>Ruinart</c:v>
                </c:pt>
                <c:pt idx="122">
                  <c:v>Ruinart</c:v>
                </c:pt>
                <c:pt idx="123">
                  <c:v>All Others</c:v>
                </c:pt>
                <c:pt idx="124">
                  <c:v>Ayala</c:v>
                </c:pt>
                <c:pt idx="125">
                  <c:v>Nicolas</c:v>
                </c:pt>
                <c:pt idx="126">
                  <c:v>Roederer</c:v>
                </c:pt>
                <c:pt idx="127">
                  <c:v>All Others</c:v>
                </c:pt>
                <c:pt idx="128">
                  <c:v>All Others</c:v>
                </c:pt>
                <c:pt idx="129">
                  <c:v>All Others</c:v>
                </c:pt>
                <c:pt idx="130">
                  <c:v>Bouvet-Ladu</c:v>
                </c:pt>
                <c:pt idx="131">
                  <c:v>All Others</c:v>
                </c:pt>
                <c:pt idx="132">
                  <c:v>Roederer</c:v>
                </c:pt>
                <c:pt idx="133">
                  <c:v>Cru La Maqu</c:v>
                </c:pt>
                <c:pt idx="134">
                  <c:v>Roederer</c:v>
                </c:pt>
                <c:pt idx="135">
                  <c:v>Ruinart</c:v>
                </c:pt>
                <c:pt idx="136">
                  <c:v>Nicolas</c:v>
                </c:pt>
                <c:pt idx="137">
                  <c:v>Laurent Per</c:v>
                </c:pt>
                <c:pt idx="138">
                  <c:v>All Others</c:v>
                </c:pt>
                <c:pt idx="139">
                  <c:v>Moët &amp; Chan</c:v>
                </c:pt>
                <c:pt idx="140">
                  <c:v>Demoiselle</c:v>
                </c:pt>
                <c:pt idx="141">
                  <c:v>Louis Marti</c:v>
                </c:pt>
                <c:pt idx="142">
                  <c:v>Nicolas</c:v>
                </c:pt>
                <c:pt idx="143">
                  <c:v>Besserat De</c:v>
                </c:pt>
                <c:pt idx="144">
                  <c:v>Nicolas</c:v>
                </c:pt>
                <c:pt idx="145">
                  <c:v>All Others</c:v>
                </c:pt>
                <c:pt idx="146">
                  <c:v>Piper Heids</c:v>
                </c:pt>
                <c:pt idx="147">
                  <c:v>Moët &amp; Chan</c:v>
                </c:pt>
                <c:pt idx="148">
                  <c:v>All Others</c:v>
                </c:pt>
                <c:pt idx="149">
                  <c:v>Roederer</c:v>
                </c:pt>
                <c:pt idx="150">
                  <c:v>All Others</c:v>
                </c:pt>
                <c:pt idx="151">
                  <c:v>Nicolas</c:v>
                </c:pt>
                <c:pt idx="152">
                  <c:v>Bollinger</c:v>
                </c:pt>
                <c:pt idx="153">
                  <c:v>Vranken</c:v>
                </c:pt>
                <c:pt idx="154">
                  <c:v>Ruinart</c:v>
                </c:pt>
                <c:pt idx="155">
                  <c:v>Nicolas</c:v>
                </c:pt>
                <c:pt idx="156">
                  <c:v>Piper Heids</c:v>
                </c:pt>
                <c:pt idx="157">
                  <c:v>All Others</c:v>
                </c:pt>
                <c:pt idx="158">
                  <c:v>Pommery</c:v>
                </c:pt>
                <c:pt idx="159">
                  <c:v>Nicolas</c:v>
                </c:pt>
                <c:pt idx="160">
                  <c:v>Demoiselle</c:v>
                </c:pt>
                <c:pt idx="161">
                  <c:v>Roederer</c:v>
                </c:pt>
                <c:pt idx="162">
                  <c:v>Laurent Per</c:v>
                </c:pt>
                <c:pt idx="163">
                  <c:v>Pommery</c:v>
                </c:pt>
                <c:pt idx="164">
                  <c:v>Roederer</c:v>
                </c:pt>
                <c:pt idx="165">
                  <c:v>Ruinart</c:v>
                </c:pt>
                <c:pt idx="166">
                  <c:v>All Others</c:v>
                </c:pt>
                <c:pt idx="167">
                  <c:v>Dom Perigno</c:v>
                </c:pt>
                <c:pt idx="168">
                  <c:v>De Venoge</c:v>
                </c:pt>
                <c:pt idx="169">
                  <c:v>Bouvet-Ladu</c:v>
                </c:pt>
                <c:pt idx="170">
                  <c:v>Canard Duch</c:v>
                </c:pt>
                <c:pt idx="171">
                  <c:v>Nicolas</c:v>
                </c:pt>
                <c:pt idx="172">
                  <c:v>Piper Heids</c:v>
                </c:pt>
                <c:pt idx="173">
                  <c:v>Nicolas Feu</c:v>
                </c:pt>
                <c:pt idx="174">
                  <c:v>All Others</c:v>
                </c:pt>
                <c:pt idx="175">
                  <c:v>Pommery</c:v>
                </c:pt>
                <c:pt idx="176">
                  <c:v>All Others</c:v>
                </c:pt>
                <c:pt idx="177">
                  <c:v>Bollinger</c:v>
                </c:pt>
                <c:pt idx="178">
                  <c:v>Besserat De</c:v>
                </c:pt>
                <c:pt idx="179">
                  <c:v>All Others</c:v>
                </c:pt>
                <c:pt idx="180">
                  <c:v>All Others</c:v>
                </c:pt>
                <c:pt idx="181">
                  <c:v>Moët &amp; Chan</c:v>
                </c:pt>
                <c:pt idx="182">
                  <c:v>Pommery</c:v>
                </c:pt>
                <c:pt idx="183">
                  <c:v>Vesselle</c:v>
                </c:pt>
                <c:pt idx="184">
                  <c:v>All Others</c:v>
                </c:pt>
                <c:pt idx="185">
                  <c:v>Roederer</c:v>
                </c:pt>
                <c:pt idx="186">
                  <c:v>Laurent Per</c:v>
                </c:pt>
                <c:pt idx="187">
                  <c:v>Ruinart</c:v>
                </c:pt>
                <c:pt idx="188">
                  <c:v>Contarini</c:v>
                </c:pt>
                <c:pt idx="189">
                  <c:v>Nicolas</c:v>
                </c:pt>
                <c:pt idx="190">
                  <c:v>Nicolas</c:v>
                </c:pt>
                <c:pt idx="191">
                  <c:v>Taittinger</c:v>
                </c:pt>
                <c:pt idx="192">
                  <c:v>Pommery</c:v>
                </c:pt>
                <c:pt idx="193">
                  <c:v>All Others</c:v>
                </c:pt>
                <c:pt idx="194">
                  <c:v>Lanson</c:v>
                </c:pt>
                <c:pt idx="195">
                  <c:v>Celene</c:v>
                </c:pt>
                <c:pt idx="196">
                  <c:v>Bollinger</c:v>
                </c:pt>
                <c:pt idx="197">
                  <c:v>All Others</c:v>
                </c:pt>
                <c:pt idx="198">
                  <c:v>Roederer</c:v>
                </c:pt>
                <c:pt idx="199">
                  <c:v>All Others</c:v>
                </c:pt>
                <c:pt idx="200">
                  <c:v>All Others</c:v>
                </c:pt>
                <c:pt idx="201">
                  <c:v>Delamotte</c:v>
                </c:pt>
                <c:pt idx="202">
                  <c:v>Martel</c:v>
                </c:pt>
                <c:pt idx="203">
                  <c:v>Bollinger</c:v>
                </c:pt>
                <c:pt idx="204">
                  <c:v>Vranken</c:v>
                </c:pt>
                <c:pt idx="205">
                  <c:v>Henriot</c:v>
                </c:pt>
                <c:pt idx="206">
                  <c:v>Ruinart</c:v>
                </c:pt>
                <c:pt idx="207">
                  <c:v>Bouvet-Ladu</c:v>
                </c:pt>
                <c:pt idx="208">
                  <c:v>Perrier Jou</c:v>
                </c:pt>
                <c:pt idx="209">
                  <c:v>Celene</c:v>
                </c:pt>
                <c:pt idx="210">
                  <c:v>Piper Heids</c:v>
                </c:pt>
                <c:pt idx="211">
                  <c:v>De Venoge</c:v>
                </c:pt>
                <c:pt idx="212">
                  <c:v>Nicolas</c:v>
                </c:pt>
                <c:pt idx="213">
                  <c:v>De Bligny</c:v>
                </c:pt>
                <c:pt idx="214">
                  <c:v>Jaillance</c:v>
                </c:pt>
                <c:pt idx="215">
                  <c:v>Laurent Per</c:v>
                </c:pt>
                <c:pt idx="216">
                  <c:v>Henriot</c:v>
                </c:pt>
                <c:pt idx="217">
                  <c:v>Nicolas Feu</c:v>
                </c:pt>
                <c:pt idx="218">
                  <c:v>Canard Duch</c:v>
                </c:pt>
                <c:pt idx="219">
                  <c:v>Laurent Per</c:v>
                </c:pt>
                <c:pt idx="220">
                  <c:v>Moët &amp; Chan</c:v>
                </c:pt>
                <c:pt idx="221">
                  <c:v>Vesselle</c:v>
                </c:pt>
                <c:pt idx="222">
                  <c:v>Nicolas</c:v>
                </c:pt>
                <c:pt idx="223">
                  <c:v>Vranken</c:v>
                </c:pt>
                <c:pt idx="224">
                  <c:v>All Others</c:v>
                </c:pt>
                <c:pt idx="225">
                  <c:v>Roederer</c:v>
                </c:pt>
                <c:pt idx="226">
                  <c:v>Besserat De</c:v>
                </c:pt>
                <c:pt idx="227">
                  <c:v>All Others</c:v>
                </c:pt>
                <c:pt idx="228">
                  <c:v>All Others</c:v>
                </c:pt>
                <c:pt idx="229">
                  <c:v>Bottega</c:v>
                </c:pt>
                <c:pt idx="230">
                  <c:v>Besserat De</c:v>
                </c:pt>
                <c:pt idx="231">
                  <c:v>All Others</c:v>
                </c:pt>
                <c:pt idx="232">
                  <c:v>Vranken</c:v>
                </c:pt>
                <c:pt idx="233">
                  <c:v>Nicolas</c:v>
                </c:pt>
                <c:pt idx="234">
                  <c:v>All Others</c:v>
                </c:pt>
              </c:strCache>
            </c:strRef>
          </c:cat>
          <c:val>
            <c:numRef>
              <c:f>Sheet1!$C$2:$C$236</c:f>
              <c:numCache>
                <c:formatCode>General</c:formatCode>
                <c:ptCount val="235"/>
                <c:pt idx="0">
                  <c:v>7.9783025049140671E-2</c:v>
                </c:pt>
                <c:pt idx="1">
                  <c:v>0.1323950405725518</c:v>
                </c:pt>
                <c:pt idx="2">
                  <c:v>0.1817625119701628</c:v>
                </c:pt>
                <c:pt idx="3">
                  <c:v>0.22513608185071318</c:v>
                </c:pt>
                <c:pt idx="4">
                  <c:v>0.26102514994203924</c:v>
                </c:pt>
                <c:pt idx="5">
                  <c:v>0.29671639534297667</c:v>
                </c:pt>
                <c:pt idx="6">
                  <c:v>0.3282584043142987</c:v>
                </c:pt>
                <c:pt idx="7">
                  <c:v>0.35626102514994207</c:v>
                </c:pt>
                <c:pt idx="8">
                  <c:v>0.38176881205584401</c:v>
                </c:pt>
                <c:pt idx="9">
                  <c:v>0.40660878987954241</c:v>
                </c:pt>
                <c:pt idx="10">
                  <c:v>0.43045713421702542</c:v>
                </c:pt>
                <c:pt idx="11">
                  <c:v>0.44964215513330985</c:v>
                </c:pt>
                <c:pt idx="12">
                  <c:v>0.46841137039463743</c:v>
                </c:pt>
                <c:pt idx="13">
                  <c:v>0.48608563076457845</c:v>
                </c:pt>
                <c:pt idx="14">
                  <c:v>0.50318784335466971</c:v>
                </c:pt>
                <c:pt idx="15">
                  <c:v>0.51975580867899807</c:v>
                </c:pt>
                <c:pt idx="16">
                  <c:v>0.53431530668817095</c:v>
                </c:pt>
                <c:pt idx="17">
                  <c:v>0.54843757875107102</c:v>
                </c:pt>
                <c:pt idx="18">
                  <c:v>0.56222342623859689</c:v>
                </c:pt>
                <c:pt idx="19">
                  <c:v>0.5749722796230029</c:v>
                </c:pt>
                <c:pt idx="20">
                  <c:v>0.58758505115669579</c:v>
                </c:pt>
                <c:pt idx="21">
                  <c:v>0.59980469734388397</c:v>
                </c:pt>
                <c:pt idx="22">
                  <c:v>0.61188196159467778</c:v>
                </c:pt>
                <c:pt idx="23">
                  <c:v>0.62328259664331442</c:v>
                </c:pt>
                <c:pt idx="24">
                  <c:v>0.63356181644070364</c:v>
                </c:pt>
                <c:pt idx="25">
                  <c:v>0.64252557834786561</c:v>
                </c:pt>
                <c:pt idx="26">
                  <c:v>0.65098533340053433</c:v>
                </c:pt>
                <c:pt idx="27">
                  <c:v>0.65860717705760807</c:v>
                </c:pt>
                <c:pt idx="28">
                  <c:v>0.66591149639635105</c:v>
                </c:pt>
                <c:pt idx="29">
                  <c:v>0.67301421299329678</c:v>
                </c:pt>
                <c:pt idx="30">
                  <c:v>0.67984854594022481</c:v>
                </c:pt>
                <c:pt idx="31">
                  <c:v>0.68657829746484555</c:v>
                </c:pt>
                <c:pt idx="32">
                  <c:v>0.69326520840683437</c:v>
                </c:pt>
                <c:pt idx="33">
                  <c:v>0.69988533844060286</c:v>
                </c:pt>
                <c:pt idx="34">
                  <c:v>0.70632150597248133</c:v>
                </c:pt>
                <c:pt idx="35">
                  <c:v>0.71227634695831876</c:v>
                </c:pt>
                <c:pt idx="36">
                  <c:v>0.71817448717302568</c:v>
                </c:pt>
                <c:pt idx="37">
                  <c:v>0.72400458646237598</c:v>
                </c:pt>
                <c:pt idx="38">
                  <c:v>0.72968726374678705</c:v>
                </c:pt>
                <c:pt idx="39">
                  <c:v>0.73529686003729655</c:v>
                </c:pt>
                <c:pt idx="40">
                  <c:v>0.74075903432286683</c:v>
                </c:pt>
                <c:pt idx="41">
                  <c:v>0.74601960586663985</c:v>
                </c:pt>
                <c:pt idx="42">
                  <c:v>0.7512751373418679</c:v>
                </c:pt>
                <c:pt idx="43">
                  <c:v>0.75644120760042344</c:v>
                </c:pt>
                <c:pt idx="44">
                  <c:v>0.76160223779043401</c:v>
                </c:pt>
                <c:pt idx="45">
                  <c:v>0.76664104631822994</c:v>
                </c:pt>
                <c:pt idx="46">
                  <c:v>0.77152865278967797</c:v>
                </c:pt>
                <c:pt idx="47">
                  <c:v>0.77619071619374025</c:v>
                </c:pt>
                <c:pt idx="48">
                  <c:v>0.78078851872385469</c:v>
                </c:pt>
                <c:pt idx="49">
                  <c:v>0.78524897938611971</c:v>
                </c:pt>
                <c:pt idx="50">
                  <c:v>0.78962753893452953</c:v>
                </c:pt>
                <c:pt idx="51">
                  <c:v>0.79399853838012202</c:v>
                </c:pt>
                <c:pt idx="52">
                  <c:v>0.7983241772088101</c:v>
                </c:pt>
                <c:pt idx="53">
                  <c:v>0.80257547502646043</c:v>
                </c:pt>
                <c:pt idx="54">
                  <c:v>0.80669447104480629</c:v>
                </c:pt>
                <c:pt idx="55">
                  <c:v>0.81077440653192889</c:v>
                </c:pt>
                <c:pt idx="56">
                  <c:v>0.81480898140214708</c:v>
                </c:pt>
                <c:pt idx="57">
                  <c:v>0.8188183559296407</c:v>
                </c:pt>
                <c:pt idx="58">
                  <c:v>0.82278992994304723</c:v>
                </c:pt>
                <c:pt idx="59">
                  <c:v>0.82653848092334059</c:v>
                </c:pt>
                <c:pt idx="60">
                  <c:v>0.83026309157804545</c:v>
                </c:pt>
                <c:pt idx="61">
                  <c:v>0.83396880197570689</c:v>
                </c:pt>
                <c:pt idx="62">
                  <c:v>0.83751197016279422</c:v>
                </c:pt>
                <c:pt idx="63">
                  <c:v>0.84102741797288438</c:v>
                </c:pt>
                <c:pt idx="64">
                  <c:v>0.84442694420644115</c:v>
                </c:pt>
                <c:pt idx="65">
                  <c:v>0.84777732977168485</c:v>
                </c:pt>
                <c:pt idx="66">
                  <c:v>0.85111133511415749</c:v>
                </c:pt>
                <c:pt idx="67">
                  <c:v>0.85443778035381279</c:v>
                </c:pt>
                <c:pt idx="68">
                  <c:v>0.85773020513078979</c:v>
                </c:pt>
                <c:pt idx="69">
                  <c:v>0.86101884985635802</c:v>
                </c:pt>
                <c:pt idx="70">
                  <c:v>0.86420543319389143</c:v>
                </c:pt>
                <c:pt idx="71">
                  <c:v>0.86732775565747688</c:v>
                </c:pt>
                <c:pt idx="72">
                  <c:v>0.87035935688725363</c:v>
                </c:pt>
                <c:pt idx="73">
                  <c:v>0.87338717806562161</c:v>
                </c:pt>
                <c:pt idx="74">
                  <c:v>0.87640365908976359</c:v>
                </c:pt>
                <c:pt idx="75">
                  <c:v>0.87940753994254317</c:v>
                </c:pt>
                <c:pt idx="76">
                  <c:v>0.88234211985282995</c:v>
                </c:pt>
                <c:pt idx="77">
                  <c:v>0.8852691396602993</c:v>
                </c:pt>
                <c:pt idx="78">
                  <c:v>0.88813315861095699</c:v>
                </c:pt>
                <c:pt idx="79">
                  <c:v>0.89098583740738857</c:v>
                </c:pt>
                <c:pt idx="80">
                  <c:v>0.89367849402751864</c:v>
                </c:pt>
                <c:pt idx="81">
                  <c:v>0.89636737059623994</c:v>
                </c:pt>
                <c:pt idx="82">
                  <c:v>0.89898190615392348</c:v>
                </c:pt>
                <c:pt idx="83">
                  <c:v>0.90157124136888245</c:v>
                </c:pt>
                <c:pt idx="84">
                  <c:v>0.90411017589839204</c:v>
                </c:pt>
                <c:pt idx="85">
                  <c:v>0.9066302101708581</c:v>
                </c:pt>
                <c:pt idx="86">
                  <c:v>0.9091338642205532</c:v>
                </c:pt>
                <c:pt idx="87">
                  <c:v>0.91151781664230613</c:v>
                </c:pt>
                <c:pt idx="88">
                  <c:v>0.91385766846429095</c:v>
                </c:pt>
                <c:pt idx="89">
                  <c:v>0.91602993800715671</c:v>
                </c:pt>
                <c:pt idx="90">
                  <c:v>0.91815684693311805</c:v>
                </c:pt>
                <c:pt idx="91">
                  <c:v>0.92024091527644747</c:v>
                </c:pt>
                <c:pt idx="92">
                  <c:v>0.92223048233455951</c:v>
                </c:pt>
                <c:pt idx="93">
                  <c:v>0.92420366916990049</c:v>
                </c:pt>
                <c:pt idx="94">
                  <c:v>0.92602817398316595</c:v>
                </c:pt>
                <c:pt idx="95">
                  <c:v>0.92782495841943424</c:v>
                </c:pt>
                <c:pt idx="96">
                  <c:v>0.92958646237588805</c:v>
                </c:pt>
                <c:pt idx="97">
                  <c:v>0.93130134569830125</c:v>
                </c:pt>
                <c:pt idx="98">
                  <c:v>0.93300236883221588</c:v>
                </c:pt>
                <c:pt idx="99">
                  <c:v>0.93462401088654778</c:v>
                </c:pt>
                <c:pt idx="100">
                  <c:v>0.93624313290660721</c:v>
                </c:pt>
                <c:pt idx="101">
                  <c:v>0.93780681417267242</c:v>
                </c:pt>
                <c:pt idx="102">
                  <c:v>0.93936671538732897</c:v>
                </c:pt>
                <c:pt idx="103">
                  <c:v>0.94085353560808394</c:v>
                </c:pt>
                <c:pt idx="104">
                  <c:v>0.94228617509198087</c:v>
                </c:pt>
                <c:pt idx="105">
                  <c:v>0.94371755455874162</c:v>
                </c:pt>
                <c:pt idx="106">
                  <c:v>0.94514263393982123</c:v>
                </c:pt>
                <c:pt idx="107">
                  <c:v>0.94649967239554422</c:v>
                </c:pt>
                <c:pt idx="108">
                  <c:v>0.94782899047427005</c:v>
                </c:pt>
                <c:pt idx="109">
                  <c:v>0.94908774759336689</c:v>
                </c:pt>
                <c:pt idx="110">
                  <c:v>0.95029358399274189</c:v>
                </c:pt>
                <c:pt idx="111">
                  <c:v>0.95146539992943857</c:v>
                </c:pt>
                <c:pt idx="112">
                  <c:v>0.95258051509500485</c:v>
                </c:pt>
                <c:pt idx="113">
                  <c:v>0.95366412983216531</c:v>
                </c:pt>
                <c:pt idx="114">
                  <c:v>0.95468474371251411</c:v>
                </c:pt>
                <c:pt idx="115">
                  <c:v>0.95569023738722814</c:v>
                </c:pt>
                <c:pt idx="116">
                  <c:v>0.95669321102766969</c:v>
                </c:pt>
                <c:pt idx="117">
                  <c:v>0.95765082405120683</c:v>
                </c:pt>
                <c:pt idx="118">
                  <c:v>0.95858827680056424</c:v>
                </c:pt>
                <c:pt idx="119">
                  <c:v>0.95952446953278536</c:v>
                </c:pt>
                <c:pt idx="120">
                  <c:v>0.96045688221359782</c:v>
                </c:pt>
                <c:pt idx="121">
                  <c:v>0.96137291467163921</c:v>
                </c:pt>
                <c:pt idx="122">
                  <c:v>0.96227508694118202</c:v>
                </c:pt>
                <c:pt idx="123">
                  <c:v>0.96316339902222636</c:v>
                </c:pt>
                <c:pt idx="124">
                  <c:v>0.9640277707776822</c:v>
                </c:pt>
                <c:pt idx="125">
                  <c:v>0.96488710246459319</c:v>
                </c:pt>
                <c:pt idx="126">
                  <c:v>0.96574391411723171</c:v>
                </c:pt>
                <c:pt idx="127">
                  <c:v>0.96660072576987022</c:v>
                </c:pt>
                <c:pt idx="128">
                  <c:v>0.96745123733682747</c:v>
                </c:pt>
                <c:pt idx="129">
                  <c:v>0.96828788871528626</c:v>
                </c:pt>
                <c:pt idx="130">
                  <c:v>0.96912328007660875</c:v>
                </c:pt>
                <c:pt idx="131">
                  <c:v>0.96992591099238923</c:v>
                </c:pt>
                <c:pt idx="132">
                  <c:v>0.97072224182248856</c:v>
                </c:pt>
                <c:pt idx="133">
                  <c:v>0.97150471246408932</c:v>
                </c:pt>
                <c:pt idx="134">
                  <c:v>0.97227710296860015</c:v>
                </c:pt>
                <c:pt idx="135">
                  <c:v>0.97304445340456602</c:v>
                </c:pt>
                <c:pt idx="136">
                  <c:v>0.97379920366916961</c:v>
                </c:pt>
                <c:pt idx="137">
                  <c:v>0.97453505367672977</c:v>
                </c:pt>
                <c:pt idx="138">
                  <c:v>0.97523436318733914</c:v>
                </c:pt>
                <c:pt idx="139">
                  <c:v>0.97593115266367603</c:v>
                </c:pt>
                <c:pt idx="140">
                  <c:v>0.97662038203719548</c:v>
                </c:pt>
                <c:pt idx="141">
                  <c:v>0.9772907111536715</c:v>
                </c:pt>
                <c:pt idx="142">
                  <c:v>0.97795474018446626</c:v>
                </c:pt>
                <c:pt idx="143">
                  <c:v>0.9786112091124437</c:v>
                </c:pt>
                <c:pt idx="144">
                  <c:v>0.97925129781765008</c:v>
                </c:pt>
                <c:pt idx="145">
                  <c:v>0.97989138652285646</c:v>
                </c:pt>
                <c:pt idx="146">
                  <c:v>0.98052139509097302</c:v>
                </c:pt>
                <c:pt idx="147">
                  <c:v>0.98109974295650404</c:v>
                </c:pt>
                <c:pt idx="148">
                  <c:v>0.9816717907363538</c:v>
                </c:pt>
                <c:pt idx="149">
                  <c:v>0.98223879844765871</c:v>
                </c:pt>
                <c:pt idx="150">
                  <c:v>0.98276800564487654</c:v>
                </c:pt>
                <c:pt idx="151">
                  <c:v>0.98327327251650598</c:v>
                </c:pt>
                <c:pt idx="152">
                  <c:v>0.98376845925104561</c:v>
                </c:pt>
                <c:pt idx="153">
                  <c:v>0.98425608588276781</c:v>
                </c:pt>
                <c:pt idx="154">
                  <c:v>0.98473489239453638</c:v>
                </c:pt>
                <c:pt idx="155">
                  <c:v>0.98520109873494266</c:v>
                </c:pt>
                <c:pt idx="156">
                  <c:v>0.98566352502394017</c:v>
                </c:pt>
                <c:pt idx="157">
                  <c:v>0.98610201098734929</c:v>
                </c:pt>
                <c:pt idx="158">
                  <c:v>0.98651277657376124</c:v>
                </c:pt>
                <c:pt idx="159">
                  <c:v>0.98691598205735587</c:v>
                </c:pt>
                <c:pt idx="160">
                  <c:v>0.98731162743813305</c:v>
                </c:pt>
                <c:pt idx="161">
                  <c:v>0.98769467264754796</c:v>
                </c:pt>
                <c:pt idx="162">
                  <c:v>0.9880714177712816</c:v>
                </c:pt>
                <c:pt idx="163">
                  <c:v>0.98844690287787906</c:v>
                </c:pt>
                <c:pt idx="164">
                  <c:v>0.98881860793306786</c:v>
                </c:pt>
                <c:pt idx="165">
                  <c:v>0.98916889269694064</c:v>
                </c:pt>
                <c:pt idx="166">
                  <c:v>0.98951665742654094</c:v>
                </c:pt>
                <c:pt idx="167">
                  <c:v>0.98986190212186875</c:v>
                </c:pt>
                <c:pt idx="168">
                  <c:v>0.99019832669724295</c:v>
                </c:pt>
                <c:pt idx="169">
                  <c:v>0.99053475127261714</c:v>
                </c:pt>
                <c:pt idx="170">
                  <c:v>0.99086991583085515</c:v>
                </c:pt>
                <c:pt idx="171">
                  <c:v>0.99117988004636848</c:v>
                </c:pt>
                <c:pt idx="172">
                  <c:v>0.99148858424474562</c:v>
                </c:pt>
                <c:pt idx="173">
                  <c:v>0.99179098835744151</c:v>
                </c:pt>
                <c:pt idx="174">
                  <c:v>0.99209087243586502</c:v>
                </c:pt>
                <c:pt idx="175">
                  <c:v>0.99238697646287977</c:v>
                </c:pt>
                <c:pt idx="176">
                  <c:v>0.99267426036994089</c:v>
                </c:pt>
                <c:pt idx="177">
                  <c:v>0.99294768408850342</c:v>
                </c:pt>
                <c:pt idx="178">
                  <c:v>0.99321984778992978</c:v>
                </c:pt>
                <c:pt idx="179">
                  <c:v>0.99348949145708365</c:v>
                </c:pt>
                <c:pt idx="180">
                  <c:v>0.99375535507282886</c:v>
                </c:pt>
                <c:pt idx="181">
                  <c:v>0.99400609848293919</c:v>
                </c:pt>
                <c:pt idx="182">
                  <c:v>0.99425306184164086</c:v>
                </c:pt>
                <c:pt idx="183">
                  <c:v>0.99448868504611643</c:v>
                </c:pt>
                <c:pt idx="184">
                  <c:v>0.99471926818204703</c:v>
                </c:pt>
                <c:pt idx="185">
                  <c:v>0.99494859130084146</c:v>
                </c:pt>
                <c:pt idx="186">
                  <c:v>0.99516531424827359</c:v>
                </c:pt>
                <c:pt idx="187">
                  <c:v>0.99537195705861581</c:v>
                </c:pt>
                <c:pt idx="188">
                  <c:v>0.99557481981754936</c:v>
                </c:pt>
                <c:pt idx="189">
                  <c:v>0.99576634242225681</c:v>
                </c:pt>
                <c:pt idx="190">
                  <c:v>0.9959528249584193</c:v>
                </c:pt>
                <c:pt idx="191">
                  <c:v>0.99613804747744561</c:v>
                </c:pt>
                <c:pt idx="192">
                  <c:v>0.99631192984224581</c:v>
                </c:pt>
                <c:pt idx="193">
                  <c:v>0.99647951212136476</c:v>
                </c:pt>
                <c:pt idx="194">
                  <c:v>0.99664457436621134</c:v>
                </c:pt>
                <c:pt idx="195">
                  <c:v>0.99680963661105793</c:v>
                </c:pt>
                <c:pt idx="196">
                  <c:v>0.99697343883876821</c:v>
                </c:pt>
                <c:pt idx="197">
                  <c:v>0.99713472103220602</c:v>
                </c:pt>
                <c:pt idx="198">
                  <c:v>0.99729096315709886</c:v>
                </c:pt>
                <c:pt idx="199">
                  <c:v>0.99743334509349324</c:v>
                </c:pt>
                <c:pt idx="200">
                  <c:v>0.99757446701275132</c:v>
                </c:pt>
                <c:pt idx="201">
                  <c:v>0.99771306889773692</c:v>
                </c:pt>
                <c:pt idx="202">
                  <c:v>0.99783781059422394</c:v>
                </c:pt>
                <c:pt idx="203">
                  <c:v>0.99795877223930229</c:v>
                </c:pt>
                <c:pt idx="204">
                  <c:v>0.99807973388438065</c:v>
                </c:pt>
                <c:pt idx="205">
                  <c:v>0.99818557532382424</c:v>
                </c:pt>
                <c:pt idx="206">
                  <c:v>0.99829015674613153</c:v>
                </c:pt>
                <c:pt idx="207">
                  <c:v>0.99839221813416645</c:v>
                </c:pt>
                <c:pt idx="208">
                  <c:v>0.99849301950506508</c:v>
                </c:pt>
                <c:pt idx="209">
                  <c:v>0.99859256085882753</c:v>
                </c:pt>
                <c:pt idx="210">
                  <c:v>0.99869210221258997</c:v>
                </c:pt>
                <c:pt idx="211">
                  <c:v>0.9987815634292625</c:v>
                </c:pt>
                <c:pt idx="212">
                  <c:v>0.99887102464593502</c:v>
                </c:pt>
                <c:pt idx="213">
                  <c:v>0.99895922584547137</c:v>
                </c:pt>
                <c:pt idx="214">
                  <c:v>0.99903356685650913</c:v>
                </c:pt>
                <c:pt idx="215">
                  <c:v>0.99910790786754688</c:v>
                </c:pt>
                <c:pt idx="216">
                  <c:v>0.99917972884431216</c:v>
                </c:pt>
                <c:pt idx="217">
                  <c:v>0.99925154982107744</c:v>
                </c:pt>
                <c:pt idx="218">
                  <c:v>0.9993145506778891</c:v>
                </c:pt>
                <c:pt idx="219">
                  <c:v>0.99937629151756457</c:v>
                </c:pt>
                <c:pt idx="220">
                  <c:v>0.99943803235724005</c:v>
                </c:pt>
                <c:pt idx="221">
                  <c:v>0.99949347311123427</c:v>
                </c:pt>
                <c:pt idx="222">
                  <c:v>0.99954513381381982</c:v>
                </c:pt>
                <c:pt idx="223">
                  <c:v>0.99959427448213289</c:v>
                </c:pt>
                <c:pt idx="224">
                  <c:v>0.99964341515044597</c:v>
                </c:pt>
                <c:pt idx="225">
                  <c:v>0.99968751575021408</c:v>
                </c:pt>
                <c:pt idx="226">
                  <c:v>0.9997316163499822</c:v>
                </c:pt>
                <c:pt idx="227">
                  <c:v>0.99977445693261413</c:v>
                </c:pt>
                <c:pt idx="228">
                  <c:v>0.99981729751524606</c:v>
                </c:pt>
                <c:pt idx="229">
                  <c:v>0.99985509802933303</c:v>
                </c:pt>
                <c:pt idx="230">
                  <c:v>0.99989289854342001</c:v>
                </c:pt>
                <c:pt idx="231">
                  <c:v>0.99992439897182583</c:v>
                </c:pt>
                <c:pt idx="232">
                  <c:v>0.99995463938309548</c:v>
                </c:pt>
                <c:pt idx="233">
                  <c:v>0.99998109974295635</c:v>
                </c:pt>
                <c:pt idx="23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2</c:f>
              <c:strCache>
                <c:ptCount val="201"/>
                <c:pt idx="0">
                  <c:v>Ruinart</c:v>
                </c:pt>
                <c:pt idx="1">
                  <c:v>All Others</c:v>
                </c:pt>
                <c:pt idx="2">
                  <c:v>Ayala</c:v>
                </c:pt>
                <c:pt idx="3">
                  <c:v>Nicolas</c:v>
                </c:pt>
                <c:pt idx="4">
                  <c:v>Deutz</c:v>
                </c:pt>
                <c:pt idx="5">
                  <c:v>De Bligny</c:v>
                </c:pt>
                <c:pt idx="6">
                  <c:v>Malard</c:v>
                </c:pt>
                <c:pt idx="7">
                  <c:v>Laurent Per</c:v>
                </c:pt>
                <c:pt idx="8">
                  <c:v>Canard Duch</c:v>
                </c:pt>
                <c:pt idx="9">
                  <c:v>Ruinart</c:v>
                </c:pt>
                <c:pt idx="10">
                  <c:v>Deutz</c:v>
                </c:pt>
                <c:pt idx="11">
                  <c:v>Heidsieck &amp;</c:v>
                </c:pt>
                <c:pt idx="12">
                  <c:v>Besserat De</c:v>
                </c:pt>
                <c:pt idx="13">
                  <c:v>Bollinger</c:v>
                </c:pt>
                <c:pt idx="14">
                  <c:v>Ruinart</c:v>
                </c:pt>
                <c:pt idx="15">
                  <c:v>Nicolas Feu</c:v>
                </c:pt>
                <c:pt idx="16">
                  <c:v>All Others</c:v>
                </c:pt>
                <c:pt idx="17">
                  <c:v>All Others</c:v>
                </c:pt>
                <c:pt idx="18">
                  <c:v>Taittinger</c:v>
                </c:pt>
                <c:pt idx="19">
                  <c:v>Demoiselle</c:v>
                </c:pt>
                <c:pt idx="20">
                  <c:v>All Others</c:v>
                </c:pt>
                <c:pt idx="21">
                  <c:v>Ruinart</c:v>
                </c:pt>
                <c:pt idx="22">
                  <c:v>Dom Perigno</c:v>
                </c:pt>
                <c:pt idx="23">
                  <c:v>All Others</c:v>
                </c:pt>
                <c:pt idx="24">
                  <c:v>Pommery</c:v>
                </c:pt>
                <c:pt idx="25">
                  <c:v>Perrier Jou</c:v>
                </c:pt>
                <c:pt idx="26">
                  <c:v>All Others</c:v>
                </c:pt>
                <c:pt idx="27">
                  <c:v>Demoiselle</c:v>
                </c:pt>
                <c:pt idx="28">
                  <c:v>Ruinart</c:v>
                </c:pt>
                <c:pt idx="29">
                  <c:v>All Others</c:v>
                </c:pt>
                <c:pt idx="30">
                  <c:v>Malard</c:v>
                </c:pt>
                <c:pt idx="31">
                  <c:v>Laurent Per</c:v>
                </c:pt>
                <c:pt idx="32">
                  <c:v>Taittinger</c:v>
                </c:pt>
                <c:pt idx="33">
                  <c:v>Vesselle</c:v>
                </c:pt>
                <c:pt idx="34">
                  <c:v>Bouvet-Ladu</c:v>
                </c:pt>
                <c:pt idx="35">
                  <c:v>Roederer</c:v>
                </c:pt>
                <c:pt idx="36">
                  <c:v>Savian</c:v>
                </c:pt>
                <c:pt idx="37">
                  <c:v>Laurent Per</c:v>
                </c:pt>
                <c:pt idx="38">
                  <c:v>Ruinart</c:v>
                </c:pt>
                <c:pt idx="39">
                  <c:v>Savian</c:v>
                </c:pt>
                <c:pt idx="40">
                  <c:v>Henriot</c:v>
                </c:pt>
                <c:pt idx="41">
                  <c:v>All Others</c:v>
                </c:pt>
                <c:pt idx="42">
                  <c:v>All Others</c:v>
                </c:pt>
                <c:pt idx="43">
                  <c:v>Campari: Al</c:v>
                </c:pt>
                <c:pt idx="44">
                  <c:v>Mure</c:v>
                </c:pt>
                <c:pt idx="45">
                  <c:v>Roederer</c:v>
                </c:pt>
                <c:pt idx="46">
                  <c:v>Veuve Clicq</c:v>
                </c:pt>
                <c:pt idx="47">
                  <c:v>All Others</c:v>
                </c:pt>
                <c:pt idx="48">
                  <c:v>Canard Duch</c:v>
                </c:pt>
                <c:pt idx="49">
                  <c:v>Nicolas</c:v>
                </c:pt>
                <c:pt idx="50">
                  <c:v>Henriot</c:v>
                </c:pt>
                <c:pt idx="51">
                  <c:v>Patriarche</c:v>
                </c:pt>
                <c:pt idx="52">
                  <c:v>Moët &amp; Chan</c:v>
                </c:pt>
                <c:pt idx="53">
                  <c:v>Moët &amp; Chan</c:v>
                </c:pt>
                <c:pt idx="54">
                  <c:v>Ruinart</c:v>
                </c:pt>
                <c:pt idx="55">
                  <c:v>Malard</c:v>
                </c:pt>
                <c:pt idx="56">
                  <c:v>Deutz</c:v>
                </c:pt>
                <c:pt idx="57">
                  <c:v>De Venoge</c:v>
                </c:pt>
                <c:pt idx="58">
                  <c:v>Ruinart</c:v>
                </c:pt>
                <c:pt idx="59">
                  <c:v>Chateau Mon</c:v>
                </c:pt>
                <c:pt idx="60">
                  <c:v>Veuve Clicq</c:v>
                </c:pt>
                <c:pt idx="61">
                  <c:v>Dom Perigno</c:v>
                </c:pt>
                <c:pt idx="62">
                  <c:v>Dom Perigno</c:v>
                </c:pt>
                <c:pt idx="63">
                  <c:v>Malard</c:v>
                </c:pt>
                <c:pt idx="64">
                  <c:v>Nicolas Feu</c:v>
                </c:pt>
                <c:pt idx="65">
                  <c:v>Louis Marti</c:v>
                </c:pt>
                <c:pt idx="66">
                  <c:v>All Others</c:v>
                </c:pt>
                <c:pt idx="67">
                  <c:v>De Chanceny</c:v>
                </c:pt>
                <c:pt idx="68">
                  <c:v>Lyre's</c:v>
                </c:pt>
                <c:pt idx="69">
                  <c:v>Canard Duch</c:v>
                </c:pt>
                <c:pt idx="70">
                  <c:v>Moët &amp; Chan</c:v>
                </c:pt>
                <c:pt idx="71">
                  <c:v>De Chanceny</c:v>
                </c:pt>
                <c:pt idx="72">
                  <c:v>Deutz</c:v>
                </c:pt>
                <c:pt idx="73">
                  <c:v>Nicolas Feu</c:v>
                </c:pt>
                <c:pt idx="74">
                  <c:v>All Others</c:v>
                </c:pt>
                <c:pt idx="75">
                  <c:v>Veuve Clicq</c:v>
                </c:pt>
                <c:pt idx="76">
                  <c:v>Delamotte</c:v>
                </c:pt>
                <c:pt idx="77">
                  <c:v>Pommery</c:v>
                </c:pt>
                <c:pt idx="78">
                  <c:v>Bollinger</c:v>
                </c:pt>
                <c:pt idx="79">
                  <c:v>Piper Heids</c:v>
                </c:pt>
                <c:pt idx="80">
                  <c:v>Ruinart</c:v>
                </c:pt>
                <c:pt idx="81">
                  <c:v>All Others</c:v>
                </c:pt>
                <c:pt idx="82">
                  <c:v>Krug</c:v>
                </c:pt>
                <c:pt idx="83">
                  <c:v>Canard Duch</c:v>
                </c:pt>
                <c:pt idx="84">
                  <c:v>Campari: Al</c:v>
                </c:pt>
                <c:pt idx="85">
                  <c:v>Ruinart</c:v>
                </c:pt>
                <c:pt idx="86">
                  <c:v>Bollinger</c:v>
                </c:pt>
                <c:pt idx="87">
                  <c:v>Ruinart</c:v>
                </c:pt>
                <c:pt idx="88">
                  <c:v>Besserat De</c:v>
                </c:pt>
                <c:pt idx="89">
                  <c:v>Nicolas</c:v>
                </c:pt>
                <c:pt idx="90">
                  <c:v>Nicolas</c:v>
                </c:pt>
                <c:pt idx="91">
                  <c:v>Deutz</c:v>
                </c:pt>
                <c:pt idx="92">
                  <c:v>Ayala</c:v>
                </c:pt>
                <c:pt idx="93">
                  <c:v>Patriarche</c:v>
                </c:pt>
                <c:pt idx="94">
                  <c:v>Malard</c:v>
                </c:pt>
                <c:pt idx="95">
                  <c:v>Lanson</c:v>
                </c:pt>
                <c:pt idx="96">
                  <c:v>Canard Duch</c:v>
                </c:pt>
                <c:pt idx="97">
                  <c:v>Roederer</c:v>
                </c:pt>
                <c:pt idx="98">
                  <c:v>Ruinart</c:v>
                </c:pt>
                <c:pt idx="99">
                  <c:v>All Others</c:v>
                </c:pt>
                <c:pt idx="100">
                  <c:v>Ruinart</c:v>
                </c:pt>
                <c:pt idx="101">
                  <c:v>All Others</c:v>
                </c:pt>
                <c:pt idx="102">
                  <c:v>Nicolas</c:v>
                </c:pt>
                <c:pt idx="103">
                  <c:v>Nicolas</c:v>
                </c:pt>
                <c:pt idx="104">
                  <c:v>Roederer</c:v>
                </c:pt>
                <c:pt idx="105">
                  <c:v>Besserat De</c:v>
                </c:pt>
                <c:pt idx="106">
                  <c:v>Kriter</c:v>
                </c:pt>
                <c:pt idx="107">
                  <c:v>All Others</c:v>
                </c:pt>
                <c:pt idx="108">
                  <c:v>Henriot</c:v>
                </c:pt>
                <c:pt idx="109">
                  <c:v>Contarini</c:v>
                </c:pt>
                <c:pt idx="110">
                  <c:v>Vranken</c:v>
                </c:pt>
                <c:pt idx="111">
                  <c:v>De Venoge</c:v>
                </c:pt>
                <c:pt idx="112">
                  <c:v>Roederer</c:v>
                </c:pt>
                <c:pt idx="113">
                  <c:v>Nicolas</c:v>
                </c:pt>
                <c:pt idx="114">
                  <c:v>All Others</c:v>
                </c:pt>
                <c:pt idx="115">
                  <c:v>All Others</c:v>
                </c:pt>
                <c:pt idx="116">
                  <c:v>Nicolas Feu</c:v>
                </c:pt>
                <c:pt idx="117">
                  <c:v>Demoiselle</c:v>
                </c:pt>
                <c:pt idx="118">
                  <c:v>Henriot</c:v>
                </c:pt>
                <c:pt idx="119">
                  <c:v>De Venoge</c:v>
                </c:pt>
                <c:pt idx="120">
                  <c:v>De Bligny</c:v>
                </c:pt>
                <c:pt idx="121">
                  <c:v>Nicolas</c:v>
                </c:pt>
                <c:pt idx="122">
                  <c:v>Nicolas</c:v>
                </c:pt>
                <c:pt idx="123">
                  <c:v>Nicolas</c:v>
                </c:pt>
                <c:pt idx="124">
                  <c:v>De Venoge</c:v>
                </c:pt>
                <c:pt idx="125">
                  <c:v>Bottega</c:v>
                </c:pt>
                <c:pt idx="126">
                  <c:v>Canard Duch</c:v>
                </c:pt>
                <c:pt idx="127">
                  <c:v>Roederer</c:v>
                </c:pt>
                <c:pt idx="128">
                  <c:v>Nicolas</c:v>
                </c:pt>
                <c:pt idx="129">
                  <c:v>Ruinart</c:v>
                </c:pt>
                <c:pt idx="130">
                  <c:v>Deutz</c:v>
                </c:pt>
                <c:pt idx="131">
                  <c:v>Malard</c:v>
                </c:pt>
                <c:pt idx="132">
                  <c:v>All Others</c:v>
                </c:pt>
                <c:pt idx="133">
                  <c:v>Bouvet-Ladu</c:v>
                </c:pt>
                <c:pt idx="134">
                  <c:v>Nicolas</c:v>
                </c:pt>
                <c:pt idx="135">
                  <c:v>Ayala</c:v>
                </c:pt>
                <c:pt idx="136">
                  <c:v>Deutz</c:v>
                </c:pt>
                <c:pt idx="137">
                  <c:v>Nicolas Feu</c:v>
                </c:pt>
                <c:pt idx="138">
                  <c:v>Laurent Per</c:v>
                </c:pt>
                <c:pt idx="139">
                  <c:v>Vesselle</c:v>
                </c:pt>
                <c:pt idx="140">
                  <c:v>Dom Perigno</c:v>
                </c:pt>
                <c:pt idx="141">
                  <c:v>De Venoge</c:v>
                </c:pt>
                <c:pt idx="142">
                  <c:v>All Others</c:v>
                </c:pt>
                <c:pt idx="143">
                  <c:v>Nicolas</c:v>
                </c:pt>
                <c:pt idx="144">
                  <c:v>Besserat De</c:v>
                </c:pt>
                <c:pt idx="145">
                  <c:v>Nicolas</c:v>
                </c:pt>
                <c:pt idx="146">
                  <c:v>All Others</c:v>
                </c:pt>
                <c:pt idx="147">
                  <c:v>Ruinart</c:v>
                </c:pt>
                <c:pt idx="148">
                  <c:v>Roederer</c:v>
                </c:pt>
                <c:pt idx="149">
                  <c:v>All Others</c:v>
                </c:pt>
                <c:pt idx="150">
                  <c:v>All Others</c:v>
                </c:pt>
                <c:pt idx="151">
                  <c:v>All Others</c:v>
                </c:pt>
                <c:pt idx="152">
                  <c:v>All Others</c:v>
                </c:pt>
                <c:pt idx="153">
                  <c:v>Bouvet-Ladu</c:v>
                </c:pt>
                <c:pt idx="154">
                  <c:v>Louis Marti</c:v>
                </c:pt>
                <c:pt idx="155">
                  <c:v>Vranken</c:v>
                </c:pt>
                <c:pt idx="156">
                  <c:v>Cru La Maqu</c:v>
                </c:pt>
                <c:pt idx="157">
                  <c:v>Besserat De</c:v>
                </c:pt>
                <c:pt idx="158">
                  <c:v>All Others</c:v>
                </c:pt>
                <c:pt idx="159">
                  <c:v>Roederer</c:v>
                </c:pt>
                <c:pt idx="160">
                  <c:v>Demoiselle</c:v>
                </c:pt>
                <c:pt idx="161">
                  <c:v>All Others</c:v>
                </c:pt>
                <c:pt idx="162">
                  <c:v>Laurent Per</c:v>
                </c:pt>
                <c:pt idx="163">
                  <c:v>Nicolas</c:v>
                </c:pt>
                <c:pt idx="164">
                  <c:v>Roederer</c:v>
                </c:pt>
                <c:pt idx="165">
                  <c:v>Bouvet-Ladu</c:v>
                </c:pt>
                <c:pt idx="166">
                  <c:v>Vranken</c:v>
                </c:pt>
                <c:pt idx="167">
                  <c:v>Bottega</c:v>
                </c:pt>
                <c:pt idx="168">
                  <c:v>All Others</c:v>
                </c:pt>
                <c:pt idx="169">
                  <c:v>Veuve Clicq</c:v>
                </c:pt>
                <c:pt idx="170">
                  <c:v>Celene</c:v>
                </c:pt>
                <c:pt idx="171">
                  <c:v>All Others</c:v>
                </c:pt>
                <c:pt idx="172">
                  <c:v>Nicolas Feu</c:v>
                </c:pt>
                <c:pt idx="173">
                  <c:v>Nicolas</c:v>
                </c:pt>
                <c:pt idx="174">
                  <c:v>All Others</c:v>
                </c:pt>
                <c:pt idx="175">
                  <c:v>Bouvet-Ladu</c:v>
                </c:pt>
                <c:pt idx="176">
                  <c:v>Nicolas</c:v>
                </c:pt>
                <c:pt idx="177">
                  <c:v>Laurent Per</c:v>
                </c:pt>
                <c:pt idx="178">
                  <c:v>Contarini</c:v>
                </c:pt>
                <c:pt idx="179">
                  <c:v>All Others</c:v>
                </c:pt>
                <c:pt idx="180">
                  <c:v>Nicolas</c:v>
                </c:pt>
                <c:pt idx="181">
                  <c:v>Piper Heids</c:v>
                </c:pt>
                <c:pt idx="182">
                  <c:v>Laurent Per</c:v>
                </c:pt>
                <c:pt idx="183">
                  <c:v>Roederer</c:v>
                </c:pt>
                <c:pt idx="184">
                  <c:v>Canard Duch</c:v>
                </c:pt>
                <c:pt idx="185">
                  <c:v>All Others</c:v>
                </c:pt>
                <c:pt idx="186">
                  <c:v>Henriot</c:v>
                </c:pt>
                <c:pt idx="187">
                  <c:v>Delamotte</c:v>
                </c:pt>
                <c:pt idx="188">
                  <c:v>All Others</c:v>
                </c:pt>
                <c:pt idx="189">
                  <c:v>Demoiselle</c:v>
                </c:pt>
                <c:pt idx="190">
                  <c:v>Demoiselle</c:v>
                </c:pt>
                <c:pt idx="191">
                  <c:v>All Others</c:v>
                </c:pt>
                <c:pt idx="192">
                  <c:v>All Others</c:v>
                </c:pt>
                <c:pt idx="193">
                  <c:v>Roederer</c:v>
                </c:pt>
                <c:pt idx="194">
                  <c:v>Pommery</c:v>
                </c:pt>
                <c:pt idx="195">
                  <c:v>All Others</c:v>
                </c:pt>
                <c:pt idx="196">
                  <c:v>All Others</c:v>
                </c:pt>
                <c:pt idx="197">
                  <c:v>All Others</c:v>
                </c:pt>
                <c:pt idx="198">
                  <c:v>Pommery</c:v>
                </c:pt>
                <c:pt idx="199">
                  <c:v>Bottega</c:v>
                </c:pt>
                <c:pt idx="200">
                  <c:v>Celene</c:v>
                </c:pt>
              </c:strCache>
            </c:strRef>
          </c:cat>
          <c:val>
            <c:numRef>
              <c:f>Sheet1!$B$2:$B$202</c:f>
              <c:numCache>
                <c:formatCode>General</c:formatCode>
                <c:ptCount val="201"/>
                <c:pt idx="0">
                  <c:v>1</c:v>
                </c:pt>
                <c:pt idx="1">
                  <c:v>1</c:v>
                </c:pt>
                <c:pt idx="2">
                  <c:v>1</c:v>
                </c:pt>
                <c:pt idx="3">
                  <c:v>1</c:v>
                </c:pt>
                <c:pt idx="4">
                  <c:v>1</c:v>
                </c:pt>
                <c:pt idx="5">
                  <c:v>1</c:v>
                </c:pt>
                <c:pt idx="6">
                  <c:v>1</c:v>
                </c:pt>
                <c:pt idx="7">
                  <c:v>1</c:v>
                </c:pt>
                <c:pt idx="8">
                  <c:v>1</c:v>
                </c:pt>
                <c:pt idx="9">
                  <c:v>0.64</c:v>
                </c:pt>
                <c:pt idx="10">
                  <c:v>1</c:v>
                </c:pt>
                <c:pt idx="11">
                  <c:v>1</c:v>
                </c:pt>
                <c:pt idx="12">
                  <c:v>1</c:v>
                </c:pt>
                <c:pt idx="13">
                  <c:v>1</c:v>
                </c:pt>
                <c:pt idx="14">
                  <c:v>0.53</c:v>
                </c:pt>
                <c:pt idx="15">
                  <c:v>0.96</c:v>
                </c:pt>
                <c:pt idx="16">
                  <c:v>1</c:v>
                </c:pt>
                <c:pt idx="17">
                  <c:v>1</c:v>
                </c:pt>
                <c:pt idx="18">
                  <c:v>0.93</c:v>
                </c:pt>
                <c:pt idx="19">
                  <c:v>0.85</c:v>
                </c:pt>
                <c:pt idx="20">
                  <c:v>0.63</c:v>
                </c:pt>
                <c:pt idx="21">
                  <c:v>0.71</c:v>
                </c:pt>
                <c:pt idx="22">
                  <c:v>0.47</c:v>
                </c:pt>
                <c:pt idx="23">
                  <c:v>0.96</c:v>
                </c:pt>
                <c:pt idx="24">
                  <c:v>1</c:v>
                </c:pt>
                <c:pt idx="25">
                  <c:v>0.8</c:v>
                </c:pt>
                <c:pt idx="26">
                  <c:v>0.7</c:v>
                </c:pt>
                <c:pt idx="27">
                  <c:v>0.88</c:v>
                </c:pt>
                <c:pt idx="28">
                  <c:v>0.8</c:v>
                </c:pt>
                <c:pt idx="29">
                  <c:v>0.61</c:v>
                </c:pt>
                <c:pt idx="30">
                  <c:v>0.8</c:v>
                </c:pt>
                <c:pt idx="31">
                  <c:v>0.72</c:v>
                </c:pt>
                <c:pt idx="32">
                  <c:v>0.64</c:v>
                </c:pt>
                <c:pt idx="33">
                  <c:v>0.89</c:v>
                </c:pt>
                <c:pt idx="34">
                  <c:v>1</c:v>
                </c:pt>
                <c:pt idx="35">
                  <c:v>0.91</c:v>
                </c:pt>
                <c:pt idx="36">
                  <c:v>0.95</c:v>
                </c:pt>
                <c:pt idx="37">
                  <c:v>0.63</c:v>
                </c:pt>
                <c:pt idx="38">
                  <c:v>0.39</c:v>
                </c:pt>
                <c:pt idx="39">
                  <c:v>0.94</c:v>
                </c:pt>
                <c:pt idx="40">
                  <c:v>0.91</c:v>
                </c:pt>
                <c:pt idx="41">
                  <c:v>0.76</c:v>
                </c:pt>
                <c:pt idx="42">
                  <c:v>0.92</c:v>
                </c:pt>
                <c:pt idx="43">
                  <c:v>0.69</c:v>
                </c:pt>
                <c:pt idx="44">
                  <c:v>0.91</c:v>
                </c:pt>
                <c:pt idx="45">
                  <c:v>0.66</c:v>
                </c:pt>
                <c:pt idx="46">
                  <c:v>0.79</c:v>
                </c:pt>
                <c:pt idx="47">
                  <c:v>0.7</c:v>
                </c:pt>
                <c:pt idx="48">
                  <c:v>0.41</c:v>
                </c:pt>
                <c:pt idx="49">
                  <c:v>0.8</c:v>
                </c:pt>
                <c:pt idx="50">
                  <c:v>0.85</c:v>
                </c:pt>
                <c:pt idx="51">
                  <c:v>0.91</c:v>
                </c:pt>
                <c:pt idx="52">
                  <c:v>0.74</c:v>
                </c:pt>
                <c:pt idx="53">
                  <c:v>0.5</c:v>
                </c:pt>
                <c:pt idx="54">
                  <c:v>0.88</c:v>
                </c:pt>
                <c:pt idx="55">
                  <c:v>0.85</c:v>
                </c:pt>
                <c:pt idx="56">
                  <c:v>0.7</c:v>
                </c:pt>
                <c:pt idx="57">
                  <c:v>0.71</c:v>
                </c:pt>
                <c:pt idx="58">
                  <c:v>0.5</c:v>
                </c:pt>
                <c:pt idx="59">
                  <c:v>0.78</c:v>
                </c:pt>
                <c:pt idx="60">
                  <c:v>0.79</c:v>
                </c:pt>
                <c:pt idx="61">
                  <c:v>0.4</c:v>
                </c:pt>
                <c:pt idx="62">
                  <c:v>0.44</c:v>
                </c:pt>
                <c:pt idx="63">
                  <c:v>0.73</c:v>
                </c:pt>
                <c:pt idx="64">
                  <c:v>0.59</c:v>
                </c:pt>
                <c:pt idx="65">
                  <c:v>0.72</c:v>
                </c:pt>
                <c:pt idx="66">
                  <c:v>0.5</c:v>
                </c:pt>
                <c:pt idx="67">
                  <c:v>0.92</c:v>
                </c:pt>
                <c:pt idx="68">
                  <c:v>0.9</c:v>
                </c:pt>
                <c:pt idx="69">
                  <c:v>0.88</c:v>
                </c:pt>
                <c:pt idx="70">
                  <c:v>0.47</c:v>
                </c:pt>
                <c:pt idx="71">
                  <c:v>0.62</c:v>
                </c:pt>
                <c:pt idx="72">
                  <c:v>0.74</c:v>
                </c:pt>
                <c:pt idx="73">
                  <c:v>0.64</c:v>
                </c:pt>
                <c:pt idx="74">
                  <c:v>0.8</c:v>
                </c:pt>
                <c:pt idx="75">
                  <c:v>0.51</c:v>
                </c:pt>
                <c:pt idx="76">
                  <c:v>0.72</c:v>
                </c:pt>
                <c:pt idx="77">
                  <c:v>0.55000000000000004</c:v>
                </c:pt>
                <c:pt idx="78">
                  <c:v>0.59</c:v>
                </c:pt>
                <c:pt idx="79">
                  <c:v>1</c:v>
                </c:pt>
                <c:pt idx="80">
                  <c:v>0.79</c:v>
                </c:pt>
                <c:pt idx="81">
                  <c:v>0.65</c:v>
                </c:pt>
                <c:pt idx="82">
                  <c:v>0.28000000000000003</c:v>
                </c:pt>
                <c:pt idx="83">
                  <c:v>0.59</c:v>
                </c:pt>
                <c:pt idx="84">
                  <c:v>0.74</c:v>
                </c:pt>
                <c:pt idx="85">
                  <c:v>0.33</c:v>
                </c:pt>
                <c:pt idx="86">
                  <c:v>0.28000000000000003</c:v>
                </c:pt>
                <c:pt idx="87">
                  <c:v>0.64</c:v>
                </c:pt>
                <c:pt idx="88">
                  <c:v>0.71</c:v>
                </c:pt>
                <c:pt idx="89">
                  <c:v>0.56000000000000005</c:v>
                </c:pt>
                <c:pt idx="90">
                  <c:v>0.73</c:v>
                </c:pt>
                <c:pt idx="91">
                  <c:v>0.64</c:v>
                </c:pt>
                <c:pt idx="92">
                  <c:v>0.45</c:v>
                </c:pt>
                <c:pt idx="93">
                  <c:v>0.8</c:v>
                </c:pt>
                <c:pt idx="94">
                  <c:v>0.53</c:v>
                </c:pt>
                <c:pt idx="95">
                  <c:v>0.62</c:v>
                </c:pt>
                <c:pt idx="96">
                  <c:v>0.47</c:v>
                </c:pt>
                <c:pt idx="97">
                  <c:v>0.35</c:v>
                </c:pt>
                <c:pt idx="98">
                  <c:v>0.64</c:v>
                </c:pt>
                <c:pt idx="99">
                  <c:v>0.41</c:v>
                </c:pt>
                <c:pt idx="100">
                  <c:v>0.44</c:v>
                </c:pt>
                <c:pt idx="101">
                  <c:v>0.62</c:v>
                </c:pt>
                <c:pt idx="102">
                  <c:v>0.64</c:v>
                </c:pt>
                <c:pt idx="103">
                  <c:v>0.52</c:v>
                </c:pt>
                <c:pt idx="104">
                  <c:v>0.35</c:v>
                </c:pt>
                <c:pt idx="105">
                  <c:v>0.76</c:v>
                </c:pt>
                <c:pt idx="106">
                  <c:v>0.66</c:v>
                </c:pt>
                <c:pt idx="107">
                  <c:v>0.96</c:v>
                </c:pt>
                <c:pt idx="108">
                  <c:v>0.81</c:v>
                </c:pt>
                <c:pt idx="109">
                  <c:v>0.77</c:v>
                </c:pt>
                <c:pt idx="110">
                  <c:v>0.73</c:v>
                </c:pt>
                <c:pt idx="111">
                  <c:v>0.84</c:v>
                </c:pt>
                <c:pt idx="112">
                  <c:v>0.28000000000000003</c:v>
                </c:pt>
                <c:pt idx="113">
                  <c:v>0.3</c:v>
                </c:pt>
                <c:pt idx="114">
                  <c:v>0.55000000000000004</c:v>
                </c:pt>
                <c:pt idx="115">
                  <c:v>0.43</c:v>
                </c:pt>
                <c:pt idx="116">
                  <c:v>0.64</c:v>
                </c:pt>
                <c:pt idx="117">
                  <c:v>0.43</c:v>
                </c:pt>
                <c:pt idx="118">
                  <c:v>0.47</c:v>
                </c:pt>
                <c:pt idx="119">
                  <c:v>0.35</c:v>
                </c:pt>
                <c:pt idx="120">
                  <c:v>0.43</c:v>
                </c:pt>
                <c:pt idx="121">
                  <c:v>0.53</c:v>
                </c:pt>
                <c:pt idx="122">
                  <c:v>0.51</c:v>
                </c:pt>
                <c:pt idx="123">
                  <c:v>0.64</c:v>
                </c:pt>
                <c:pt idx="124">
                  <c:v>0.43</c:v>
                </c:pt>
                <c:pt idx="125">
                  <c:v>0.45</c:v>
                </c:pt>
                <c:pt idx="126">
                  <c:v>0.36</c:v>
                </c:pt>
                <c:pt idx="127">
                  <c:v>0.5</c:v>
                </c:pt>
                <c:pt idx="128">
                  <c:v>0.63</c:v>
                </c:pt>
                <c:pt idx="129">
                  <c:v>0.35</c:v>
                </c:pt>
                <c:pt idx="130">
                  <c:v>0.38</c:v>
                </c:pt>
                <c:pt idx="131">
                  <c:v>0.38</c:v>
                </c:pt>
                <c:pt idx="132">
                  <c:v>0.35</c:v>
                </c:pt>
                <c:pt idx="133">
                  <c:v>0.64</c:v>
                </c:pt>
                <c:pt idx="134">
                  <c:v>0.62</c:v>
                </c:pt>
                <c:pt idx="135">
                  <c:v>0.45</c:v>
                </c:pt>
                <c:pt idx="136">
                  <c:v>0.35</c:v>
                </c:pt>
                <c:pt idx="137">
                  <c:v>0.46</c:v>
                </c:pt>
                <c:pt idx="138">
                  <c:v>0.26</c:v>
                </c:pt>
                <c:pt idx="139">
                  <c:v>0.35</c:v>
                </c:pt>
                <c:pt idx="140">
                  <c:v>0.37</c:v>
                </c:pt>
                <c:pt idx="141">
                  <c:v>0.4</c:v>
                </c:pt>
                <c:pt idx="142">
                  <c:v>0.22</c:v>
                </c:pt>
                <c:pt idx="143">
                  <c:v>0.34</c:v>
                </c:pt>
                <c:pt idx="144">
                  <c:v>0.35</c:v>
                </c:pt>
                <c:pt idx="145">
                  <c:v>0.44</c:v>
                </c:pt>
                <c:pt idx="146">
                  <c:v>0.43</c:v>
                </c:pt>
                <c:pt idx="147">
                  <c:v>0.28000000000000003</c:v>
                </c:pt>
                <c:pt idx="148">
                  <c:v>0.25</c:v>
                </c:pt>
                <c:pt idx="149">
                  <c:v>0.59</c:v>
                </c:pt>
                <c:pt idx="150">
                  <c:v>0.27</c:v>
                </c:pt>
                <c:pt idx="151">
                  <c:v>0.39</c:v>
                </c:pt>
                <c:pt idx="152">
                  <c:v>0.38</c:v>
                </c:pt>
                <c:pt idx="153">
                  <c:v>0.2</c:v>
                </c:pt>
                <c:pt idx="154">
                  <c:v>7.0000000000000007E-2</c:v>
                </c:pt>
                <c:pt idx="155">
                  <c:v>0.44</c:v>
                </c:pt>
                <c:pt idx="156">
                  <c:v>0.51</c:v>
                </c:pt>
                <c:pt idx="157">
                  <c:v>0.27</c:v>
                </c:pt>
                <c:pt idx="158">
                  <c:v>0.53</c:v>
                </c:pt>
                <c:pt idx="159">
                  <c:v>0.16</c:v>
                </c:pt>
                <c:pt idx="160">
                  <c:v>0.36</c:v>
                </c:pt>
                <c:pt idx="161">
                  <c:v>0.11</c:v>
                </c:pt>
                <c:pt idx="162">
                  <c:v>0.16</c:v>
                </c:pt>
                <c:pt idx="163">
                  <c:v>0.38</c:v>
                </c:pt>
                <c:pt idx="164">
                  <c:v>0.3</c:v>
                </c:pt>
                <c:pt idx="165">
                  <c:v>0.28000000000000003</c:v>
                </c:pt>
                <c:pt idx="166">
                  <c:v>0.11</c:v>
                </c:pt>
                <c:pt idx="167">
                  <c:v>0.43</c:v>
                </c:pt>
                <c:pt idx="168">
                  <c:v>0.33</c:v>
                </c:pt>
                <c:pt idx="169">
                  <c:v>0.09</c:v>
                </c:pt>
                <c:pt idx="170">
                  <c:v>0.28000000000000003</c:v>
                </c:pt>
                <c:pt idx="171">
                  <c:v>0.25</c:v>
                </c:pt>
                <c:pt idx="172">
                  <c:v>0.3</c:v>
                </c:pt>
                <c:pt idx="173">
                  <c:v>0.11</c:v>
                </c:pt>
                <c:pt idx="174">
                  <c:v>0.22</c:v>
                </c:pt>
                <c:pt idx="175">
                  <c:v>0.37</c:v>
                </c:pt>
                <c:pt idx="176">
                  <c:v>0.11</c:v>
                </c:pt>
                <c:pt idx="177">
                  <c:v>0.28000000000000003</c:v>
                </c:pt>
                <c:pt idx="178">
                  <c:v>0.19</c:v>
                </c:pt>
                <c:pt idx="179">
                  <c:v>0.33</c:v>
                </c:pt>
                <c:pt idx="180">
                  <c:v>0.16</c:v>
                </c:pt>
                <c:pt idx="181">
                  <c:v>7.0000000000000007E-2</c:v>
                </c:pt>
                <c:pt idx="182">
                  <c:v>0.08</c:v>
                </c:pt>
                <c:pt idx="183">
                  <c:v>0.13</c:v>
                </c:pt>
                <c:pt idx="184">
                  <c:v>0.17</c:v>
                </c:pt>
                <c:pt idx="185">
                  <c:v>0.16</c:v>
                </c:pt>
                <c:pt idx="186">
                  <c:v>0.35</c:v>
                </c:pt>
                <c:pt idx="187">
                  <c:v>0.11</c:v>
                </c:pt>
                <c:pt idx="188">
                  <c:v>0.37</c:v>
                </c:pt>
                <c:pt idx="189">
                  <c:v>0.12</c:v>
                </c:pt>
                <c:pt idx="190">
                  <c:v>0.23</c:v>
                </c:pt>
                <c:pt idx="191">
                  <c:v>0.11</c:v>
                </c:pt>
                <c:pt idx="192">
                  <c:v>0.22</c:v>
                </c:pt>
                <c:pt idx="193">
                  <c:v>0.22</c:v>
                </c:pt>
                <c:pt idx="194">
                  <c:v>0.31</c:v>
                </c:pt>
                <c:pt idx="195">
                  <c:v>0.41</c:v>
                </c:pt>
                <c:pt idx="196">
                  <c:v>0.13</c:v>
                </c:pt>
                <c:pt idx="197">
                  <c:v>0.09</c:v>
                </c:pt>
                <c:pt idx="198">
                  <c:v>0.35</c:v>
                </c:pt>
                <c:pt idx="199">
                  <c:v>0.08</c:v>
                </c:pt>
                <c:pt idx="200">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2</c:f>
              <c:strCache>
                <c:ptCount val="201"/>
                <c:pt idx="0">
                  <c:v>Ruinart</c:v>
                </c:pt>
                <c:pt idx="1">
                  <c:v>All Others</c:v>
                </c:pt>
                <c:pt idx="2">
                  <c:v>Ayala</c:v>
                </c:pt>
                <c:pt idx="3">
                  <c:v>Nicolas</c:v>
                </c:pt>
                <c:pt idx="4">
                  <c:v>Deutz</c:v>
                </c:pt>
                <c:pt idx="5">
                  <c:v>De Bligny</c:v>
                </c:pt>
                <c:pt idx="6">
                  <c:v>Malard</c:v>
                </c:pt>
                <c:pt idx="7">
                  <c:v>Laurent Per</c:v>
                </c:pt>
                <c:pt idx="8">
                  <c:v>Canard Duch</c:v>
                </c:pt>
                <c:pt idx="9">
                  <c:v>Ruinart</c:v>
                </c:pt>
                <c:pt idx="10">
                  <c:v>Deutz</c:v>
                </c:pt>
                <c:pt idx="11">
                  <c:v>Heidsieck &amp;</c:v>
                </c:pt>
                <c:pt idx="12">
                  <c:v>Besserat De</c:v>
                </c:pt>
                <c:pt idx="13">
                  <c:v>Bollinger</c:v>
                </c:pt>
                <c:pt idx="14">
                  <c:v>Ruinart</c:v>
                </c:pt>
                <c:pt idx="15">
                  <c:v>Nicolas Feu</c:v>
                </c:pt>
                <c:pt idx="16">
                  <c:v>All Others</c:v>
                </c:pt>
                <c:pt idx="17">
                  <c:v>All Others</c:v>
                </c:pt>
                <c:pt idx="18">
                  <c:v>Taittinger</c:v>
                </c:pt>
                <c:pt idx="19">
                  <c:v>Demoiselle</c:v>
                </c:pt>
                <c:pt idx="20">
                  <c:v>All Others</c:v>
                </c:pt>
                <c:pt idx="21">
                  <c:v>Ruinart</c:v>
                </c:pt>
                <c:pt idx="22">
                  <c:v>Dom Perigno</c:v>
                </c:pt>
                <c:pt idx="23">
                  <c:v>All Others</c:v>
                </c:pt>
                <c:pt idx="24">
                  <c:v>Pommery</c:v>
                </c:pt>
                <c:pt idx="25">
                  <c:v>Perrier Jou</c:v>
                </c:pt>
                <c:pt idx="26">
                  <c:v>All Others</c:v>
                </c:pt>
                <c:pt idx="27">
                  <c:v>Demoiselle</c:v>
                </c:pt>
                <c:pt idx="28">
                  <c:v>Ruinart</c:v>
                </c:pt>
                <c:pt idx="29">
                  <c:v>All Others</c:v>
                </c:pt>
                <c:pt idx="30">
                  <c:v>Malard</c:v>
                </c:pt>
                <c:pt idx="31">
                  <c:v>Laurent Per</c:v>
                </c:pt>
                <c:pt idx="32">
                  <c:v>Taittinger</c:v>
                </c:pt>
                <c:pt idx="33">
                  <c:v>Vesselle</c:v>
                </c:pt>
                <c:pt idx="34">
                  <c:v>Bouvet-Ladu</c:v>
                </c:pt>
                <c:pt idx="35">
                  <c:v>Roederer</c:v>
                </c:pt>
                <c:pt idx="36">
                  <c:v>Savian</c:v>
                </c:pt>
                <c:pt idx="37">
                  <c:v>Laurent Per</c:v>
                </c:pt>
                <c:pt idx="38">
                  <c:v>Ruinart</c:v>
                </c:pt>
                <c:pt idx="39">
                  <c:v>Savian</c:v>
                </c:pt>
                <c:pt idx="40">
                  <c:v>Henriot</c:v>
                </c:pt>
                <c:pt idx="41">
                  <c:v>All Others</c:v>
                </c:pt>
                <c:pt idx="42">
                  <c:v>All Others</c:v>
                </c:pt>
                <c:pt idx="43">
                  <c:v>Campari: Al</c:v>
                </c:pt>
                <c:pt idx="44">
                  <c:v>Mure</c:v>
                </c:pt>
                <c:pt idx="45">
                  <c:v>Roederer</c:v>
                </c:pt>
                <c:pt idx="46">
                  <c:v>Veuve Clicq</c:v>
                </c:pt>
                <c:pt idx="47">
                  <c:v>All Others</c:v>
                </c:pt>
                <c:pt idx="48">
                  <c:v>Canard Duch</c:v>
                </c:pt>
                <c:pt idx="49">
                  <c:v>Nicolas</c:v>
                </c:pt>
                <c:pt idx="50">
                  <c:v>Henriot</c:v>
                </c:pt>
                <c:pt idx="51">
                  <c:v>Patriarche</c:v>
                </c:pt>
                <c:pt idx="52">
                  <c:v>Moët &amp; Chan</c:v>
                </c:pt>
                <c:pt idx="53">
                  <c:v>Moët &amp; Chan</c:v>
                </c:pt>
                <c:pt idx="54">
                  <c:v>Ruinart</c:v>
                </c:pt>
                <c:pt idx="55">
                  <c:v>Malard</c:v>
                </c:pt>
                <c:pt idx="56">
                  <c:v>Deutz</c:v>
                </c:pt>
                <c:pt idx="57">
                  <c:v>De Venoge</c:v>
                </c:pt>
                <c:pt idx="58">
                  <c:v>Ruinart</c:v>
                </c:pt>
                <c:pt idx="59">
                  <c:v>Chateau Mon</c:v>
                </c:pt>
                <c:pt idx="60">
                  <c:v>Veuve Clicq</c:v>
                </c:pt>
                <c:pt idx="61">
                  <c:v>Dom Perigno</c:v>
                </c:pt>
                <c:pt idx="62">
                  <c:v>Dom Perigno</c:v>
                </c:pt>
                <c:pt idx="63">
                  <c:v>Malard</c:v>
                </c:pt>
                <c:pt idx="64">
                  <c:v>Nicolas Feu</c:v>
                </c:pt>
                <c:pt idx="65">
                  <c:v>Louis Marti</c:v>
                </c:pt>
                <c:pt idx="66">
                  <c:v>All Others</c:v>
                </c:pt>
                <c:pt idx="67">
                  <c:v>De Chanceny</c:v>
                </c:pt>
                <c:pt idx="68">
                  <c:v>Lyre's</c:v>
                </c:pt>
                <c:pt idx="69">
                  <c:v>Canard Duch</c:v>
                </c:pt>
                <c:pt idx="70">
                  <c:v>Moët &amp; Chan</c:v>
                </c:pt>
                <c:pt idx="71">
                  <c:v>De Chanceny</c:v>
                </c:pt>
                <c:pt idx="72">
                  <c:v>Deutz</c:v>
                </c:pt>
                <c:pt idx="73">
                  <c:v>Nicolas Feu</c:v>
                </c:pt>
                <c:pt idx="74">
                  <c:v>All Others</c:v>
                </c:pt>
                <c:pt idx="75">
                  <c:v>Veuve Clicq</c:v>
                </c:pt>
                <c:pt idx="76">
                  <c:v>Delamotte</c:v>
                </c:pt>
                <c:pt idx="77">
                  <c:v>Pommery</c:v>
                </c:pt>
                <c:pt idx="78">
                  <c:v>Bollinger</c:v>
                </c:pt>
                <c:pt idx="79">
                  <c:v>Piper Heids</c:v>
                </c:pt>
                <c:pt idx="80">
                  <c:v>Ruinart</c:v>
                </c:pt>
                <c:pt idx="81">
                  <c:v>All Others</c:v>
                </c:pt>
                <c:pt idx="82">
                  <c:v>Krug</c:v>
                </c:pt>
                <c:pt idx="83">
                  <c:v>Canard Duch</c:v>
                </c:pt>
                <c:pt idx="84">
                  <c:v>Campari: Al</c:v>
                </c:pt>
                <c:pt idx="85">
                  <c:v>Ruinart</c:v>
                </c:pt>
                <c:pt idx="86">
                  <c:v>Bollinger</c:v>
                </c:pt>
                <c:pt idx="87">
                  <c:v>Ruinart</c:v>
                </c:pt>
                <c:pt idx="88">
                  <c:v>Besserat De</c:v>
                </c:pt>
                <c:pt idx="89">
                  <c:v>Nicolas</c:v>
                </c:pt>
                <c:pt idx="90">
                  <c:v>Nicolas</c:v>
                </c:pt>
                <c:pt idx="91">
                  <c:v>Deutz</c:v>
                </c:pt>
                <c:pt idx="92">
                  <c:v>Ayala</c:v>
                </c:pt>
                <c:pt idx="93">
                  <c:v>Patriarche</c:v>
                </c:pt>
                <c:pt idx="94">
                  <c:v>Malard</c:v>
                </c:pt>
                <c:pt idx="95">
                  <c:v>Lanson</c:v>
                </c:pt>
                <c:pt idx="96">
                  <c:v>Canard Duch</c:v>
                </c:pt>
                <c:pt idx="97">
                  <c:v>Roederer</c:v>
                </c:pt>
                <c:pt idx="98">
                  <c:v>Ruinart</c:v>
                </c:pt>
                <c:pt idx="99">
                  <c:v>All Others</c:v>
                </c:pt>
                <c:pt idx="100">
                  <c:v>Ruinart</c:v>
                </c:pt>
                <c:pt idx="101">
                  <c:v>All Others</c:v>
                </c:pt>
                <c:pt idx="102">
                  <c:v>Nicolas</c:v>
                </c:pt>
                <c:pt idx="103">
                  <c:v>Nicolas</c:v>
                </c:pt>
                <c:pt idx="104">
                  <c:v>Roederer</c:v>
                </c:pt>
                <c:pt idx="105">
                  <c:v>Besserat De</c:v>
                </c:pt>
                <c:pt idx="106">
                  <c:v>Kriter</c:v>
                </c:pt>
                <c:pt idx="107">
                  <c:v>All Others</c:v>
                </c:pt>
                <c:pt idx="108">
                  <c:v>Henriot</c:v>
                </c:pt>
                <c:pt idx="109">
                  <c:v>Contarini</c:v>
                </c:pt>
                <c:pt idx="110">
                  <c:v>Vranken</c:v>
                </c:pt>
                <c:pt idx="111">
                  <c:v>De Venoge</c:v>
                </c:pt>
                <c:pt idx="112">
                  <c:v>Roederer</c:v>
                </c:pt>
                <c:pt idx="113">
                  <c:v>Nicolas</c:v>
                </c:pt>
                <c:pt idx="114">
                  <c:v>All Others</c:v>
                </c:pt>
                <c:pt idx="115">
                  <c:v>All Others</c:v>
                </c:pt>
                <c:pt idx="116">
                  <c:v>Nicolas Feu</c:v>
                </c:pt>
                <c:pt idx="117">
                  <c:v>Demoiselle</c:v>
                </c:pt>
                <c:pt idx="118">
                  <c:v>Henriot</c:v>
                </c:pt>
                <c:pt idx="119">
                  <c:v>De Venoge</c:v>
                </c:pt>
                <c:pt idx="120">
                  <c:v>De Bligny</c:v>
                </c:pt>
                <c:pt idx="121">
                  <c:v>Nicolas</c:v>
                </c:pt>
                <c:pt idx="122">
                  <c:v>Nicolas</c:v>
                </c:pt>
                <c:pt idx="123">
                  <c:v>Nicolas</c:v>
                </c:pt>
                <c:pt idx="124">
                  <c:v>De Venoge</c:v>
                </c:pt>
                <c:pt idx="125">
                  <c:v>Bottega</c:v>
                </c:pt>
                <c:pt idx="126">
                  <c:v>Canard Duch</c:v>
                </c:pt>
                <c:pt idx="127">
                  <c:v>Roederer</c:v>
                </c:pt>
                <c:pt idx="128">
                  <c:v>Nicolas</c:v>
                </c:pt>
                <c:pt idx="129">
                  <c:v>Ruinart</c:v>
                </c:pt>
                <c:pt idx="130">
                  <c:v>Deutz</c:v>
                </c:pt>
                <c:pt idx="131">
                  <c:v>Malard</c:v>
                </c:pt>
                <c:pt idx="132">
                  <c:v>All Others</c:v>
                </c:pt>
                <c:pt idx="133">
                  <c:v>Bouvet-Ladu</c:v>
                </c:pt>
                <c:pt idx="134">
                  <c:v>Nicolas</c:v>
                </c:pt>
                <c:pt idx="135">
                  <c:v>Ayala</c:v>
                </c:pt>
                <c:pt idx="136">
                  <c:v>Deutz</c:v>
                </c:pt>
                <c:pt idx="137">
                  <c:v>Nicolas Feu</c:v>
                </c:pt>
                <c:pt idx="138">
                  <c:v>Laurent Per</c:v>
                </c:pt>
                <c:pt idx="139">
                  <c:v>Vesselle</c:v>
                </c:pt>
                <c:pt idx="140">
                  <c:v>Dom Perigno</c:v>
                </c:pt>
                <c:pt idx="141">
                  <c:v>De Venoge</c:v>
                </c:pt>
                <c:pt idx="142">
                  <c:v>All Others</c:v>
                </c:pt>
                <c:pt idx="143">
                  <c:v>Nicolas</c:v>
                </c:pt>
                <c:pt idx="144">
                  <c:v>Besserat De</c:v>
                </c:pt>
                <c:pt idx="145">
                  <c:v>Nicolas</c:v>
                </c:pt>
                <c:pt idx="146">
                  <c:v>All Others</c:v>
                </c:pt>
                <c:pt idx="147">
                  <c:v>Ruinart</c:v>
                </c:pt>
                <c:pt idx="148">
                  <c:v>Roederer</c:v>
                </c:pt>
                <c:pt idx="149">
                  <c:v>All Others</c:v>
                </c:pt>
                <c:pt idx="150">
                  <c:v>All Others</c:v>
                </c:pt>
                <c:pt idx="151">
                  <c:v>All Others</c:v>
                </c:pt>
                <c:pt idx="152">
                  <c:v>All Others</c:v>
                </c:pt>
                <c:pt idx="153">
                  <c:v>Bouvet-Ladu</c:v>
                </c:pt>
                <c:pt idx="154">
                  <c:v>Louis Marti</c:v>
                </c:pt>
                <c:pt idx="155">
                  <c:v>Vranken</c:v>
                </c:pt>
                <c:pt idx="156">
                  <c:v>Cru La Maqu</c:v>
                </c:pt>
                <c:pt idx="157">
                  <c:v>Besserat De</c:v>
                </c:pt>
                <c:pt idx="158">
                  <c:v>All Others</c:v>
                </c:pt>
                <c:pt idx="159">
                  <c:v>Roederer</c:v>
                </c:pt>
                <c:pt idx="160">
                  <c:v>Demoiselle</c:v>
                </c:pt>
                <c:pt idx="161">
                  <c:v>All Others</c:v>
                </c:pt>
                <c:pt idx="162">
                  <c:v>Laurent Per</c:v>
                </c:pt>
                <c:pt idx="163">
                  <c:v>Nicolas</c:v>
                </c:pt>
                <c:pt idx="164">
                  <c:v>Roederer</c:v>
                </c:pt>
                <c:pt idx="165">
                  <c:v>Bouvet-Ladu</c:v>
                </c:pt>
                <c:pt idx="166">
                  <c:v>Vranken</c:v>
                </c:pt>
                <c:pt idx="167">
                  <c:v>Bottega</c:v>
                </c:pt>
                <c:pt idx="168">
                  <c:v>All Others</c:v>
                </c:pt>
                <c:pt idx="169">
                  <c:v>Veuve Clicq</c:v>
                </c:pt>
                <c:pt idx="170">
                  <c:v>Celene</c:v>
                </c:pt>
                <c:pt idx="171">
                  <c:v>All Others</c:v>
                </c:pt>
                <c:pt idx="172">
                  <c:v>Nicolas Feu</c:v>
                </c:pt>
                <c:pt idx="173">
                  <c:v>Nicolas</c:v>
                </c:pt>
                <c:pt idx="174">
                  <c:v>All Others</c:v>
                </c:pt>
                <c:pt idx="175">
                  <c:v>Bouvet-Ladu</c:v>
                </c:pt>
                <c:pt idx="176">
                  <c:v>Nicolas</c:v>
                </c:pt>
                <c:pt idx="177">
                  <c:v>Laurent Per</c:v>
                </c:pt>
                <c:pt idx="178">
                  <c:v>Contarini</c:v>
                </c:pt>
                <c:pt idx="179">
                  <c:v>All Others</c:v>
                </c:pt>
                <c:pt idx="180">
                  <c:v>Nicolas</c:v>
                </c:pt>
                <c:pt idx="181">
                  <c:v>Piper Heids</c:v>
                </c:pt>
                <c:pt idx="182">
                  <c:v>Laurent Per</c:v>
                </c:pt>
                <c:pt idx="183">
                  <c:v>Roederer</c:v>
                </c:pt>
                <c:pt idx="184">
                  <c:v>Canard Duch</c:v>
                </c:pt>
                <c:pt idx="185">
                  <c:v>All Others</c:v>
                </c:pt>
                <c:pt idx="186">
                  <c:v>Henriot</c:v>
                </c:pt>
                <c:pt idx="187">
                  <c:v>Delamotte</c:v>
                </c:pt>
                <c:pt idx="188">
                  <c:v>All Others</c:v>
                </c:pt>
                <c:pt idx="189">
                  <c:v>Demoiselle</c:v>
                </c:pt>
                <c:pt idx="190">
                  <c:v>Demoiselle</c:v>
                </c:pt>
                <c:pt idx="191">
                  <c:v>All Others</c:v>
                </c:pt>
                <c:pt idx="192">
                  <c:v>All Others</c:v>
                </c:pt>
                <c:pt idx="193">
                  <c:v>Roederer</c:v>
                </c:pt>
                <c:pt idx="194">
                  <c:v>Pommery</c:v>
                </c:pt>
                <c:pt idx="195">
                  <c:v>All Others</c:v>
                </c:pt>
                <c:pt idx="196">
                  <c:v>All Others</c:v>
                </c:pt>
                <c:pt idx="197">
                  <c:v>All Others</c:v>
                </c:pt>
                <c:pt idx="198">
                  <c:v>Pommery</c:v>
                </c:pt>
                <c:pt idx="199">
                  <c:v>Bottega</c:v>
                </c:pt>
                <c:pt idx="200">
                  <c:v>Celene</c:v>
                </c:pt>
              </c:strCache>
            </c:strRef>
          </c:cat>
          <c:val>
            <c:numRef>
              <c:f>Sheet1!$C$2:$C$202</c:f>
              <c:numCache>
                <c:formatCode>General</c:formatCode>
                <c:ptCount val="201"/>
                <c:pt idx="0">
                  <c:v>0.10921088665506798</c:v>
                </c:pt>
                <c:pt idx="1">
                  <c:v>0.18488224112378376</c:v>
                </c:pt>
                <c:pt idx="2">
                  <c:v>0.23223749919453573</c:v>
                </c:pt>
                <c:pt idx="3">
                  <c:v>0.27188647786584186</c:v>
                </c:pt>
                <c:pt idx="4">
                  <c:v>0.31046620271924735</c:v>
                </c:pt>
                <c:pt idx="5">
                  <c:v>0.34575560603131644</c:v>
                </c:pt>
                <c:pt idx="6">
                  <c:v>0.3789306656356724</c:v>
                </c:pt>
                <c:pt idx="7">
                  <c:v>0.40170919518010184</c:v>
                </c:pt>
                <c:pt idx="8">
                  <c:v>0.42394202268187386</c:v>
                </c:pt>
                <c:pt idx="9">
                  <c:v>0.44409473870739097</c:v>
                </c:pt>
                <c:pt idx="10">
                  <c:v>0.46341782653521491</c:v>
                </c:pt>
                <c:pt idx="11">
                  <c:v>0.48024800244861138</c:v>
                </c:pt>
                <c:pt idx="12">
                  <c:v>0.49627674141375089</c:v>
                </c:pt>
                <c:pt idx="13">
                  <c:v>0.51130871834525415</c:v>
                </c:pt>
                <c:pt idx="14">
                  <c:v>0.52588560796443062</c:v>
                </c:pt>
                <c:pt idx="15">
                  <c:v>0.53915563180617299</c:v>
                </c:pt>
                <c:pt idx="16">
                  <c:v>0.55074223532444089</c:v>
                </c:pt>
                <c:pt idx="17">
                  <c:v>0.56202477608093293</c:v>
                </c:pt>
                <c:pt idx="18">
                  <c:v>0.5726790547071331</c:v>
                </c:pt>
                <c:pt idx="19">
                  <c:v>0.58322056833558855</c:v>
                </c:pt>
                <c:pt idx="20">
                  <c:v>0.59345197822024609</c:v>
                </c:pt>
                <c:pt idx="21">
                  <c:v>0.60211877376119594</c:v>
                </c:pt>
                <c:pt idx="22">
                  <c:v>0.61075133707068752</c:v>
                </c:pt>
                <c:pt idx="23">
                  <c:v>0.61917649333075586</c:v>
                </c:pt>
                <c:pt idx="24">
                  <c:v>0.62739021522005289</c:v>
                </c:pt>
                <c:pt idx="25">
                  <c:v>0.63536833881049037</c:v>
                </c:pt>
                <c:pt idx="26">
                  <c:v>0.6432840389200335</c:v>
                </c:pt>
                <c:pt idx="27">
                  <c:v>0.65089567626780076</c:v>
                </c:pt>
                <c:pt idx="28">
                  <c:v>0.6584811360268058</c:v>
                </c:pt>
                <c:pt idx="29">
                  <c:v>0.6659880630195244</c:v>
                </c:pt>
                <c:pt idx="30">
                  <c:v>0.67348492170887297</c:v>
                </c:pt>
                <c:pt idx="31">
                  <c:v>0.68094754816676328</c:v>
                </c:pt>
                <c:pt idx="32">
                  <c:v>0.68790474579547645</c:v>
                </c:pt>
                <c:pt idx="33">
                  <c:v>0.69470689155229071</c:v>
                </c:pt>
                <c:pt idx="34">
                  <c:v>0.70144460016753651</c:v>
                </c:pt>
                <c:pt idx="35">
                  <c:v>0.70811787164121398</c:v>
                </c:pt>
                <c:pt idx="36">
                  <c:v>0.71460789999355623</c:v>
                </c:pt>
                <c:pt idx="37">
                  <c:v>0.72092676718860749</c:v>
                </c:pt>
                <c:pt idx="38">
                  <c:v>0.72715703331400217</c:v>
                </c:pt>
                <c:pt idx="39">
                  <c:v>0.73324634319221593</c:v>
                </c:pt>
                <c:pt idx="40">
                  <c:v>0.73931954378503761</c:v>
                </c:pt>
                <c:pt idx="41">
                  <c:v>0.74533837553966098</c:v>
                </c:pt>
                <c:pt idx="42">
                  <c:v>0.75111355435272886</c:v>
                </c:pt>
                <c:pt idx="43">
                  <c:v>0.7568806785231007</c:v>
                </c:pt>
                <c:pt idx="44">
                  <c:v>0.76262162510471032</c:v>
                </c:pt>
                <c:pt idx="45">
                  <c:v>0.76835048972227593</c:v>
                </c:pt>
                <c:pt idx="46">
                  <c:v>0.77398068496681494</c:v>
                </c:pt>
                <c:pt idx="47">
                  <c:v>0.77956053869450359</c:v>
                </c:pt>
                <c:pt idx="48">
                  <c:v>0.78503568206714358</c:v>
                </c:pt>
                <c:pt idx="49">
                  <c:v>0.79047055222630336</c:v>
                </c:pt>
                <c:pt idx="50">
                  <c:v>0.79559129132031714</c:v>
                </c:pt>
                <c:pt idx="51">
                  <c:v>0.80067981184354675</c:v>
                </c:pt>
                <c:pt idx="52">
                  <c:v>0.80558911656678922</c:v>
                </c:pt>
                <c:pt idx="53">
                  <c:v>0.81049640762935771</c:v>
                </c:pt>
                <c:pt idx="54">
                  <c:v>0.81518420967845884</c:v>
                </c:pt>
                <c:pt idx="55">
                  <c:v>0.81983375217475374</c:v>
                </c:pt>
                <c:pt idx="56">
                  <c:v>0.8244591307429604</c:v>
                </c:pt>
                <c:pt idx="57">
                  <c:v>0.82897979895611851</c:v>
                </c:pt>
                <c:pt idx="58">
                  <c:v>0.83325681422772102</c:v>
                </c:pt>
                <c:pt idx="59">
                  <c:v>0.83750966557123541</c:v>
                </c:pt>
                <c:pt idx="60">
                  <c:v>0.84166988852374525</c:v>
                </c:pt>
                <c:pt idx="61">
                  <c:v>0.84579789290547092</c:v>
                </c:pt>
                <c:pt idx="62">
                  <c:v>0.84966210773890094</c:v>
                </c:pt>
                <c:pt idx="63">
                  <c:v>0.85343973516334837</c:v>
                </c:pt>
                <c:pt idx="64">
                  <c:v>0.8571589664282494</c:v>
                </c:pt>
                <c:pt idx="65">
                  <c:v>0.86046741091565193</c:v>
                </c:pt>
                <c:pt idx="66">
                  <c:v>0.86375370513564032</c:v>
                </c:pt>
                <c:pt idx="67">
                  <c:v>0.8669836168567564</c:v>
                </c:pt>
                <c:pt idx="68">
                  <c:v>0.87011485920484588</c:v>
                </c:pt>
                <c:pt idx="69">
                  <c:v>0.87316756878664881</c:v>
                </c:pt>
                <c:pt idx="70">
                  <c:v>0.87620618274373363</c:v>
                </c:pt>
                <c:pt idx="71">
                  <c:v>0.87923472839744843</c:v>
                </c:pt>
                <c:pt idx="72">
                  <c:v>0.88222300083768301</c:v>
                </c:pt>
                <c:pt idx="73">
                  <c:v>0.88515287711837121</c:v>
                </c:pt>
                <c:pt idx="74">
                  <c:v>0.88802234357883902</c:v>
                </c:pt>
                <c:pt idx="75">
                  <c:v>0.89085959146852267</c:v>
                </c:pt>
                <c:pt idx="76">
                  <c:v>0.89360219730652768</c:v>
                </c:pt>
                <c:pt idx="77">
                  <c:v>0.89616558734454554</c:v>
                </c:pt>
                <c:pt idx="78">
                  <c:v>0.89865648559829903</c:v>
                </c:pt>
                <c:pt idx="79">
                  <c:v>0.90107489206778801</c:v>
                </c:pt>
                <c:pt idx="80">
                  <c:v>0.90344899800244871</c:v>
                </c:pt>
                <c:pt idx="81">
                  <c:v>0.90578484438430318</c:v>
                </c:pt>
                <c:pt idx="82">
                  <c:v>0.90808444487402551</c:v>
                </c:pt>
                <c:pt idx="83">
                  <c:v>0.91035585411431164</c:v>
                </c:pt>
                <c:pt idx="84">
                  <c:v>0.91261316772987966</c:v>
                </c:pt>
                <c:pt idx="85">
                  <c:v>0.91485839938140356</c:v>
                </c:pt>
                <c:pt idx="86">
                  <c:v>0.91709356272955744</c:v>
                </c:pt>
                <c:pt idx="87">
                  <c:v>0.91932268509568926</c:v>
                </c:pt>
                <c:pt idx="88">
                  <c:v>0.92152160255171089</c:v>
                </c:pt>
                <c:pt idx="89">
                  <c:v>0.92371447902571047</c:v>
                </c:pt>
                <c:pt idx="90">
                  <c:v>0.9258711096075779</c:v>
                </c:pt>
                <c:pt idx="91">
                  <c:v>0.9280176718860752</c:v>
                </c:pt>
                <c:pt idx="92">
                  <c:v>0.93016020684322454</c:v>
                </c:pt>
                <c:pt idx="93">
                  <c:v>0.93229065983632975</c:v>
                </c:pt>
                <c:pt idx="94">
                  <c:v>0.93439493524067285</c:v>
                </c:pt>
                <c:pt idx="95">
                  <c:v>0.93644685546749162</c:v>
                </c:pt>
                <c:pt idx="96">
                  <c:v>0.93841420194600189</c:v>
                </c:pt>
                <c:pt idx="97">
                  <c:v>0.94029898833687764</c:v>
                </c:pt>
                <c:pt idx="98">
                  <c:v>0.94209718731877079</c:v>
                </c:pt>
                <c:pt idx="99">
                  <c:v>0.94384907210516167</c:v>
                </c:pt>
                <c:pt idx="100">
                  <c:v>0.94546805528706768</c:v>
                </c:pt>
                <c:pt idx="101">
                  <c:v>0.94708099748695174</c:v>
                </c:pt>
                <c:pt idx="102">
                  <c:v>0.94867380308009563</c:v>
                </c:pt>
                <c:pt idx="103">
                  <c:v>0.95022633545975932</c:v>
                </c:pt>
                <c:pt idx="104">
                  <c:v>0.9517365809652687</c:v>
                </c:pt>
                <c:pt idx="105">
                  <c:v>0.95323273084605997</c:v>
                </c:pt>
                <c:pt idx="106">
                  <c:v>0.95464430697854274</c:v>
                </c:pt>
                <c:pt idx="107">
                  <c:v>0.95604178748630742</c:v>
                </c:pt>
                <c:pt idx="108">
                  <c:v>0.95741107674463588</c:v>
                </c:pt>
                <c:pt idx="109">
                  <c:v>0.95873203814678809</c:v>
                </c:pt>
                <c:pt idx="110">
                  <c:v>0.96004091758489618</c:v>
                </c:pt>
                <c:pt idx="111">
                  <c:v>0.96133771505896026</c:v>
                </c:pt>
                <c:pt idx="112">
                  <c:v>0.96256000708808587</c:v>
                </c:pt>
                <c:pt idx="113">
                  <c:v>0.96377827179586339</c:v>
                </c:pt>
                <c:pt idx="114">
                  <c:v>0.96497639989690087</c:v>
                </c:pt>
                <c:pt idx="115">
                  <c:v>0.96616848701591629</c:v>
                </c:pt>
                <c:pt idx="116">
                  <c:v>0.96732432824279946</c:v>
                </c:pt>
                <c:pt idx="117">
                  <c:v>0.96841371866744019</c:v>
                </c:pt>
                <c:pt idx="118">
                  <c:v>0.96945276757523069</c:v>
                </c:pt>
                <c:pt idx="119">
                  <c:v>0.97048778916167311</c:v>
                </c:pt>
                <c:pt idx="120">
                  <c:v>0.97150267414137537</c:v>
                </c:pt>
                <c:pt idx="121">
                  <c:v>0.97251151813905568</c:v>
                </c:pt>
                <c:pt idx="122">
                  <c:v>0.97351633481538791</c:v>
                </c:pt>
                <c:pt idx="123">
                  <c:v>0.97447886461756583</c:v>
                </c:pt>
                <c:pt idx="124">
                  <c:v>0.97543938075906977</c:v>
                </c:pt>
                <c:pt idx="125">
                  <c:v>0.97635156904439746</c:v>
                </c:pt>
                <c:pt idx="126">
                  <c:v>0.97726174366905116</c:v>
                </c:pt>
                <c:pt idx="127">
                  <c:v>0.97816587731168281</c:v>
                </c:pt>
                <c:pt idx="128">
                  <c:v>0.97905591532959635</c:v>
                </c:pt>
                <c:pt idx="129">
                  <c:v>0.97994393968683591</c:v>
                </c:pt>
                <c:pt idx="130">
                  <c:v>0.98070913074296062</c:v>
                </c:pt>
                <c:pt idx="131">
                  <c:v>0.98146022617436723</c:v>
                </c:pt>
                <c:pt idx="132">
                  <c:v>0.98217507571364171</c:v>
                </c:pt>
                <c:pt idx="133">
                  <c:v>0.98288992525291619</c:v>
                </c:pt>
                <c:pt idx="134">
                  <c:v>0.98360276113151657</c:v>
                </c:pt>
                <c:pt idx="135">
                  <c:v>0.9842813647786588</c:v>
                </c:pt>
                <c:pt idx="136">
                  <c:v>0.98490559958760271</c:v>
                </c:pt>
                <c:pt idx="137">
                  <c:v>0.98550567046845838</c:v>
                </c:pt>
                <c:pt idx="138">
                  <c:v>0.98609970036729211</c:v>
                </c:pt>
                <c:pt idx="139">
                  <c:v>0.98666553901668963</c:v>
                </c:pt>
                <c:pt idx="140">
                  <c:v>0.98721728204136905</c:v>
                </c:pt>
                <c:pt idx="141">
                  <c:v>0.9877368064952643</c:v>
                </c:pt>
                <c:pt idx="142">
                  <c:v>0.98821404407500524</c:v>
                </c:pt>
                <c:pt idx="143">
                  <c:v>0.98867718603002808</c:v>
                </c:pt>
                <c:pt idx="144">
                  <c:v>0.98912019137831086</c:v>
                </c:pt>
                <c:pt idx="145">
                  <c:v>0.98955514208389761</c:v>
                </c:pt>
                <c:pt idx="146">
                  <c:v>0.98996391520072213</c:v>
                </c:pt>
                <c:pt idx="147">
                  <c:v>0.99035859269282855</c:v>
                </c:pt>
                <c:pt idx="148">
                  <c:v>0.99072507893549888</c:v>
                </c:pt>
                <c:pt idx="149">
                  <c:v>0.99108753785682113</c:v>
                </c:pt>
                <c:pt idx="150">
                  <c:v>0.99143791481409926</c:v>
                </c:pt>
                <c:pt idx="151">
                  <c:v>0.99178627811070341</c:v>
                </c:pt>
                <c:pt idx="152">
                  <c:v>0.99212658676461152</c:v>
                </c:pt>
                <c:pt idx="153">
                  <c:v>0.99246488175784564</c:v>
                </c:pt>
                <c:pt idx="154">
                  <c:v>0.99278908112636166</c:v>
                </c:pt>
                <c:pt idx="155">
                  <c:v>0.9931112668342037</c:v>
                </c:pt>
                <c:pt idx="156">
                  <c:v>0.99341532959597956</c:v>
                </c:pt>
                <c:pt idx="157">
                  <c:v>0.99370328307236333</c:v>
                </c:pt>
                <c:pt idx="158">
                  <c:v>0.9939791545847031</c:v>
                </c:pt>
                <c:pt idx="159">
                  <c:v>0.99424495779367272</c:v>
                </c:pt>
                <c:pt idx="160">
                  <c:v>0.99450874734196837</c:v>
                </c:pt>
                <c:pt idx="161">
                  <c:v>0.99476649590824195</c:v>
                </c:pt>
                <c:pt idx="162">
                  <c:v>0.99502424447451554</c:v>
                </c:pt>
                <c:pt idx="163">
                  <c:v>0.99527393839809308</c:v>
                </c:pt>
                <c:pt idx="164">
                  <c:v>0.99551960500032266</c:v>
                </c:pt>
                <c:pt idx="165">
                  <c:v>0.99575721695985608</c:v>
                </c:pt>
                <c:pt idx="166">
                  <c:v>0.99599080159804154</c:v>
                </c:pt>
                <c:pt idx="167">
                  <c:v>0.99622237257555302</c:v>
                </c:pt>
                <c:pt idx="168">
                  <c:v>0.99644790257104243</c:v>
                </c:pt>
                <c:pt idx="169">
                  <c:v>0.99665732328113976</c:v>
                </c:pt>
                <c:pt idx="170">
                  <c:v>0.99685667568786696</c:v>
                </c:pt>
                <c:pt idx="171">
                  <c:v>0.99703991880920206</c:v>
                </c:pt>
                <c:pt idx="172">
                  <c:v>0.99721510728784113</c:v>
                </c:pt>
                <c:pt idx="173">
                  <c:v>0.99738828210580621</c:v>
                </c:pt>
                <c:pt idx="174">
                  <c:v>0.99754534763837921</c:v>
                </c:pt>
                <c:pt idx="175">
                  <c:v>0.99769435852825616</c:v>
                </c:pt>
                <c:pt idx="176">
                  <c:v>0.99784135575745903</c:v>
                </c:pt>
                <c:pt idx="177">
                  <c:v>0.99798835298666189</c:v>
                </c:pt>
                <c:pt idx="178">
                  <c:v>0.99813333655519076</c:v>
                </c:pt>
                <c:pt idx="179">
                  <c:v>0.99827630646304566</c:v>
                </c:pt>
                <c:pt idx="180">
                  <c:v>0.99841927637090055</c:v>
                </c:pt>
                <c:pt idx="181">
                  <c:v>0.99855419163605941</c:v>
                </c:pt>
                <c:pt idx="182">
                  <c:v>0.99868105225852222</c:v>
                </c:pt>
                <c:pt idx="183">
                  <c:v>0.99880388555963695</c:v>
                </c:pt>
                <c:pt idx="184">
                  <c:v>0.99891866421805564</c:v>
                </c:pt>
                <c:pt idx="185">
                  <c:v>0.99903344287647433</c:v>
                </c:pt>
                <c:pt idx="186">
                  <c:v>0.99914822153489302</c:v>
                </c:pt>
                <c:pt idx="187">
                  <c:v>0.99925897287196375</c:v>
                </c:pt>
                <c:pt idx="188">
                  <c:v>0.99936166956633843</c:v>
                </c:pt>
                <c:pt idx="189">
                  <c:v>0.99945027063599501</c:v>
                </c:pt>
                <c:pt idx="190">
                  <c:v>0.99953081706295555</c:v>
                </c:pt>
                <c:pt idx="191">
                  <c:v>0.99960733616856801</c:v>
                </c:pt>
                <c:pt idx="192">
                  <c:v>0.99967781429215841</c:v>
                </c:pt>
                <c:pt idx="193">
                  <c:v>0.99974225143372686</c:v>
                </c:pt>
                <c:pt idx="194">
                  <c:v>0.99979863393259916</c:v>
                </c:pt>
                <c:pt idx="195">
                  <c:v>0.99985098911012349</c:v>
                </c:pt>
                <c:pt idx="196">
                  <c:v>0.9998912623236037</c:v>
                </c:pt>
                <c:pt idx="197">
                  <c:v>0.99992750821573595</c:v>
                </c:pt>
                <c:pt idx="198">
                  <c:v>0.99995569946517215</c:v>
                </c:pt>
                <c:pt idx="199">
                  <c:v>0.99997986339326028</c:v>
                </c:pt>
                <c:pt idx="200">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6</c:f>
              <c:strCache>
                <c:ptCount val="215"/>
                <c:pt idx="0">
                  <c:v>Ruinart</c:v>
                </c:pt>
                <c:pt idx="1">
                  <c:v>Ruinart</c:v>
                </c:pt>
                <c:pt idx="2">
                  <c:v>Nicolas</c:v>
                </c:pt>
                <c:pt idx="3">
                  <c:v>All Others</c:v>
                </c:pt>
                <c:pt idx="4">
                  <c:v>Deutz</c:v>
                </c:pt>
                <c:pt idx="5">
                  <c:v>Malard</c:v>
                </c:pt>
                <c:pt idx="6">
                  <c:v>Ruinart</c:v>
                </c:pt>
                <c:pt idx="7">
                  <c:v>Canard Duch</c:v>
                </c:pt>
                <c:pt idx="8">
                  <c:v>Heidsieck &amp;</c:v>
                </c:pt>
                <c:pt idx="9">
                  <c:v>Taittinger</c:v>
                </c:pt>
                <c:pt idx="10">
                  <c:v>De Bligny</c:v>
                </c:pt>
                <c:pt idx="11">
                  <c:v>Ayala</c:v>
                </c:pt>
                <c:pt idx="12">
                  <c:v>Deutz</c:v>
                </c:pt>
                <c:pt idx="13">
                  <c:v>Besserat De</c:v>
                </c:pt>
                <c:pt idx="14">
                  <c:v>Patriarche</c:v>
                </c:pt>
                <c:pt idx="15">
                  <c:v>Demoiselle</c:v>
                </c:pt>
                <c:pt idx="16">
                  <c:v>Nicolas Feu</c:v>
                </c:pt>
                <c:pt idx="17">
                  <c:v>Bollinger</c:v>
                </c:pt>
                <c:pt idx="18">
                  <c:v>All Others</c:v>
                </c:pt>
                <c:pt idx="19">
                  <c:v>Perrier Jou</c:v>
                </c:pt>
                <c:pt idx="20">
                  <c:v>Mure</c:v>
                </c:pt>
                <c:pt idx="21">
                  <c:v>Ruinart</c:v>
                </c:pt>
                <c:pt idx="22">
                  <c:v>Malard</c:v>
                </c:pt>
                <c:pt idx="23">
                  <c:v>Taittinger</c:v>
                </c:pt>
                <c:pt idx="24">
                  <c:v>Laurent Per</c:v>
                </c:pt>
                <c:pt idx="25">
                  <c:v>Ruinart</c:v>
                </c:pt>
                <c:pt idx="26">
                  <c:v>Savian</c:v>
                </c:pt>
                <c:pt idx="27">
                  <c:v>All Others</c:v>
                </c:pt>
                <c:pt idx="28">
                  <c:v>Ruinart</c:v>
                </c:pt>
                <c:pt idx="29">
                  <c:v>Laurent Per</c:v>
                </c:pt>
                <c:pt idx="30">
                  <c:v>Malard</c:v>
                </c:pt>
                <c:pt idx="31">
                  <c:v>Deutz</c:v>
                </c:pt>
                <c:pt idx="32">
                  <c:v>Laurent Per</c:v>
                </c:pt>
                <c:pt idx="33">
                  <c:v>Veuve Clicq</c:v>
                </c:pt>
                <c:pt idx="34">
                  <c:v>Nicolas</c:v>
                </c:pt>
                <c:pt idx="35">
                  <c:v>All Others</c:v>
                </c:pt>
                <c:pt idx="36">
                  <c:v>All Others</c:v>
                </c:pt>
                <c:pt idx="37">
                  <c:v>All Others</c:v>
                </c:pt>
                <c:pt idx="38">
                  <c:v>All Others</c:v>
                </c:pt>
                <c:pt idx="39">
                  <c:v>Roederer</c:v>
                </c:pt>
                <c:pt idx="40">
                  <c:v>All Others</c:v>
                </c:pt>
                <c:pt idx="41">
                  <c:v>Moët &amp; Chan</c:v>
                </c:pt>
                <c:pt idx="42">
                  <c:v>Dom Perigno</c:v>
                </c:pt>
                <c:pt idx="43">
                  <c:v>Pommery</c:v>
                </c:pt>
                <c:pt idx="44">
                  <c:v>Vesselle</c:v>
                </c:pt>
                <c:pt idx="45">
                  <c:v>All Others</c:v>
                </c:pt>
                <c:pt idx="46">
                  <c:v>Ruinart</c:v>
                </c:pt>
                <c:pt idx="47">
                  <c:v>Roederer</c:v>
                </c:pt>
                <c:pt idx="48">
                  <c:v>Lyre's</c:v>
                </c:pt>
                <c:pt idx="49">
                  <c:v>Piper Heids</c:v>
                </c:pt>
                <c:pt idx="50">
                  <c:v>Canard Duch</c:v>
                </c:pt>
                <c:pt idx="51">
                  <c:v>Veuve Clicq</c:v>
                </c:pt>
                <c:pt idx="52">
                  <c:v>Canard Duch</c:v>
                </c:pt>
                <c:pt idx="53">
                  <c:v>Ayala</c:v>
                </c:pt>
                <c:pt idx="54">
                  <c:v>Demoiselle</c:v>
                </c:pt>
                <c:pt idx="55">
                  <c:v>Campari: Al</c:v>
                </c:pt>
                <c:pt idx="56">
                  <c:v>Nicolas</c:v>
                </c:pt>
                <c:pt idx="57">
                  <c:v>Krug</c:v>
                </c:pt>
                <c:pt idx="58">
                  <c:v>De Venoge</c:v>
                </c:pt>
                <c:pt idx="59">
                  <c:v>Bollinger</c:v>
                </c:pt>
                <c:pt idx="60">
                  <c:v>Henriot</c:v>
                </c:pt>
                <c:pt idx="61">
                  <c:v>Bottega</c:v>
                </c:pt>
                <c:pt idx="62">
                  <c:v>De Bligny</c:v>
                </c:pt>
                <c:pt idx="63">
                  <c:v>Deutz</c:v>
                </c:pt>
                <c:pt idx="64">
                  <c:v>Nicolas Feu</c:v>
                </c:pt>
                <c:pt idx="65">
                  <c:v>Dom Perigno</c:v>
                </c:pt>
                <c:pt idx="66">
                  <c:v>Malard</c:v>
                </c:pt>
                <c:pt idx="67">
                  <c:v>Canard Duch</c:v>
                </c:pt>
                <c:pt idx="68">
                  <c:v>Ruinart</c:v>
                </c:pt>
                <c:pt idx="69">
                  <c:v>Veuve Clicq</c:v>
                </c:pt>
                <c:pt idx="70">
                  <c:v>Laurent Per</c:v>
                </c:pt>
                <c:pt idx="71">
                  <c:v>Besserat De</c:v>
                </c:pt>
                <c:pt idx="72">
                  <c:v>Malard</c:v>
                </c:pt>
                <c:pt idx="73">
                  <c:v>Henriot</c:v>
                </c:pt>
                <c:pt idx="74">
                  <c:v>All Others</c:v>
                </c:pt>
                <c:pt idx="75">
                  <c:v>Delamotte</c:v>
                </c:pt>
                <c:pt idx="76">
                  <c:v>Patriarche</c:v>
                </c:pt>
                <c:pt idx="77">
                  <c:v>Nicolas</c:v>
                </c:pt>
                <c:pt idx="78">
                  <c:v>Henriot</c:v>
                </c:pt>
                <c:pt idx="79">
                  <c:v>Dom Perigno</c:v>
                </c:pt>
                <c:pt idx="80">
                  <c:v>Lanson</c:v>
                </c:pt>
                <c:pt idx="81">
                  <c:v>Ruinart</c:v>
                </c:pt>
                <c:pt idx="82">
                  <c:v>De Venoge</c:v>
                </c:pt>
                <c:pt idx="83">
                  <c:v>Vranken</c:v>
                </c:pt>
                <c:pt idx="84">
                  <c:v>Chateau Mon</c:v>
                </c:pt>
                <c:pt idx="85">
                  <c:v>Ruinart</c:v>
                </c:pt>
                <c:pt idx="86">
                  <c:v>Nicolas Feu</c:v>
                </c:pt>
                <c:pt idx="87">
                  <c:v>Roederer</c:v>
                </c:pt>
                <c:pt idx="88">
                  <c:v>Moët &amp; Chan</c:v>
                </c:pt>
                <c:pt idx="89">
                  <c:v>Besserat De</c:v>
                </c:pt>
                <c:pt idx="90">
                  <c:v>Nicolas</c:v>
                </c:pt>
                <c:pt idx="91">
                  <c:v>Nicolas Feu</c:v>
                </c:pt>
                <c:pt idx="92">
                  <c:v>Nicolas</c:v>
                </c:pt>
                <c:pt idx="93">
                  <c:v>De Chanceny</c:v>
                </c:pt>
                <c:pt idx="94">
                  <c:v>De Chanceny</c:v>
                </c:pt>
                <c:pt idx="95">
                  <c:v>All Others</c:v>
                </c:pt>
                <c:pt idx="96">
                  <c:v>Cru La Maqu</c:v>
                </c:pt>
                <c:pt idx="97">
                  <c:v>Ruinart</c:v>
                </c:pt>
                <c:pt idx="98">
                  <c:v>Nicolas</c:v>
                </c:pt>
                <c:pt idx="99">
                  <c:v>All Others</c:v>
                </c:pt>
                <c:pt idx="100">
                  <c:v>Perrier Jou</c:v>
                </c:pt>
                <c:pt idx="101">
                  <c:v>Pommery</c:v>
                </c:pt>
                <c:pt idx="102">
                  <c:v>Kriter</c:v>
                </c:pt>
                <c:pt idx="103">
                  <c:v>Roederer</c:v>
                </c:pt>
                <c:pt idx="104">
                  <c:v>Veuve Clicq</c:v>
                </c:pt>
                <c:pt idx="105">
                  <c:v>Ruinart</c:v>
                </c:pt>
                <c:pt idx="106">
                  <c:v>Malard</c:v>
                </c:pt>
                <c:pt idx="107">
                  <c:v>Deutz</c:v>
                </c:pt>
                <c:pt idx="108">
                  <c:v>Roederer</c:v>
                </c:pt>
                <c:pt idx="109">
                  <c:v>De Venoge</c:v>
                </c:pt>
                <c:pt idx="110">
                  <c:v>Vranken</c:v>
                </c:pt>
                <c:pt idx="111">
                  <c:v>Canard Duch</c:v>
                </c:pt>
                <c:pt idx="112">
                  <c:v>Moët &amp; Chan</c:v>
                </c:pt>
                <c:pt idx="113">
                  <c:v>All Others</c:v>
                </c:pt>
                <c:pt idx="114">
                  <c:v>Deutz</c:v>
                </c:pt>
                <c:pt idx="115">
                  <c:v>Louis Marti</c:v>
                </c:pt>
                <c:pt idx="116">
                  <c:v>Savian</c:v>
                </c:pt>
                <c:pt idx="117">
                  <c:v>Bouvet-Ladu</c:v>
                </c:pt>
                <c:pt idx="118">
                  <c:v>Bottega</c:v>
                </c:pt>
                <c:pt idx="119">
                  <c:v>All Others</c:v>
                </c:pt>
                <c:pt idx="120">
                  <c:v>Nicolas</c:v>
                </c:pt>
                <c:pt idx="121">
                  <c:v>Nicolas</c:v>
                </c:pt>
                <c:pt idx="122">
                  <c:v>All Others</c:v>
                </c:pt>
                <c:pt idx="123">
                  <c:v>All Others</c:v>
                </c:pt>
                <c:pt idx="124">
                  <c:v>Roederer</c:v>
                </c:pt>
                <c:pt idx="125">
                  <c:v>Contarini</c:v>
                </c:pt>
                <c:pt idx="126">
                  <c:v>De Venoge</c:v>
                </c:pt>
                <c:pt idx="127">
                  <c:v>Bollinger</c:v>
                </c:pt>
                <c:pt idx="128">
                  <c:v>Roederer</c:v>
                </c:pt>
                <c:pt idx="129">
                  <c:v>Nicolas</c:v>
                </c:pt>
                <c:pt idx="130">
                  <c:v>Campari: Al</c:v>
                </c:pt>
                <c:pt idx="131">
                  <c:v>Pommery</c:v>
                </c:pt>
                <c:pt idx="132">
                  <c:v>Roederer</c:v>
                </c:pt>
                <c:pt idx="133">
                  <c:v>Ruinart</c:v>
                </c:pt>
                <c:pt idx="134">
                  <c:v>Deutz</c:v>
                </c:pt>
                <c:pt idx="135">
                  <c:v>Nicolas</c:v>
                </c:pt>
                <c:pt idx="136">
                  <c:v>Nicolas</c:v>
                </c:pt>
                <c:pt idx="137">
                  <c:v>Pommery</c:v>
                </c:pt>
                <c:pt idx="138">
                  <c:v>Canard Duch</c:v>
                </c:pt>
                <c:pt idx="139">
                  <c:v>Vesselle</c:v>
                </c:pt>
                <c:pt idx="140">
                  <c:v>All Others</c:v>
                </c:pt>
                <c:pt idx="141">
                  <c:v>Roederer</c:v>
                </c:pt>
                <c:pt idx="142">
                  <c:v>Ruinart</c:v>
                </c:pt>
                <c:pt idx="143">
                  <c:v>Demoiselle</c:v>
                </c:pt>
                <c:pt idx="144">
                  <c:v>Contarini</c:v>
                </c:pt>
                <c:pt idx="145">
                  <c:v>Besserat De</c:v>
                </c:pt>
                <c:pt idx="146">
                  <c:v>Lanson</c:v>
                </c:pt>
                <c:pt idx="147">
                  <c:v>Vesselle</c:v>
                </c:pt>
                <c:pt idx="148">
                  <c:v>All Others</c:v>
                </c:pt>
                <c:pt idx="149">
                  <c:v>Nicolas Feu</c:v>
                </c:pt>
                <c:pt idx="150">
                  <c:v>All Others</c:v>
                </c:pt>
                <c:pt idx="151">
                  <c:v>Moët &amp; Chan</c:v>
                </c:pt>
                <c:pt idx="152">
                  <c:v>All Others</c:v>
                </c:pt>
                <c:pt idx="153">
                  <c:v>Perrier Jou</c:v>
                </c:pt>
                <c:pt idx="154">
                  <c:v>Nicolas</c:v>
                </c:pt>
                <c:pt idx="155">
                  <c:v>Taittinger</c:v>
                </c:pt>
                <c:pt idx="156">
                  <c:v>Nicolas</c:v>
                </c:pt>
                <c:pt idx="157">
                  <c:v>Ruinart</c:v>
                </c:pt>
                <c:pt idx="158">
                  <c:v>Nicolas</c:v>
                </c:pt>
                <c:pt idx="159">
                  <c:v>All Others</c:v>
                </c:pt>
                <c:pt idx="160">
                  <c:v>Ruinart</c:v>
                </c:pt>
                <c:pt idx="161">
                  <c:v>Demoiselle</c:v>
                </c:pt>
                <c:pt idx="162">
                  <c:v>Nicolas</c:v>
                </c:pt>
                <c:pt idx="163">
                  <c:v>De Venoge</c:v>
                </c:pt>
                <c:pt idx="164">
                  <c:v>All Others</c:v>
                </c:pt>
                <c:pt idx="165">
                  <c:v>Canard Duch</c:v>
                </c:pt>
                <c:pt idx="166">
                  <c:v>Ruinart</c:v>
                </c:pt>
                <c:pt idx="167">
                  <c:v>All Others</c:v>
                </c:pt>
                <c:pt idx="168">
                  <c:v>Ayala</c:v>
                </c:pt>
                <c:pt idx="169">
                  <c:v>Veuve Clicq</c:v>
                </c:pt>
                <c:pt idx="170">
                  <c:v>All Others</c:v>
                </c:pt>
                <c:pt idx="171">
                  <c:v>Laurent Per</c:v>
                </c:pt>
                <c:pt idx="172">
                  <c:v>All Others</c:v>
                </c:pt>
                <c:pt idx="173">
                  <c:v>Ruinart</c:v>
                </c:pt>
                <c:pt idx="174">
                  <c:v>Laurent Per</c:v>
                </c:pt>
                <c:pt idx="175">
                  <c:v>Malard</c:v>
                </c:pt>
                <c:pt idx="176">
                  <c:v>Roederer</c:v>
                </c:pt>
                <c:pt idx="177">
                  <c:v>Ayala</c:v>
                </c:pt>
                <c:pt idx="178">
                  <c:v>Louis Marti</c:v>
                </c:pt>
                <c:pt idx="179">
                  <c:v>Laurent Per</c:v>
                </c:pt>
                <c:pt idx="180">
                  <c:v>Nicolas</c:v>
                </c:pt>
                <c:pt idx="181">
                  <c:v>Bouvet-Ladu</c:v>
                </c:pt>
                <c:pt idx="182">
                  <c:v>All Others</c:v>
                </c:pt>
                <c:pt idx="183">
                  <c:v>Delamotte</c:v>
                </c:pt>
                <c:pt idx="184">
                  <c:v>All Others</c:v>
                </c:pt>
                <c:pt idx="185">
                  <c:v>All Others</c:v>
                </c:pt>
                <c:pt idx="186">
                  <c:v>All Others</c:v>
                </c:pt>
                <c:pt idx="187">
                  <c:v>Nicolas</c:v>
                </c:pt>
                <c:pt idx="188">
                  <c:v>Besserat De</c:v>
                </c:pt>
                <c:pt idx="189">
                  <c:v>Moët &amp; Chan</c:v>
                </c:pt>
                <c:pt idx="190">
                  <c:v>Laurent Per</c:v>
                </c:pt>
                <c:pt idx="191">
                  <c:v>All Others</c:v>
                </c:pt>
                <c:pt idx="192">
                  <c:v>Roederer</c:v>
                </c:pt>
                <c:pt idx="193">
                  <c:v>Ruinart</c:v>
                </c:pt>
                <c:pt idx="194">
                  <c:v>Henriot</c:v>
                </c:pt>
                <c:pt idx="195">
                  <c:v>Roederer</c:v>
                </c:pt>
                <c:pt idx="196">
                  <c:v>All Others</c:v>
                </c:pt>
                <c:pt idx="197">
                  <c:v>Nicolas</c:v>
                </c:pt>
                <c:pt idx="198">
                  <c:v>All Others</c:v>
                </c:pt>
                <c:pt idx="199">
                  <c:v>All Others</c:v>
                </c:pt>
                <c:pt idx="200">
                  <c:v>All Others</c:v>
                </c:pt>
                <c:pt idx="201">
                  <c:v>De Venoge</c:v>
                </c:pt>
                <c:pt idx="202">
                  <c:v>Henriot</c:v>
                </c:pt>
                <c:pt idx="203">
                  <c:v>Pommery</c:v>
                </c:pt>
                <c:pt idx="204">
                  <c:v>Henriot</c:v>
                </c:pt>
                <c:pt idx="205">
                  <c:v>Celene</c:v>
                </c:pt>
                <c:pt idx="206">
                  <c:v>Nicolas Feu</c:v>
                </c:pt>
                <c:pt idx="207">
                  <c:v>Canard Duch</c:v>
                </c:pt>
                <c:pt idx="208">
                  <c:v>All Others</c:v>
                </c:pt>
                <c:pt idx="209">
                  <c:v>Nicolas</c:v>
                </c:pt>
                <c:pt idx="210">
                  <c:v>Piper Heids</c:v>
                </c:pt>
                <c:pt idx="211">
                  <c:v>Celene</c:v>
                </c:pt>
                <c:pt idx="212">
                  <c:v>Pommery</c:v>
                </c:pt>
                <c:pt idx="213">
                  <c:v>All Others</c:v>
                </c:pt>
                <c:pt idx="214">
                  <c:v>All Others</c:v>
                </c:pt>
              </c:strCache>
            </c:strRef>
          </c:cat>
          <c:val>
            <c:numRef>
              <c:f>Sheet1!$B$2:$B$216</c:f>
              <c:numCache>
                <c:formatCode>General</c:formatCode>
                <c:ptCount val="215"/>
                <c:pt idx="0">
                  <c:v>0.88</c:v>
                </c:pt>
                <c:pt idx="1">
                  <c:v>1</c:v>
                </c:pt>
                <c:pt idx="2">
                  <c:v>1</c:v>
                </c:pt>
                <c:pt idx="3">
                  <c:v>0.91</c:v>
                </c:pt>
                <c:pt idx="4">
                  <c:v>0.89</c:v>
                </c:pt>
                <c:pt idx="5">
                  <c:v>1</c:v>
                </c:pt>
                <c:pt idx="6">
                  <c:v>0.85</c:v>
                </c:pt>
                <c:pt idx="7">
                  <c:v>1</c:v>
                </c:pt>
                <c:pt idx="8">
                  <c:v>0.91</c:v>
                </c:pt>
                <c:pt idx="9">
                  <c:v>0.87</c:v>
                </c:pt>
                <c:pt idx="10">
                  <c:v>0.92</c:v>
                </c:pt>
                <c:pt idx="11">
                  <c:v>0.89</c:v>
                </c:pt>
                <c:pt idx="12">
                  <c:v>0.85</c:v>
                </c:pt>
                <c:pt idx="13">
                  <c:v>0.79</c:v>
                </c:pt>
                <c:pt idx="14">
                  <c:v>1</c:v>
                </c:pt>
                <c:pt idx="15">
                  <c:v>0.85</c:v>
                </c:pt>
                <c:pt idx="16">
                  <c:v>0.96</c:v>
                </c:pt>
                <c:pt idx="17">
                  <c:v>0.87</c:v>
                </c:pt>
                <c:pt idx="18">
                  <c:v>0.71</c:v>
                </c:pt>
                <c:pt idx="19">
                  <c:v>0.87</c:v>
                </c:pt>
                <c:pt idx="20">
                  <c:v>0.88</c:v>
                </c:pt>
                <c:pt idx="21">
                  <c:v>0.88</c:v>
                </c:pt>
                <c:pt idx="22">
                  <c:v>0.85</c:v>
                </c:pt>
                <c:pt idx="23">
                  <c:v>0.64</c:v>
                </c:pt>
                <c:pt idx="24">
                  <c:v>1</c:v>
                </c:pt>
                <c:pt idx="25">
                  <c:v>0.51</c:v>
                </c:pt>
                <c:pt idx="26">
                  <c:v>0.83</c:v>
                </c:pt>
                <c:pt idx="27">
                  <c:v>0.79</c:v>
                </c:pt>
                <c:pt idx="28">
                  <c:v>0.88</c:v>
                </c:pt>
                <c:pt idx="29">
                  <c:v>0.88</c:v>
                </c:pt>
                <c:pt idx="30">
                  <c:v>0.82</c:v>
                </c:pt>
                <c:pt idx="31">
                  <c:v>0.84</c:v>
                </c:pt>
                <c:pt idx="32">
                  <c:v>0.83</c:v>
                </c:pt>
                <c:pt idx="33">
                  <c:v>0.56000000000000005</c:v>
                </c:pt>
                <c:pt idx="34">
                  <c:v>0.62</c:v>
                </c:pt>
                <c:pt idx="35">
                  <c:v>0.81</c:v>
                </c:pt>
                <c:pt idx="36">
                  <c:v>1</c:v>
                </c:pt>
                <c:pt idx="37">
                  <c:v>0.56999999999999995</c:v>
                </c:pt>
                <c:pt idx="38">
                  <c:v>0.61</c:v>
                </c:pt>
                <c:pt idx="39">
                  <c:v>0.38</c:v>
                </c:pt>
                <c:pt idx="40">
                  <c:v>0.5</c:v>
                </c:pt>
                <c:pt idx="41">
                  <c:v>0.56000000000000005</c:v>
                </c:pt>
                <c:pt idx="42">
                  <c:v>0.44</c:v>
                </c:pt>
                <c:pt idx="43">
                  <c:v>0.8</c:v>
                </c:pt>
                <c:pt idx="44">
                  <c:v>0.69</c:v>
                </c:pt>
                <c:pt idx="45">
                  <c:v>0.8</c:v>
                </c:pt>
                <c:pt idx="46">
                  <c:v>0.76</c:v>
                </c:pt>
                <c:pt idx="47">
                  <c:v>0.64</c:v>
                </c:pt>
                <c:pt idx="48">
                  <c:v>0.8</c:v>
                </c:pt>
                <c:pt idx="49">
                  <c:v>0.87</c:v>
                </c:pt>
                <c:pt idx="50">
                  <c:v>0.73</c:v>
                </c:pt>
                <c:pt idx="51">
                  <c:v>0.71</c:v>
                </c:pt>
                <c:pt idx="52">
                  <c:v>0.87</c:v>
                </c:pt>
                <c:pt idx="53">
                  <c:v>0.73</c:v>
                </c:pt>
                <c:pt idx="54">
                  <c:v>0.77</c:v>
                </c:pt>
                <c:pt idx="55">
                  <c:v>0.5</c:v>
                </c:pt>
                <c:pt idx="56">
                  <c:v>0.61</c:v>
                </c:pt>
                <c:pt idx="57">
                  <c:v>0.31</c:v>
                </c:pt>
                <c:pt idx="58">
                  <c:v>0.65</c:v>
                </c:pt>
                <c:pt idx="59">
                  <c:v>0.31</c:v>
                </c:pt>
                <c:pt idx="60">
                  <c:v>0.59</c:v>
                </c:pt>
                <c:pt idx="61">
                  <c:v>0.85</c:v>
                </c:pt>
                <c:pt idx="62">
                  <c:v>0.54</c:v>
                </c:pt>
                <c:pt idx="63">
                  <c:v>0.62</c:v>
                </c:pt>
                <c:pt idx="64">
                  <c:v>0.77</c:v>
                </c:pt>
                <c:pt idx="65">
                  <c:v>0.3</c:v>
                </c:pt>
                <c:pt idx="66">
                  <c:v>0.44</c:v>
                </c:pt>
                <c:pt idx="67">
                  <c:v>0.74</c:v>
                </c:pt>
                <c:pt idx="68">
                  <c:v>0.73</c:v>
                </c:pt>
                <c:pt idx="69">
                  <c:v>0.73</c:v>
                </c:pt>
                <c:pt idx="70">
                  <c:v>0.31</c:v>
                </c:pt>
                <c:pt idx="71">
                  <c:v>0.61</c:v>
                </c:pt>
                <c:pt idx="72">
                  <c:v>0.69</c:v>
                </c:pt>
                <c:pt idx="73">
                  <c:v>0.8</c:v>
                </c:pt>
                <c:pt idx="74">
                  <c:v>0.55000000000000004</c:v>
                </c:pt>
                <c:pt idx="75">
                  <c:v>0.35</c:v>
                </c:pt>
                <c:pt idx="76">
                  <c:v>0.63</c:v>
                </c:pt>
                <c:pt idx="77">
                  <c:v>0.59</c:v>
                </c:pt>
                <c:pt idx="78">
                  <c:v>0.59</c:v>
                </c:pt>
                <c:pt idx="79">
                  <c:v>0.44</c:v>
                </c:pt>
                <c:pt idx="80">
                  <c:v>0.73</c:v>
                </c:pt>
                <c:pt idx="81">
                  <c:v>0.88</c:v>
                </c:pt>
                <c:pt idx="82">
                  <c:v>0.74</c:v>
                </c:pt>
                <c:pt idx="83">
                  <c:v>0.8</c:v>
                </c:pt>
                <c:pt idx="84">
                  <c:v>0.8</c:v>
                </c:pt>
                <c:pt idx="85">
                  <c:v>0.46</c:v>
                </c:pt>
                <c:pt idx="86">
                  <c:v>0.31</c:v>
                </c:pt>
                <c:pt idx="87">
                  <c:v>0.39</c:v>
                </c:pt>
                <c:pt idx="88">
                  <c:v>0.32</c:v>
                </c:pt>
                <c:pt idx="89">
                  <c:v>0.46</c:v>
                </c:pt>
                <c:pt idx="90">
                  <c:v>0.56999999999999995</c:v>
                </c:pt>
                <c:pt idx="91">
                  <c:v>0.66</c:v>
                </c:pt>
                <c:pt idx="92">
                  <c:v>0.59</c:v>
                </c:pt>
                <c:pt idx="93">
                  <c:v>0.48</c:v>
                </c:pt>
                <c:pt idx="94">
                  <c:v>0.73</c:v>
                </c:pt>
                <c:pt idx="95">
                  <c:v>0.53</c:v>
                </c:pt>
                <c:pt idx="96">
                  <c:v>0.72</c:v>
                </c:pt>
                <c:pt idx="97">
                  <c:v>0.22</c:v>
                </c:pt>
                <c:pt idx="98">
                  <c:v>0.59</c:v>
                </c:pt>
                <c:pt idx="99">
                  <c:v>0.39</c:v>
                </c:pt>
                <c:pt idx="100">
                  <c:v>0.8</c:v>
                </c:pt>
                <c:pt idx="101">
                  <c:v>0.26</c:v>
                </c:pt>
                <c:pt idx="102">
                  <c:v>0.8</c:v>
                </c:pt>
                <c:pt idx="103">
                  <c:v>0.43</c:v>
                </c:pt>
                <c:pt idx="104">
                  <c:v>0.24</c:v>
                </c:pt>
                <c:pt idx="105">
                  <c:v>0.38</c:v>
                </c:pt>
                <c:pt idx="106">
                  <c:v>0.66</c:v>
                </c:pt>
                <c:pt idx="107">
                  <c:v>0.45</c:v>
                </c:pt>
                <c:pt idx="108">
                  <c:v>0.34</c:v>
                </c:pt>
                <c:pt idx="109">
                  <c:v>0.26</c:v>
                </c:pt>
                <c:pt idx="110">
                  <c:v>0.43</c:v>
                </c:pt>
                <c:pt idx="111">
                  <c:v>0.25</c:v>
                </c:pt>
                <c:pt idx="112">
                  <c:v>0.45</c:v>
                </c:pt>
                <c:pt idx="113">
                  <c:v>0.56000000000000005</c:v>
                </c:pt>
                <c:pt idx="114">
                  <c:v>0.22</c:v>
                </c:pt>
                <c:pt idx="115">
                  <c:v>0.28000000000000003</c:v>
                </c:pt>
                <c:pt idx="116">
                  <c:v>0.76</c:v>
                </c:pt>
                <c:pt idx="117">
                  <c:v>0.61</c:v>
                </c:pt>
                <c:pt idx="118">
                  <c:v>0.81</c:v>
                </c:pt>
                <c:pt idx="119">
                  <c:v>0.44</c:v>
                </c:pt>
                <c:pt idx="120">
                  <c:v>0.44</c:v>
                </c:pt>
                <c:pt idx="121">
                  <c:v>0.27</c:v>
                </c:pt>
                <c:pt idx="122">
                  <c:v>0.65</c:v>
                </c:pt>
                <c:pt idx="123">
                  <c:v>0.67</c:v>
                </c:pt>
                <c:pt idx="124">
                  <c:v>0.48</c:v>
                </c:pt>
                <c:pt idx="125">
                  <c:v>0.56999999999999995</c:v>
                </c:pt>
                <c:pt idx="126">
                  <c:v>0.73</c:v>
                </c:pt>
                <c:pt idx="127">
                  <c:v>0.8</c:v>
                </c:pt>
                <c:pt idx="128">
                  <c:v>0.26</c:v>
                </c:pt>
                <c:pt idx="129">
                  <c:v>0.42</c:v>
                </c:pt>
                <c:pt idx="130">
                  <c:v>0.74</c:v>
                </c:pt>
                <c:pt idx="131">
                  <c:v>0.51</c:v>
                </c:pt>
                <c:pt idx="132">
                  <c:v>0.79</c:v>
                </c:pt>
                <c:pt idx="133">
                  <c:v>0.21</c:v>
                </c:pt>
                <c:pt idx="134">
                  <c:v>0.32</c:v>
                </c:pt>
                <c:pt idx="135">
                  <c:v>0.18</c:v>
                </c:pt>
                <c:pt idx="136">
                  <c:v>0.43</c:v>
                </c:pt>
                <c:pt idx="137">
                  <c:v>0.27</c:v>
                </c:pt>
                <c:pt idx="138">
                  <c:v>0.31</c:v>
                </c:pt>
                <c:pt idx="139">
                  <c:v>0.33</c:v>
                </c:pt>
                <c:pt idx="140">
                  <c:v>0.42</c:v>
                </c:pt>
                <c:pt idx="141">
                  <c:v>0.23</c:v>
                </c:pt>
                <c:pt idx="142">
                  <c:v>0.35</c:v>
                </c:pt>
                <c:pt idx="143">
                  <c:v>0.28000000000000003</c:v>
                </c:pt>
                <c:pt idx="144">
                  <c:v>0.34</c:v>
                </c:pt>
                <c:pt idx="145">
                  <c:v>0.8</c:v>
                </c:pt>
                <c:pt idx="146">
                  <c:v>0.25</c:v>
                </c:pt>
                <c:pt idx="147">
                  <c:v>0.28000000000000003</c:v>
                </c:pt>
                <c:pt idx="148">
                  <c:v>0.43</c:v>
                </c:pt>
                <c:pt idx="149">
                  <c:v>0.73</c:v>
                </c:pt>
                <c:pt idx="150">
                  <c:v>0.42</c:v>
                </c:pt>
                <c:pt idx="151">
                  <c:v>0.2</c:v>
                </c:pt>
                <c:pt idx="152">
                  <c:v>0.5</c:v>
                </c:pt>
                <c:pt idx="153">
                  <c:v>0.2</c:v>
                </c:pt>
                <c:pt idx="154">
                  <c:v>0.5</c:v>
                </c:pt>
                <c:pt idx="155">
                  <c:v>0.19</c:v>
                </c:pt>
                <c:pt idx="156">
                  <c:v>0.32</c:v>
                </c:pt>
                <c:pt idx="157">
                  <c:v>0.2</c:v>
                </c:pt>
                <c:pt idx="158">
                  <c:v>0.26</c:v>
                </c:pt>
                <c:pt idx="159">
                  <c:v>0.21</c:v>
                </c:pt>
                <c:pt idx="160">
                  <c:v>0.05</c:v>
                </c:pt>
                <c:pt idx="161">
                  <c:v>0.44</c:v>
                </c:pt>
                <c:pt idx="162">
                  <c:v>0.33</c:v>
                </c:pt>
                <c:pt idx="163">
                  <c:v>0.12</c:v>
                </c:pt>
                <c:pt idx="164">
                  <c:v>0.16</c:v>
                </c:pt>
                <c:pt idx="165">
                  <c:v>0.85</c:v>
                </c:pt>
                <c:pt idx="166">
                  <c:v>0.14000000000000001</c:v>
                </c:pt>
                <c:pt idx="167">
                  <c:v>0.53</c:v>
                </c:pt>
                <c:pt idx="168">
                  <c:v>0.24</c:v>
                </c:pt>
                <c:pt idx="169">
                  <c:v>0.05</c:v>
                </c:pt>
                <c:pt idx="170">
                  <c:v>0.44</c:v>
                </c:pt>
                <c:pt idx="171">
                  <c:v>0.25</c:v>
                </c:pt>
                <c:pt idx="172">
                  <c:v>0.28000000000000003</c:v>
                </c:pt>
                <c:pt idx="173">
                  <c:v>0.13</c:v>
                </c:pt>
                <c:pt idx="174">
                  <c:v>0.13</c:v>
                </c:pt>
                <c:pt idx="175">
                  <c:v>0.14000000000000001</c:v>
                </c:pt>
                <c:pt idx="176">
                  <c:v>0.28000000000000003</c:v>
                </c:pt>
                <c:pt idx="177">
                  <c:v>0.33</c:v>
                </c:pt>
                <c:pt idx="178">
                  <c:v>0.2</c:v>
                </c:pt>
                <c:pt idx="179">
                  <c:v>0.31</c:v>
                </c:pt>
                <c:pt idx="180">
                  <c:v>0.18</c:v>
                </c:pt>
                <c:pt idx="181">
                  <c:v>0.17</c:v>
                </c:pt>
                <c:pt idx="182">
                  <c:v>0.16</c:v>
                </c:pt>
                <c:pt idx="183">
                  <c:v>0.16</c:v>
                </c:pt>
                <c:pt idx="184">
                  <c:v>0.42</c:v>
                </c:pt>
                <c:pt idx="185">
                  <c:v>0.8</c:v>
                </c:pt>
                <c:pt idx="186">
                  <c:v>0.35</c:v>
                </c:pt>
                <c:pt idx="187">
                  <c:v>0.15</c:v>
                </c:pt>
                <c:pt idx="188">
                  <c:v>0.16</c:v>
                </c:pt>
                <c:pt idx="189">
                  <c:v>0.2</c:v>
                </c:pt>
                <c:pt idx="190">
                  <c:v>0.21</c:v>
                </c:pt>
                <c:pt idx="191">
                  <c:v>0.15</c:v>
                </c:pt>
                <c:pt idx="192">
                  <c:v>0.38</c:v>
                </c:pt>
                <c:pt idx="193">
                  <c:v>0.15</c:v>
                </c:pt>
                <c:pt idx="194">
                  <c:v>0.12</c:v>
                </c:pt>
                <c:pt idx="195">
                  <c:v>0.3</c:v>
                </c:pt>
                <c:pt idx="196">
                  <c:v>0.21</c:v>
                </c:pt>
                <c:pt idx="197">
                  <c:v>0.2</c:v>
                </c:pt>
                <c:pt idx="198">
                  <c:v>0.59</c:v>
                </c:pt>
                <c:pt idx="199">
                  <c:v>0.1</c:v>
                </c:pt>
                <c:pt idx="200">
                  <c:v>0.28000000000000003</c:v>
                </c:pt>
                <c:pt idx="201">
                  <c:v>0.17</c:v>
                </c:pt>
                <c:pt idx="202">
                  <c:v>0.17</c:v>
                </c:pt>
                <c:pt idx="203">
                  <c:v>0.21</c:v>
                </c:pt>
                <c:pt idx="204">
                  <c:v>0.15</c:v>
                </c:pt>
                <c:pt idx="205">
                  <c:v>0.33</c:v>
                </c:pt>
                <c:pt idx="206">
                  <c:v>0.17</c:v>
                </c:pt>
                <c:pt idx="207">
                  <c:v>0.21</c:v>
                </c:pt>
                <c:pt idx="208">
                  <c:v>0.24</c:v>
                </c:pt>
                <c:pt idx="209">
                  <c:v>0.17</c:v>
                </c:pt>
                <c:pt idx="210">
                  <c:v>0.26</c:v>
                </c:pt>
                <c:pt idx="211">
                  <c:v>0.25</c:v>
                </c:pt>
                <c:pt idx="212">
                  <c:v>0.2</c:v>
                </c:pt>
                <c:pt idx="213">
                  <c:v>0.18</c:v>
                </c:pt>
                <c:pt idx="214">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351-42C3-B8FF-7A4BA7861502}"/>
              </c:ext>
            </c:extLst>
          </c:dPt>
          <c:dPt>
            <c:idx val="211"/>
            <c:invertIfNegative val="1"/>
            <c:bubble3D val="0"/>
            <c:spPr>
              <a:solidFill>
                <a:srgbClr val="AEABAB"/>
              </a:solidFill>
            </c:spPr>
            <c:extLst>
              <c:ext xmlns:c16="http://schemas.microsoft.com/office/drawing/2014/chart" uri="{C3380CC4-5D6E-409C-BE32-E72D297353CC}">
                <c16:uniqueId val="{000001A9-7351-42C3-B8FF-7A4BA7861502}"/>
              </c:ext>
            </c:extLst>
          </c:dPt>
          <c:dPt>
            <c:idx val="212"/>
            <c:invertIfNegative val="1"/>
            <c:bubble3D val="0"/>
            <c:spPr>
              <a:solidFill>
                <a:srgbClr val="AEABAB"/>
              </a:solidFill>
            </c:spPr>
            <c:extLst>
              <c:ext xmlns:c16="http://schemas.microsoft.com/office/drawing/2014/chart" uri="{C3380CC4-5D6E-409C-BE32-E72D297353CC}">
                <c16:uniqueId val="{000001AB-7351-42C3-B8FF-7A4BA7861502}"/>
              </c:ext>
            </c:extLst>
          </c:dPt>
          <c:dPt>
            <c:idx val="213"/>
            <c:invertIfNegative val="1"/>
            <c:bubble3D val="0"/>
            <c:spPr>
              <a:solidFill>
                <a:srgbClr val="AEABAB"/>
              </a:solidFill>
            </c:spPr>
            <c:extLst>
              <c:ext xmlns:c16="http://schemas.microsoft.com/office/drawing/2014/chart" uri="{C3380CC4-5D6E-409C-BE32-E72D297353CC}">
                <c16:uniqueId val="{000001AD-7351-42C3-B8FF-7A4BA7861502}"/>
              </c:ext>
            </c:extLst>
          </c:dPt>
          <c:dPt>
            <c:idx val="214"/>
            <c:invertIfNegative val="1"/>
            <c:bubble3D val="0"/>
            <c:spPr>
              <a:solidFill>
                <a:srgbClr val="AEABAB"/>
              </a:solidFill>
            </c:spPr>
            <c:extLst>
              <c:ext xmlns:c16="http://schemas.microsoft.com/office/drawing/2014/chart" uri="{C3380CC4-5D6E-409C-BE32-E72D297353CC}">
                <c16:uniqueId val="{000001AF-7351-42C3-B8FF-7A4BA7861502}"/>
              </c:ext>
            </c:extLst>
          </c:dPt>
          <c:cat>
            <c:strRef>
              <c:f>Sheet1!$A$2:$A$216</c:f>
              <c:strCache>
                <c:ptCount val="215"/>
                <c:pt idx="0">
                  <c:v>Ruinart</c:v>
                </c:pt>
                <c:pt idx="1">
                  <c:v>Ruinart</c:v>
                </c:pt>
                <c:pt idx="2">
                  <c:v>Nicolas</c:v>
                </c:pt>
                <c:pt idx="3">
                  <c:v>All Others</c:v>
                </c:pt>
                <c:pt idx="4">
                  <c:v>Deutz</c:v>
                </c:pt>
                <c:pt idx="5">
                  <c:v>Malard</c:v>
                </c:pt>
                <c:pt idx="6">
                  <c:v>Ruinart</c:v>
                </c:pt>
                <c:pt idx="7">
                  <c:v>Canard Duch</c:v>
                </c:pt>
                <c:pt idx="8">
                  <c:v>Heidsieck &amp;</c:v>
                </c:pt>
                <c:pt idx="9">
                  <c:v>Taittinger</c:v>
                </c:pt>
                <c:pt idx="10">
                  <c:v>De Bligny</c:v>
                </c:pt>
                <c:pt idx="11">
                  <c:v>Ayala</c:v>
                </c:pt>
                <c:pt idx="12">
                  <c:v>Deutz</c:v>
                </c:pt>
                <c:pt idx="13">
                  <c:v>Besserat De</c:v>
                </c:pt>
                <c:pt idx="14">
                  <c:v>Patriarche</c:v>
                </c:pt>
                <c:pt idx="15">
                  <c:v>Demoiselle</c:v>
                </c:pt>
                <c:pt idx="16">
                  <c:v>Nicolas Feu</c:v>
                </c:pt>
                <c:pt idx="17">
                  <c:v>Bollinger</c:v>
                </c:pt>
                <c:pt idx="18">
                  <c:v>All Others</c:v>
                </c:pt>
                <c:pt idx="19">
                  <c:v>Perrier Jou</c:v>
                </c:pt>
                <c:pt idx="20">
                  <c:v>Mure</c:v>
                </c:pt>
                <c:pt idx="21">
                  <c:v>Ruinart</c:v>
                </c:pt>
                <c:pt idx="22">
                  <c:v>Malard</c:v>
                </c:pt>
                <c:pt idx="23">
                  <c:v>Taittinger</c:v>
                </c:pt>
                <c:pt idx="24">
                  <c:v>Laurent Per</c:v>
                </c:pt>
                <c:pt idx="25">
                  <c:v>Ruinart</c:v>
                </c:pt>
                <c:pt idx="26">
                  <c:v>Savian</c:v>
                </c:pt>
                <c:pt idx="27">
                  <c:v>All Others</c:v>
                </c:pt>
                <c:pt idx="28">
                  <c:v>Ruinart</c:v>
                </c:pt>
                <c:pt idx="29">
                  <c:v>Laurent Per</c:v>
                </c:pt>
                <c:pt idx="30">
                  <c:v>Malard</c:v>
                </c:pt>
                <c:pt idx="31">
                  <c:v>Deutz</c:v>
                </c:pt>
                <c:pt idx="32">
                  <c:v>Laurent Per</c:v>
                </c:pt>
                <c:pt idx="33">
                  <c:v>Veuve Clicq</c:v>
                </c:pt>
                <c:pt idx="34">
                  <c:v>Nicolas</c:v>
                </c:pt>
                <c:pt idx="35">
                  <c:v>All Others</c:v>
                </c:pt>
                <c:pt idx="36">
                  <c:v>All Others</c:v>
                </c:pt>
                <c:pt idx="37">
                  <c:v>All Others</c:v>
                </c:pt>
                <c:pt idx="38">
                  <c:v>All Others</c:v>
                </c:pt>
                <c:pt idx="39">
                  <c:v>Roederer</c:v>
                </c:pt>
                <c:pt idx="40">
                  <c:v>All Others</c:v>
                </c:pt>
                <c:pt idx="41">
                  <c:v>Moët &amp; Chan</c:v>
                </c:pt>
                <c:pt idx="42">
                  <c:v>Dom Perigno</c:v>
                </c:pt>
                <c:pt idx="43">
                  <c:v>Pommery</c:v>
                </c:pt>
                <c:pt idx="44">
                  <c:v>Vesselle</c:v>
                </c:pt>
                <c:pt idx="45">
                  <c:v>All Others</c:v>
                </c:pt>
                <c:pt idx="46">
                  <c:v>Ruinart</c:v>
                </c:pt>
                <c:pt idx="47">
                  <c:v>Roederer</c:v>
                </c:pt>
                <c:pt idx="48">
                  <c:v>Lyre's</c:v>
                </c:pt>
                <c:pt idx="49">
                  <c:v>Piper Heids</c:v>
                </c:pt>
                <c:pt idx="50">
                  <c:v>Canard Duch</c:v>
                </c:pt>
                <c:pt idx="51">
                  <c:v>Veuve Clicq</c:v>
                </c:pt>
                <c:pt idx="52">
                  <c:v>Canard Duch</c:v>
                </c:pt>
                <c:pt idx="53">
                  <c:v>Ayala</c:v>
                </c:pt>
                <c:pt idx="54">
                  <c:v>Demoiselle</c:v>
                </c:pt>
                <c:pt idx="55">
                  <c:v>Campari: Al</c:v>
                </c:pt>
                <c:pt idx="56">
                  <c:v>Nicolas</c:v>
                </c:pt>
                <c:pt idx="57">
                  <c:v>Krug</c:v>
                </c:pt>
                <c:pt idx="58">
                  <c:v>De Venoge</c:v>
                </c:pt>
                <c:pt idx="59">
                  <c:v>Bollinger</c:v>
                </c:pt>
                <c:pt idx="60">
                  <c:v>Henriot</c:v>
                </c:pt>
                <c:pt idx="61">
                  <c:v>Bottega</c:v>
                </c:pt>
                <c:pt idx="62">
                  <c:v>De Bligny</c:v>
                </c:pt>
                <c:pt idx="63">
                  <c:v>Deutz</c:v>
                </c:pt>
                <c:pt idx="64">
                  <c:v>Nicolas Feu</c:v>
                </c:pt>
                <c:pt idx="65">
                  <c:v>Dom Perigno</c:v>
                </c:pt>
                <c:pt idx="66">
                  <c:v>Malard</c:v>
                </c:pt>
                <c:pt idx="67">
                  <c:v>Canard Duch</c:v>
                </c:pt>
                <c:pt idx="68">
                  <c:v>Ruinart</c:v>
                </c:pt>
                <c:pt idx="69">
                  <c:v>Veuve Clicq</c:v>
                </c:pt>
                <c:pt idx="70">
                  <c:v>Laurent Per</c:v>
                </c:pt>
                <c:pt idx="71">
                  <c:v>Besserat De</c:v>
                </c:pt>
                <c:pt idx="72">
                  <c:v>Malard</c:v>
                </c:pt>
                <c:pt idx="73">
                  <c:v>Henriot</c:v>
                </c:pt>
                <c:pt idx="74">
                  <c:v>All Others</c:v>
                </c:pt>
                <c:pt idx="75">
                  <c:v>Delamotte</c:v>
                </c:pt>
                <c:pt idx="76">
                  <c:v>Patriarche</c:v>
                </c:pt>
                <c:pt idx="77">
                  <c:v>Nicolas</c:v>
                </c:pt>
                <c:pt idx="78">
                  <c:v>Henriot</c:v>
                </c:pt>
                <c:pt idx="79">
                  <c:v>Dom Perigno</c:v>
                </c:pt>
                <c:pt idx="80">
                  <c:v>Lanson</c:v>
                </c:pt>
                <c:pt idx="81">
                  <c:v>Ruinart</c:v>
                </c:pt>
                <c:pt idx="82">
                  <c:v>De Venoge</c:v>
                </c:pt>
                <c:pt idx="83">
                  <c:v>Vranken</c:v>
                </c:pt>
                <c:pt idx="84">
                  <c:v>Chateau Mon</c:v>
                </c:pt>
                <c:pt idx="85">
                  <c:v>Ruinart</c:v>
                </c:pt>
                <c:pt idx="86">
                  <c:v>Nicolas Feu</c:v>
                </c:pt>
                <c:pt idx="87">
                  <c:v>Roederer</c:v>
                </c:pt>
                <c:pt idx="88">
                  <c:v>Moët &amp; Chan</c:v>
                </c:pt>
                <c:pt idx="89">
                  <c:v>Besserat De</c:v>
                </c:pt>
                <c:pt idx="90">
                  <c:v>Nicolas</c:v>
                </c:pt>
                <c:pt idx="91">
                  <c:v>Nicolas Feu</c:v>
                </c:pt>
                <c:pt idx="92">
                  <c:v>Nicolas</c:v>
                </c:pt>
                <c:pt idx="93">
                  <c:v>De Chanceny</c:v>
                </c:pt>
                <c:pt idx="94">
                  <c:v>De Chanceny</c:v>
                </c:pt>
                <c:pt idx="95">
                  <c:v>All Others</c:v>
                </c:pt>
                <c:pt idx="96">
                  <c:v>Cru La Maqu</c:v>
                </c:pt>
                <c:pt idx="97">
                  <c:v>Ruinart</c:v>
                </c:pt>
                <c:pt idx="98">
                  <c:v>Nicolas</c:v>
                </c:pt>
                <c:pt idx="99">
                  <c:v>All Others</c:v>
                </c:pt>
                <c:pt idx="100">
                  <c:v>Perrier Jou</c:v>
                </c:pt>
                <c:pt idx="101">
                  <c:v>Pommery</c:v>
                </c:pt>
                <c:pt idx="102">
                  <c:v>Kriter</c:v>
                </c:pt>
                <c:pt idx="103">
                  <c:v>Roederer</c:v>
                </c:pt>
                <c:pt idx="104">
                  <c:v>Veuve Clicq</c:v>
                </c:pt>
                <c:pt idx="105">
                  <c:v>Ruinart</c:v>
                </c:pt>
                <c:pt idx="106">
                  <c:v>Malard</c:v>
                </c:pt>
                <c:pt idx="107">
                  <c:v>Deutz</c:v>
                </c:pt>
                <c:pt idx="108">
                  <c:v>Roederer</c:v>
                </c:pt>
                <c:pt idx="109">
                  <c:v>De Venoge</c:v>
                </c:pt>
                <c:pt idx="110">
                  <c:v>Vranken</c:v>
                </c:pt>
                <c:pt idx="111">
                  <c:v>Canard Duch</c:v>
                </c:pt>
                <c:pt idx="112">
                  <c:v>Moët &amp; Chan</c:v>
                </c:pt>
                <c:pt idx="113">
                  <c:v>All Others</c:v>
                </c:pt>
                <c:pt idx="114">
                  <c:v>Deutz</c:v>
                </c:pt>
                <c:pt idx="115">
                  <c:v>Louis Marti</c:v>
                </c:pt>
                <c:pt idx="116">
                  <c:v>Savian</c:v>
                </c:pt>
                <c:pt idx="117">
                  <c:v>Bouvet-Ladu</c:v>
                </c:pt>
                <c:pt idx="118">
                  <c:v>Bottega</c:v>
                </c:pt>
                <c:pt idx="119">
                  <c:v>All Others</c:v>
                </c:pt>
                <c:pt idx="120">
                  <c:v>Nicolas</c:v>
                </c:pt>
                <c:pt idx="121">
                  <c:v>Nicolas</c:v>
                </c:pt>
                <c:pt idx="122">
                  <c:v>All Others</c:v>
                </c:pt>
                <c:pt idx="123">
                  <c:v>All Others</c:v>
                </c:pt>
                <c:pt idx="124">
                  <c:v>Roederer</c:v>
                </c:pt>
                <c:pt idx="125">
                  <c:v>Contarini</c:v>
                </c:pt>
                <c:pt idx="126">
                  <c:v>De Venoge</c:v>
                </c:pt>
                <c:pt idx="127">
                  <c:v>Bollinger</c:v>
                </c:pt>
                <c:pt idx="128">
                  <c:v>Roederer</c:v>
                </c:pt>
                <c:pt idx="129">
                  <c:v>Nicolas</c:v>
                </c:pt>
                <c:pt idx="130">
                  <c:v>Campari: Al</c:v>
                </c:pt>
                <c:pt idx="131">
                  <c:v>Pommery</c:v>
                </c:pt>
                <c:pt idx="132">
                  <c:v>Roederer</c:v>
                </c:pt>
                <c:pt idx="133">
                  <c:v>Ruinart</c:v>
                </c:pt>
                <c:pt idx="134">
                  <c:v>Deutz</c:v>
                </c:pt>
                <c:pt idx="135">
                  <c:v>Nicolas</c:v>
                </c:pt>
                <c:pt idx="136">
                  <c:v>Nicolas</c:v>
                </c:pt>
                <c:pt idx="137">
                  <c:v>Pommery</c:v>
                </c:pt>
                <c:pt idx="138">
                  <c:v>Canard Duch</c:v>
                </c:pt>
                <c:pt idx="139">
                  <c:v>Vesselle</c:v>
                </c:pt>
                <c:pt idx="140">
                  <c:v>All Others</c:v>
                </c:pt>
                <c:pt idx="141">
                  <c:v>Roederer</c:v>
                </c:pt>
                <c:pt idx="142">
                  <c:v>Ruinart</c:v>
                </c:pt>
                <c:pt idx="143">
                  <c:v>Demoiselle</c:v>
                </c:pt>
                <c:pt idx="144">
                  <c:v>Contarini</c:v>
                </c:pt>
                <c:pt idx="145">
                  <c:v>Besserat De</c:v>
                </c:pt>
                <c:pt idx="146">
                  <c:v>Lanson</c:v>
                </c:pt>
                <c:pt idx="147">
                  <c:v>Vesselle</c:v>
                </c:pt>
                <c:pt idx="148">
                  <c:v>All Others</c:v>
                </c:pt>
                <c:pt idx="149">
                  <c:v>Nicolas Feu</c:v>
                </c:pt>
                <c:pt idx="150">
                  <c:v>All Others</c:v>
                </c:pt>
                <c:pt idx="151">
                  <c:v>Moët &amp; Chan</c:v>
                </c:pt>
                <c:pt idx="152">
                  <c:v>All Others</c:v>
                </c:pt>
                <c:pt idx="153">
                  <c:v>Perrier Jou</c:v>
                </c:pt>
                <c:pt idx="154">
                  <c:v>Nicolas</c:v>
                </c:pt>
                <c:pt idx="155">
                  <c:v>Taittinger</c:v>
                </c:pt>
                <c:pt idx="156">
                  <c:v>Nicolas</c:v>
                </c:pt>
                <c:pt idx="157">
                  <c:v>Ruinart</c:v>
                </c:pt>
                <c:pt idx="158">
                  <c:v>Nicolas</c:v>
                </c:pt>
                <c:pt idx="159">
                  <c:v>All Others</c:v>
                </c:pt>
                <c:pt idx="160">
                  <c:v>Ruinart</c:v>
                </c:pt>
                <c:pt idx="161">
                  <c:v>Demoiselle</c:v>
                </c:pt>
                <c:pt idx="162">
                  <c:v>Nicolas</c:v>
                </c:pt>
                <c:pt idx="163">
                  <c:v>De Venoge</c:v>
                </c:pt>
                <c:pt idx="164">
                  <c:v>All Others</c:v>
                </c:pt>
                <c:pt idx="165">
                  <c:v>Canard Duch</c:v>
                </c:pt>
                <c:pt idx="166">
                  <c:v>Ruinart</c:v>
                </c:pt>
                <c:pt idx="167">
                  <c:v>All Others</c:v>
                </c:pt>
                <c:pt idx="168">
                  <c:v>Ayala</c:v>
                </c:pt>
                <c:pt idx="169">
                  <c:v>Veuve Clicq</c:v>
                </c:pt>
                <c:pt idx="170">
                  <c:v>All Others</c:v>
                </c:pt>
                <c:pt idx="171">
                  <c:v>Laurent Per</c:v>
                </c:pt>
                <c:pt idx="172">
                  <c:v>All Others</c:v>
                </c:pt>
                <c:pt idx="173">
                  <c:v>Ruinart</c:v>
                </c:pt>
                <c:pt idx="174">
                  <c:v>Laurent Per</c:v>
                </c:pt>
                <c:pt idx="175">
                  <c:v>Malard</c:v>
                </c:pt>
                <c:pt idx="176">
                  <c:v>Roederer</c:v>
                </c:pt>
                <c:pt idx="177">
                  <c:v>Ayala</c:v>
                </c:pt>
                <c:pt idx="178">
                  <c:v>Louis Marti</c:v>
                </c:pt>
                <c:pt idx="179">
                  <c:v>Laurent Per</c:v>
                </c:pt>
                <c:pt idx="180">
                  <c:v>Nicolas</c:v>
                </c:pt>
                <c:pt idx="181">
                  <c:v>Bouvet-Ladu</c:v>
                </c:pt>
                <c:pt idx="182">
                  <c:v>All Others</c:v>
                </c:pt>
                <c:pt idx="183">
                  <c:v>Delamotte</c:v>
                </c:pt>
                <c:pt idx="184">
                  <c:v>All Others</c:v>
                </c:pt>
                <c:pt idx="185">
                  <c:v>All Others</c:v>
                </c:pt>
                <c:pt idx="186">
                  <c:v>All Others</c:v>
                </c:pt>
                <c:pt idx="187">
                  <c:v>Nicolas</c:v>
                </c:pt>
                <c:pt idx="188">
                  <c:v>Besserat De</c:v>
                </c:pt>
                <c:pt idx="189">
                  <c:v>Moët &amp; Chan</c:v>
                </c:pt>
                <c:pt idx="190">
                  <c:v>Laurent Per</c:v>
                </c:pt>
                <c:pt idx="191">
                  <c:v>All Others</c:v>
                </c:pt>
                <c:pt idx="192">
                  <c:v>Roederer</c:v>
                </c:pt>
                <c:pt idx="193">
                  <c:v>Ruinart</c:v>
                </c:pt>
                <c:pt idx="194">
                  <c:v>Henriot</c:v>
                </c:pt>
                <c:pt idx="195">
                  <c:v>Roederer</c:v>
                </c:pt>
                <c:pt idx="196">
                  <c:v>All Others</c:v>
                </c:pt>
                <c:pt idx="197">
                  <c:v>Nicolas</c:v>
                </c:pt>
                <c:pt idx="198">
                  <c:v>All Others</c:v>
                </c:pt>
                <c:pt idx="199">
                  <c:v>All Others</c:v>
                </c:pt>
                <c:pt idx="200">
                  <c:v>All Others</c:v>
                </c:pt>
                <c:pt idx="201">
                  <c:v>De Venoge</c:v>
                </c:pt>
                <c:pt idx="202">
                  <c:v>Henriot</c:v>
                </c:pt>
                <c:pt idx="203">
                  <c:v>Pommery</c:v>
                </c:pt>
                <c:pt idx="204">
                  <c:v>Henriot</c:v>
                </c:pt>
                <c:pt idx="205">
                  <c:v>Celene</c:v>
                </c:pt>
                <c:pt idx="206">
                  <c:v>Nicolas Feu</c:v>
                </c:pt>
                <c:pt idx="207">
                  <c:v>Canard Duch</c:v>
                </c:pt>
                <c:pt idx="208">
                  <c:v>All Others</c:v>
                </c:pt>
                <c:pt idx="209">
                  <c:v>Nicolas</c:v>
                </c:pt>
                <c:pt idx="210">
                  <c:v>Piper Heids</c:v>
                </c:pt>
                <c:pt idx="211">
                  <c:v>Celene</c:v>
                </c:pt>
                <c:pt idx="212">
                  <c:v>Pommery</c:v>
                </c:pt>
                <c:pt idx="213">
                  <c:v>All Others</c:v>
                </c:pt>
                <c:pt idx="214">
                  <c:v>All Others</c:v>
                </c:pt>
              </c:strCache>
            </c:strRef>
          </c:cat>
          <c:val>
            <c:numRef>
              <c:f>Sheet1!$C$2:$C$216</c:f>
              <c:numCache>
                <c:formatCode>General</c:formatCode>
                <c:ptCount val="215"/>
                <c:pt idx="0">
                  <c:v>0.13200052236059501</c:v>
                </c:pt>
                <c:pt idx="1">
                  <c:v>0.20988686144385216</c:v>
                </c:pt>
                <c:pt idx="2">
                  <c:v>0.25276316882931865</c:v>
                </c:pt>
                <c:pt idx="3">
                  <c:v>0.28519701304714301</c:v>
                </c:pt>
                <c:pt idx="4">
                  <c:v>0.30787221160352829</c:v>
                </c:pt>
                <c:pt idx="5">
                  <c:v>0.33018413210974318</c:v>
                </c:pt>
                <c:pt idx="6">
                  <c:v>0.35187871736730258</c:v>
                </c:pt>
                <c:pt idx="7">
                  <c:v>0.37279213609867867</c:v>
                </c:pt>
                <c:pt idx="8">
                  <c:v>0.39304785535360254</c:v>
                </c:pt>
                <c:pt idx="9">
                  <c:v>0.4126957368252348</c:v>
                </c:pt>
                <c:pt idx="10">
                  <c:v>0.4322011563164081</c:v>
                </c:pt>
                <c:pt idx="11">
                  <c:v>0.45078532166728008</c:v>
                </c:pt>
                <c:pt idx="12">
                  <c:v>0.4679187491838116</c:v>
                </c:pt>
                <c:pt idx="13">
                  <c:v>0.48400745551031071</c:v>
                </c:pt>
                <c:pt idx="14">
                  <c:v>0.50006529507437703</c:v>
                </c:pt>
                <c:pt idx="15">
                  <c:v>0.51318841784098868</c:v>
                </c:pt>
                <c:pt idx="16">
                  <c:v>0.52603373974570533</c:v>
                </c:pt>
                <c:pt idx="17">
                  <c:v>0.53803378723303219</c:v>
                </c:pt>
                <c:pt idx="18">
                  <c:v>0.5487635487279332</c:v>
                </c:pt>
                <c:pt idx="19">
                  <c:v>0.55941020740089986</c:v>
                </c:pt>
                <c:pt idx="20">
                  <c:v>0.5693516792705946</c:v>
                </c:pt>
                <c:pt idx="21">
                  <c:v>0.57831253784146353</c:v>
                </c:pt>
                <c:pt idx="22">
                  <c:v>0.58705970344164393</c:v>
                </c:pt>
                <c:pt idx="23">
                  <c:v>0.59576650481402771</c:v>
                </c:pt>
                <c:pt idx="24">
                  <c:v>0.60441632139422785</c:v>
                </c:pt>
                <c:pt idx="25">
                  <c:v>0.61268386499352978</c:v>
                </c:pt>
                <c:pt idx="26">
                  <c:v>0.62053589448315971</c:v>
                </c:pt>
                <c:pt idx="27">
                  <c:v>0.62825733382403559</c:v>
                </c:pt>
                <c:pt idx="28">
                  <c:v>0.63581494188738363</c:v>
                </c:pt>
                <c:pt idx="29">
                  <c:v>0.64328232402977437</c:v>
                </c:pt>
                <c:pt idx="30">
                  <c:v>0.65071409067705033</c:v>
                </c:pt>
                <c:pt idx="31">
                  <c:v>0.65803901083898209</c:v>
                </c:pt>
                <c:pt idx="32">
                  <c:v>0.66534731043652695</c:v>
                </c:pt>
                <c:pt idx="33">
                  <c:v>0.6726128714399342</c:v>
                </c:pt>
                <c:pt idx="34">
                  <c:v>0.67948903636342028</c:v>
                </c:pt>
                <c:pt idx="35">
                  <c:v>0.68625835480156205</c:v>
                </c:pt>
                <c:pt idx="36">
                  <c:v>0.69287096506119905</c:v>
                </c:pt>
                <c:pt idx="37">
                  <c:v>0.6993980981325606</c:v>
                </c:pt>
                <c:pt idx="38">
                  <c:v>0.70575902556005343</c:v>
                </c:pt>
                <c:pt idx="39">
                  <c:v>0.71211045552218233</c:v>
                </c:pt>
                <c:pt idx="40">
                  <c:v>0.71839065449408168</c:v>
                </c:pt>
                <c:pt idx="41">
                  <c:v>0.72434793964360744</c:v>
                </c:pt>
                <c:pt idx="42">
                  <c:v>0.73013901914926438</c:v>
                </c:pt>
                <c:pt idx="43">
                  <c:v>0.73590872935785245</c:v>
                </c:pt>
                <c:pt idx="44">
                  <c:v>0.74166894210107659</c:v>
                </c:pt>
                <c:pt idx="45">
                  <c:v>0.74711573848729107</c:v>
                </c:pt>
                <c:pt idx="46">
                  <c:v>0.75205442047653515</c:v>
                </c:pt>
                <c:pt idx="47">
                  <c:v>0.75692899457457274</c:v>
                </c:pt>
                <c:pt idx="48">
                  <c:v>0.7617940712072464</c:v>
                </c:pt>
                <c:pt idx="49">
                  <c:v>0.76649056782971026</c:v>
                </c:pt>
                <c:pt idx="50">
                  <c:v>0.77116332078876426</c:v>
                </c:pt>
                <c:pt idx="51">
                  <c:v>0.77579570952002164</c:v>
                </c:pt>
                <c:pt idx="52">
                  <c:v>0.78036636472641341</c:v>
                </c:pt>
                <c:pt idx="53">
                  <c:v>0.7848895326059856</c:v>
                </c:pt>
                <c:pt idx="54">
                  <c:v>0.7893628387923971</c:v>
                </c:pt>
                <c:pt idx="55">
                  <c:v>0.79381952441442172</c:v>
                </c:pt>
                <c:pt idx="56">
                  <c:v>0.79814087115501031</c:v>
                </c:pt>
                <c:pt idx="57">
                  <c:v>0.80234587394489076</c:v>
                </c:pt>
                <c:pt idx="58">
                  <c:v>0.80647964574454178</c:v>
                </c:pt>
                <c:pt idx="59">
                  <c:v>0.81060154571248788</c:v>
                </c:pt>
                <c:pt idx="60">
                  <c:v>0.81465458905654542</c:v>
                </c:pt>
                <c:pt idx="61">
                  <c:v>0.81863877577671451</c:v>
                </c:pt>
                <c:pt idx="62">
                  <c:v>0.82259447010079179</c:v>
                </c:pt>
                <c:pt idx="63">
                  <c:v>0.82653116949414118</c:v>
                </c:pt>
                <c:pt idx="64">
                  <c:v>0.8304037609962841</c:v>
                </c:pt>
                <c:pt idx="65">
                  <c:v>0.83425023446867619</c:v>
                </c:pt>
                <c:pt idx="66">
                  <c:v>0.83808483610936335</c:v>
                </c:pt>
                <c:pt idx="67">
                  <c:v>0.84190756591834559</c:v>
                </c:pt>
                <c:pt idx="68">
                  <c:v>0.84556409008345901</c:v>
                </c:pt>
                <c:pt idx="69">
                  <c:v>0.84920161931784455</c:v>
                </c:pt>
                <c:pt idx="70">
                  <c:v>0.85274892263127278</c:v>
                </c:pt>
                <c:pt idx="71">
                  <c:v>0.85622974368715354</c:v>
                </c:pt>
                <c:pt idx="72">
                  <c:v>0.85953248726746057</c:v>
                </c:pt>
                <c:pt idx="73">
                  <c:v>0.86281623591703971</c:v>
                </c:pt>
                <c:pt idx="74">
                  <c:v>0.86594802512079594</c:v>
                </c:pt>
                <c:pt idx="75">
                  <c:v>0.86906794249284725</c:v>
                </c:pt>
                <c:pt idx="76">
                  <c:v>0.87211188014198715</c:v>
                </c:pt>
                <c:pt idx="77">
                  <c:v>0.87511307919698933</c:v>
                </c:pt>
                <c:pt idx="78">
                  <c:v>0.87807391402419477</c:v>
                </c:pt>
                <c:pt idx="79">
                  <c:v>0.88092077926703305</c:v>
                </c:pt>
                <c:pt idx="80">
                  <c:v>0.88374152648012061</c:v>
                </c:pt>
                <c:pt idx="81">
                  <c:v>0.88652903256443438</c:v>
                </c:pt>
                <c:pt idx="82">
                  <c:v>0.88911471750976456</c:v>
                </c:pt>
                <c:pt idx="83">
                  <c:v>0.89169565372241277</c:v>
                </c:pt>
                <c:pt idx="84">
                  <c:v>0.89420061021214958</c:v>
                </c:pt>
                <c:pt idx="85">
                  <c:v>0.89641589400828647</c:v>
                </c:pt>
                <c:pt idx="86">
                  <c:v>0.89858843921028564</c:v>
                </c:pt>
                <c:pt idx="87">
                  <c:v>0.90073724074887507</c:v>
                </c:pt>
                <c:pt idx="88">
                  <c:v>0.90288129355478253</c:v>
                </c:pt>
                <c:pt idx="89">
                  <c:v>0.90489475621193594</c:v>
                </c:pt>
                <c:pt idx="90">
                  <c:v>0.90688922393836147</c:v>
                </c:pt>
                <c:pt idx="91">
                  <c:v>0.9088362043379673</c:v>
                </c:pt>
                <c:pt idx="92">
                  <c:v>0.91077843600489117</c:v>
                </c:pt>
                <c:pt idx="93">
                  <c:v>0.91271829330547405</c:v>
                </c:pt>
                <c:pt idx="94">
                  <c:v>0.91463678130898807</c:v>
                </c:pt>
                <c:pt idx="95">
                  <c:v>0.91651015635202349</c:v>
                </c:pt>
                <c:pt idx="96">
                  <c:v>0.91838115702871792</c:v>
                </c:pt>
                <c:pt idx="97">
                  <c:v>0.92024740897273039</c:v>
                </c:pt>
                <c:pt idx="98">
                  <c:v>0.92210891218406088</c:v>
                </c:pt>
                <c:pt idx="99">
                  <c:v>0.92383745088029634</c:v>
                </c:pt>
                <c:pt idx="100">
                  <c:v>0.92553274844775801</c:v>
                </c:pt>
                <c:pt idx="101">
                  <c:v>0.92722329728253772</c:v>
                </c:pt>
                <c:pt idx="102">
                  <c:v>0.92890909738463545</c:v>
                </c:pt>
                <c:pt idx="103">
                  <c:v>0.93057352818966432</c:v>
                </c:pt>
                <c:pt idx="104">
                  <c:v>0.93221896406396532</c:v>
                </c:pt>
                <c:pt idx="105">
                  <c:v>0.933774174017309</c:v>
                </c:pt>
                <c:pt idx="106">
                  <c:v>0.93532463523797071</c:v>
                </c:pt>
                <c:pt idx="107">
                  <c:v>0.93686085026058652</c:v>
                </c:pt>
                <c:pt idx="108">
                  <c:v>0.93836144978808766</c:v>
                </c:pt>
                <c:pt idx="109">
                  <c:v>0.93983830565217896</c:v>
                </c:pt>
                <c:pt idx="110">
                  <c:v>0.94129616658554238</c:v>
                </c:pt>
                <c:pt idx="111">
                  <c:v>0.94272790948915497</c:v>
                </c:pt>
                <c:pt idx="112">
                  <c:v>0.94412878563033475</c:v>
                </c:pt>
                <c:pt idx="113">
                  <c:v>0.94547980007835397</c:v>
                </c:pt>
                <c:pt idx="114">
                  <c:v>0.94683081452637319</c:v>
                </c:pt>
                <c:pt idx="115">
                  <c:v>0.94813671601391369</c:v>
                </c:pt>
                <c:pt idx="116">
                  <c:v>0.94942837130340829</c:v>
                </c:pt>
                <c:pt idx="117">
                  <c:v>0.95070578039485698</c:v>
                </c:pt>
                <c:pt idx="118">
                  <c:v>0.9519784407536237</c:v>
                </c:pt>
                <c:pt idx="119">
                  <c:v>0.95323685491434451</c:v>
                </c:pt>
                <c:pt idx="120">
                  <c:v>0.95449289470872434</c:v>
                </c:pt>
                <c:pt idx="121">
                  <c:v>0.95571569337433049</c:v>
                </c:pt>
                <c:pt idx="122">
                  <c:v>0.95693136894091368</c:v>
                </c:pt>
                <c:pt idx="123">
                  <c:v>0.95813279830945097</c:v>
                </c:pt>
                <c:pt idx="124">
                  <c:v>0.95930573528189644</c:v>
                </c:pt>
                <c:pt idx="125">
                  <c:v>0.96047154915531896</c:v>
                </c:pt>
                <c:pt idx="126">
                  <c:v>0.96159937316728572</c:v>
                </c:pt>
                <c:pt idx="127">
                  <c:v>0.96272007408022953</c:v>
                </c:pt>
                <c:pt idx="128">
                  <c:v>0.96377904146830784</c:v>
                </c:pt>
                <c:pt idx="129">
                  <c:v>0.96483563449004517</c:v>
                </c:pt>
                <c:pt idx="130">
                  <c:v>0.96587798131373659</c:v>
                </c:pt>
                <c:pt idx="131">
                  <c:v>0.96687996390963127</c:v>
                </c:pt>
                <c:pt idx="132">
                  <c:v>0.96783445917870636</c:v>
                </c:pt>
                <c:pt idx="133">
                  <c:v>0.96874384148730275</c:v>
                </c:pt>
                <c:pt idx="134">
                  <c:v>0.96964372633053519</c:v>
                </c:pt>
                <c:pt idx="135">
                  <c:v>0.97052224187669878</c:v>
                </c:pt>
                <c:pt idx="136">
                  <c:v>0.97139838305652138</c:v>
                </c:pt>
                <c:pt idx="137">
                  <c:v>0.97220091887977356</c:v>
                </c:pt>
                <c:pt idx="138">
                  <c:v>0.97298683413863885</c:v>
                </c:pt>
                <c:pt idx="139">
                  <c:v>0.97376325193214019</c:v>
                </c:pt>
                <c:pt idx="140">
                  <c:v>0.97453966972564154</c:v>
                </c:pt>
                <c:pt idx="141">
                  <c:v>0.97519974356843475</c:v>
                </c:pt>
                <c:pt idx="142">
                  <c:v>0.97585981741122796</c:v>
                </c:pt>
                <c:pt idx="143">
                  <c:v>0.97651276815499821</c:v>
                </c:pt>
                <c:pt idx="144">
                  <c:v>0.9771609701660865</c:v>
                </c:pt>
                <c:pt idx="145">
                  <c:v>0.97780204907815182</c:v>
                </c:pt>
                <c:pt idx="146">
                  <c:v>0.97842650742583026</c:v>
                </c:pt>
                <c:pt idx="147">
                  <c:v>0.9790509657735087</c:v>
                </c:pt>
                <c:pt idx="148">
                  <c:v>0.97966592665582319</c:v>
                </c:pt>
                <c:pt idx="149">
                  <c:v>0.98027851317179671</c:v>
                </c:pt>
                <c:pt idx="150">
                  <c:v>0.98088635095508825</c:v>
                </c:pt>
                <c:pt idx="151">
                  <c:v>0.98147994254033388</c:v>
                </c:pt>
                <c:pt idx="152">
                  <c:v>0.98206641102655667</c:v>
                </c:pt>
                <c:pt idx="153">
                  <c:v>0.98265050514643848</c:v>
                </c:pt>
                <c:pt idx="154">
                  <c:v>0.98321797870193339</c:v>
                </c:pt>
                <c:pt idx="155">
                  <c:v>0.98376645732670043</c:v>
                </c:pt>
                <c:pt idx="156">
                  <c:v>0.98431018721878549</c:v>
                </c:pt>
                <c:pt idx="157">
                  <c:v>0.98483967091282465</c:v>
                </c:pt>
                <c:pt idx="158">
                  <c:v>0.98536678024052282</c:v>
                </c:pt>
                <c:pt idx="159">
                  <c:v>0.98589151520188001</c:v>
                </c:pt>
                <c:pt idx="160">
                  <c:v>0.98640437833153227</c:v>
                </c:pt>
                <c:pt idx="161">
                  <c:v>0.98691486709484355</c:v>
                </c:pt>
                <c:pt idx="162">
                  <c:v>0.98738736599669907</c:v>
                </c:pt>
                <c:pt idx="163">
                  <c:v>0.98785036743319066</c:v>
                </c:pt>
                <c:pt idx="164">
                  <c:v>0.98829912267163644</c:v>
                </c:pt>
                <c:pt idx="165">
                  <c:v>0.98874787791008223</c:v>
                </c:pt>
                <c:pt idx="166">
                  <c:v>0.98917526385145915</c:v>
                </c:pt>
                <c:pt idx="167">
                  <c:v>0.98959552669381312</c:v>
                </c:pt>
                <c:pt idx="168">
                  <c:v>0.99001104080348512</c:v>
                </c:pt>
                <c:pt idx="169">
                  <c:v>0.99042655491315712</c:v>
                </c:pt>
                <c:pt idx="170">
                  <c:v>0.99083969465648813</c:v>
                </c:pt>
                <c:pt idx="171">
                  <c:v>0.99124808566713718</c:v>
                </c:pt>
                <c:pt idx="172">
                  <c:v>0.99163035864803539</c:v>
                </c:pt>
                <c:pt idx="173">
                  <c:v>0.99197701613381883</c:v>
                </c:pt>
                <c:pt idx="174">
                  <c:v>0.99232367361960228</c:v>
                </c:pt>
                <c:pt idx="175">
                  <c:v>0.99266320800636276</c:v>
                </c:pt>
                <c:pt idx="176">
                  <c:v>0.99299087056141844</c:v>
                </c:pt>
                <c:pt idx="177">
                  <c:v>0.99331378438379214</c:v>
                </c:pt>
                <c:pt idx="178">
                  <c:v>0.993612954542756</c:v>
                </c:pt>
                <c:pt idx="179">
                  <c:v>0.9939050016026969</c:v>
                </c:pt>
                <c:pt idx="180">
                  <c:v>0.9941828024645919</c:v>
                </c:pt>
                <c:pt idx="181">
                  <c:v>0.99445348022746394</c:v>
                </c:pt>
                <c:pt idx="182">
                  <c:v>0.99471940925765401</c:v>
                </c:pt>
                <c:pt idx="183">
                  <c:v>0.99498058955516211</c:v>
                </c:pt>
                <c:pt idx="184">
                  <c:v>0.99524176985267021</c:v>
                </c:pt>
                <c:pt idx="185">
                  <c:v>0.99550057578383733</c:v>
                </c:pt>
                <c:pt idx="186">
                  <c:v>0.99575938171500444</c:v>
                </c:pt>
                <c:pt idx="187">
                  <c:v>0.99601581327983058</c:v>
                </c:pt>
                <c:pt idx="188">
                  <c:v>0.99626987047831572</c:v>
                </c:pt>
                <c:pt idx="189">
                  <c:v>0.99650730711241398</c:v>
                </c:pt>
                <c:pt idx="190">
                  <c:v>0.99674474374651223</c:v>
                </c:pt>
                <c:pt idx="191">
                  <c:v>0.9969798060142695</c:v>
                </c:pt>
                <c:pt idx="192">
                  <c:v>0.99720537081666283</c:v>
                </c:pt>
                <c:pt idx="193">
                  <c:v>0.99740719195564631</c:v>
                </c:pt>
                <c:pt idx="194">
                  <c:v>0.99760663872828881</c:v>
                </c:pt>
                <c:pt idx="195">
                  <c:v>0.99780133676824945</c:v>
                </c:pt>
                <c:pt idx="196">
                  <c:v>0.9979936604418691</c:v>
                </c:pt>
                <c:pt idx="197">
                  <c:v>0.99817173791744285</c:v>
                </c:pt>
                <c:pt idx="198">
                  <c:v>0.99834031792765265</c:v>
                </c:pt>
                <c:pt idx="199">
                  <c:v>0.99849940047249852</c:v>
                </c:pt>
                <c:pt idx="200">
                  <c:v>0.9986561086510034</c:v>
                </c:pt>
                <c:pt idx="201">
                  <c:v>0.99879857063146238</c:v>
                </c:pt>
                <c:pt idx="202">
                  <c:v>0.9989339095128984</c:v>
                </c:pt>
                <c:pt idx="203">
                  <c:v>0.99906924839433442</c:v>
                </c:pt>
                <c:pt idx="204">
                  <c:v>0.99919271544406552</c:v>
                </c:pt>
                <c:pt idx="205">
                  <c:v>0.99929956192940972</c:v>
                </c:pt>
                <c:pt idx="206">
                  <c:v>0.99940403404841294</c:v>
                </c:pt>
                <c:pt idx="207">
                  <c:v>0.99950375743473419</c:v>
                </c:pt>
                <c:pt idx="208">
                  <c:v>0.9995939833556915</c:v>
                </c:pt>
                <c:pt idx="209">
                  <c:v>0.99968183491030782</c:v>
                </c:pt>
                <c:pt idx="210">
                  <c:v>0.99976493773224218</c:v>
                </c:pt>
                <c:pt idx="211">
                  <c:v>0.99983616872247161</c:v>
                </c:pt>
                <c:pt idx="212">
                  <c:v>0.99990265098001907</c:v>
                </c:pt>
                <c:pt idx="213">
                  <c:v>0.99995251267317975</c:v>
                </c:pt>
                <c:pt idx="214">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6</c:f>
              <c:strCache>
                <c:ptCount val="255"/>
                <c:pt idx="0">
                  <c:v>Ruinart</c:v>
                </c:pt>
                <c:pt idx="1">
                  <c:v>Nicolas</c:v>
                </c:pt>
                <c:pt idx="2">
                  <c:v>Deutz</c:v>
                </c:pt>
                <c:pt idx="3">
                  <c:v>Heidsieck &amp;</c:v>
                </c:pt>
                <c:pt idx="4">
                  <c:v>Ruinart</c:v>
                </c:pt>
                <c:pt idx="5">
                  <c:v>Ayala</c:v>
                </c:pt>
                <c:pt idx="6">
                  <c:v>De Bligny</c:v>
                </c:pt>
                <c:pt idx="7">
                  <c:v>Malard</c:v>
                </c:pt>
                <c:pt idx="8">
                  <c:v>Ruinart</c:v>
                </c:pt>
                <c:pt idx="9">
                  <c:v>Ruinart</c:v>
                </c:pt>
                <c:pt idx="10">
                  <c:v>Laurent Per</c:v>
                </c:pt>
                <c:pt idx="11">
                  <c:v>Bollinger</c:v>
                </c:pt>
                <c:pt idx="12">
                  <c:v>Deutz</c:v>
                </c:pt>
                <c:pt idx="13">
                  <c:v>Besserat De</c:v>
                </c:pt>
                <c:pt idx="14">
                  <c:v>Canard Duch</c:v>
                </c:pt>
                <c:pt idx="15">
                  <c:v>Ruinart</c:v>
                </c:pt>
                <c:pt idx="16">
                  <c:v>Taittinger</c:v>
                </c:pt>
                <c:pt idx="17">
                  <c:v>Dom Perigno</c:v>
                </c:pt>
                <c:pt idx="18">
                  <c:v>Nicolas Feu</c:v>
                </c:pt>
                <c:pt idx="19">
                  <c:v>Ruinart</c:v>
                </c:pt>
                <c:pt idx="20">
                  <c:v>Campari: Al</c:v>
                </c:pt>
                <c:pt idx="21">
                  <c:v>Ruinart</c:v>
                </c:pt>
                <c:pt idx="22">
                  <c:v>Demoiselle</c:v>
                </c:pt>
                <c:pt idx="23">
                  <c:v>Dom Perigno</c:v>
                </c:pt>
                <c:pt idx="24">
                  <c:v>Pommery</c:v>
                </c:pt>
                <c:pt idx="25">
                  <c:v>Perrier Jou</c:v>
                </c:pt>
                <c:pt idx="26">
                  <c:v>Laurent Per</c:v>
                </c:pt>
                <c:pt idx="27">
                  <c:v>Savian</c:v>
                </c:pt>
                <c:pt idx="28">
                  <c:v>Roederer</c:v>
                </c:pt>
                <c:pt idx="29">
                  <c:v>All Others</c:v>
                </c:pt>
                <c:pt idx="30">
                  <c:v>Deutz</c:v>
                </c:pt>
                <c:pt idx="31">
                  <c:v>Laurent Per</c:v>
                </c:pt>
                <c:pt idx="32">
                  <c:v>Moët &amp; Chan</c:v>
                </c:pt>
                <c:pt idx="33">
                  <c:v>Roederer</c:v>
                </c:pt>
                <c:pt idx="34">
                  <c:v>Malard</c:v>
                </c:pt>
                <c:pt idx="35">
                  <c:v>Ruinart</c:v>
                </c:pt>
                <c:pt idx="36">
                  <c:v>Vesselle</c:v>
                </c:pt>
                <c:pt idx="37">
                  <c:v>Louis Marti</c:v>
                </c:pt>
                <c:pt idx="38">
                  <c:v>Veuve Clicq</c:v>
                </c:pt>
                <c:pt idx="39">
                  <c:v>Taittinger</c:v>
                </c:pt>
                <c:pt idx="40">
                  <c:v>Nicolas</c:v>
                </c:pt>
                <c:pt idx="41">
                  <c:v>Veuve Clicq</c:v>
                </c:pt>
                <c:pt idx="42">
                  <c:v>Roederer</c:v>
                </c:pt>
                <c:pt idx="43">
                  <c:v>Henriot</c:v>
                </c:pt>
                <c:pt idx="44">
                  <c:v>Besserat De</c:v>
                </c:pt>
                <c:pt idx="45">
                  <c:v>Campari: Al</c:v>
                </c:pt>
                <c:pt idx="46">
                  <c:v>Krug</c:v>
                </c:pt>
                <c:pt idx="47">
                  <c:v>Demoiselle</c:v>
                </c:pt>
                <c:pt idx="48">
                  <c:v>Nicolas</c:v>
                </c:pt>
                <c:pt idx="49">
                  <c:v>Nicolas</c:v>
                </c:pt>
                <c:pt idx="50">
                  <c:v>Ruinart</c:v>
                </c:pt>
                <c:pt idx="51">
                  <c:v>Deutz</c:v>
                </c:pt>
                <c:pt idx="52">
                  <c:v>All Others</c:v>
                </c:pt>
                <c:pt idx="53">
                  <c:v>Delamotte</c:v>
                </c:pt>
                <c:pt idx="54">
                  <c:v>All Others</c:v>
                </c:pt>
                <c:pt idx="55">
                  <c:v>Canard Duch</c:v>
                </c:pt>
                <c:pt idx="56">
                  <c:v>Lanson</c:v>
                </c:pt>
                <c:pt idx="57">
                  <c:v>Pommery</c:v>
                </c:pt>
                <c:pt idx="58">
                  <c:v>Bollinger</c:v>
                </c:pt>
                <c:pt idx="59">
                  <c:v>Besserat De</c:v>
                </c:pt>
                <c:pt idx="60">
                  <c:v>Veuve Clicq</c:v>
                </c:pt>
                <c:pt idx="61">
                  <c:v>Henriot</c:v>
                </c:pt>
                <c:pt idx="62">
                  <c:v>De Bligny</c:v>
                </c:pt>
                <c:pt idx="63">
                  <c:v>Malard</c:v>
                </c:pt>
                <c:pt idx="64">
                  <c:v>Ruinart</c:v>
                </c:pt>
                <c:pt idx="65">
                  <c:v>Nicolas Feu</c:v>
                </c:pt>
                <c:pt idx="66">
                  <c:v>Roederer</c:v>
                </c:pt>
                <c:pt idx="67">
                  <c:v>Laurent Per</c:v>
                </c:pt>
                <c:pt idx="68">
                  <c:v>Ruinart</c:v>
                </c:pt>
                <c:pt idx="69">
                  <c:v>Canard Duch</c:v>
                </c:pt>
                <c:pt idx="70">
                  <c:v>Nicolas Feu</c:v>
                </c:pt>
                <c:pt idx="71">
                  <c:v>Malard</c:v>
                </c:pt>
                <c:pt idx="72">
                  <c:v>Piper Heids</c:v>
                </c:pt>
                <c:pt idx="73">
                  <c:v>Nicolas Feu</c:v>
                </c:pt>
                <c:pt idx="74">
                  <c:v>Ayala</c:v>
                </c:pt>
                <c:pt idx="75">
                  <c:v>Malard</c:v>
                </c:pt>
                <c:pt idx="76">
                  <c:v>De Venoge</c:v>
                </c:pt>
                <c:pt idx="77">
                  <c:v>Henriot</c:v>
                </c:pt>
                <c:pt idx="78">
                  <c:v>Moët &amp; Chan</c:v>
                </c:pt>
                <c:pt idx="79">
                  <c:v>Dom Perigno</c:v>
                </c:pt>
                <c:pt idx="80">
                  <c:v>Moët &amp; Chan</c:v>
                </c:pt>
                <c:pt idx="81">
                  <c:v>Nicolas</c:v>
                </c:pt>
                <c:pt idx="82">
                  <c:v>Perrier Jou</c:v>
                </c:pt>
                <c:pt idx="83">
                  <c:v>Taittinger</c:v>
                </c:pt>
                <c:pt idx="84">
                  <c:v>Nicolas</c:v>
                </c:pt>
                <c:pt idx="85">
                  <c:v>Deutz</c:v>
                </c:pt>
                <c:pt idx="86">
                  <c:v>Roederer</c:v>
                </c:pt>
                <c:pt idx="87">
                  <c:v>Roederer</c:v>
                </c:pt>
                <c:pt idx="88">
                  <c:v>Ruinart</c:v>
                </c:pt>
                <c:pt idx="89">
                  <c:v>Moët &amp; Chan</c:v>
                </c:pt>
                <c:pt idx="90">
                  <c:v>Ruinart</c:v>
                </c:pt>
                <c:pt idx="91">
                  <c:v>Henriot</c:v>
                </c:pt>
                <c:pt idx="92">
                  <c:v>Roederer</c:v>
                </c:pt>
                <c:pt idx="93">
                  <c:v>Bollinger</c:v>
                </c:pt>
                <c:pt idx="94">
                  <c:v>Laurent Per</c:v>
                </c:pt>
                <c:pt idx="95">
                  <c:v>Canard Duch</c:v>
                </c:pt>
                <c:pt idx="96">
                  <c:v>Dom Perigno</c:v>
                </c:pt>
                <c:pt idx="97">
                  <c:v>Malard</c:v>
                </c:pt>
                <c:pt idx="98">
                  <c:v>Perrier Jou</c:v>
                </c:pt>
                <c:pt idx="99">
                  <c:v>De Venoge</c:v>
                </c:pt>
                <c:pt idx="100">
                  <c:v>Roederer</c:v>
                </c:pt>
                <c:pt idx="101">
                  <c:v>Roederer</c:v>
                </c:pt>
                <c:pt idx="102">
                  <c:v>Roederer</c:v>
                </c:pt>
                <c:pt idx="103">
                  <c:v>Canard Duch</c:v>
                </c:pt>
                <c:pt idx="104">
                  <c:v>Roederer</c:v>
                </c:pt>
                <c:pt idx="105">
                  <c:v>Nicolas</c:v>
                </c:pt>
                <c:pt idx="106">
                  <c:v>De Venoge</c:v>
                </c:pt>
                <c:pt idx="107">
                  <c:v>Krug</c:v>
                </c:pt>
                <c:pt idx="108">
                  <c:v>Pommery</c:v>
                </c:pt>
                <c:pt idx="109">
                  <c:v>Laurent Per</c:v>
                </c:pt>
                <c:pt idx="110">
                  <c:v>Deutz</c:v>
                </c:pt>
                <c:pt idx="111">
                  <c:v>Nicolas</c:v>
                </c:pt>
                <c:pt idx="112">
                  <c:v>Dom Perigno</c:v>
                </c:pt>
                <c:pt idx="113">
                  <c:v>Ruinart</c:v>
                </c:pt>
                <c:pt idx="114">
                  <c:v>Veuve Clicq</c:v>
                </c:pt>
                <c:pt idx="115">
                  <c:v>Ruinart</c:v>
                </c:pt>
                <c:pt idx="116">
                  <c:v>Vranken</c:v>
                </c:pt>
                <c:pt idx="117">
                  <c:v>Nicolas</c:v>
                </c:pt>
                <c:pt idx="118">
                  <c:v>Nicolas</c:v>
                </c:pt>
                <c:pt idx="119">
                  <c:v>Laurent Per</c:v>
                </c:pt>
                <c:pt idx="120">
                  <c:v>De Venoge</c:v>
                </c:pt>
                <c:pt idx="121">
                  <c:v>Vranken</c:v>
                </c:pt>
                <c:pt idx="122">
                  <c:v>Delamotte</c:v>
                </c:pt>
                <c:pt idx="123">
                  <c:v>Nicolas</c:v>
                </c:pt>
                <c:pt idx="124">
                  <c:v>Laurent Per</c:v>
                </c:pt>
                <c:pt idx="125">
                  <c:v>Moët &amp; Chan</c:v>
                </c:pt>
                <c:pt idx="126">
                  <c:v>Nicolas</c:v>
                </c:pt>
                <c:pt idx="127">
                  <c:v>Moët &amp; Chan</c:v>
                </c:pt>
                <c:pt idx="128">
                  <c:v>Nicolas Feu</c:v>
                </c:pt>
                <c:pt idx="129">
                  <c:v>Krug</c:v>
                </c:pt>
                <c:pt idx="130">
                  <c:v>Nicolas</c:v>
                </c:pt>
                <c:pt idx="131">
                  <c:v>Lanson</c:v>
                </c:pt>
                <c:pt idx="132">
                  <c:v>Bollinger</c:v>
                </c:pt>
                <c:pt idx="133">
                  <c:v>Louis Marti</c:v>
                </c:pt>
                <c:pt idx="134">
                  <c:v>Nicolas</c:v>
                </c:pt>
                <c:pt idx="135">
                  <c:v>Roederer</c:v>
                </c:pt>
                <c:pt idx="136">
                  <c:v>All Others</c:v>
                </c:pt>
                <c:pt idx="137">
                  <c:v>Taittinger</c:v>
                </c:pt>
                <c:pt idx="138">
                  <c:v>Besserat De</c:v>
                </c:pt>
                <c:pt idx="139">
                  <c:v>All Others</c:v>
                </c:pt>
                <c:pt idx="140">
                  <c:v>Perrier Jou</c:v>
                </c:pt>
                <c:pt idx="141">
                  <c:v>All Others</c:v>
                </c:pt>
                <c:pt idx="142">
                  <c:v>Pommery</c:v>
                </c:pt>
                <c:pt idx="143">
                  <c:v>Roederer</c:v>
                </c:pt>
                <c:pt idx="144">
                  <c:v>Ayala</c:v>
                </c:pt>
                <c:pt idx="145">
                  <c:v>Canard Duch</c:v>
                </c:pt>
                <c:pt idx="146">
                  <c:v>Roederer</c:v>
                </c:pt>
                <c:pt idx="147">
                  <c:v>Laurent Per</c:v>
                </c:pt>
                <c:pt idx="148">
                  <c:v>Deutz</c:v>
                </c:pt>
                <c:pt idx="149">
                  <c:v>Nicolas</c:v>
                </c:pt>
                <c:pt idx="150">
                  <c:v>Ruinart</c:v>
                </c:pt>
                <c:pt idx="151">
                  <c:v>Ruinart</c:v>
                </c:pt>
                <c:pt idx="152">
                  <c:v>Ruinart</c:v>
                </c:pt>
                <c:pt idx="153">
                  <c:v>Roederer</c:v>
                </c:pt>
                <c:pt idx="154">
                  <c:v>All Others</c:v>
                </c:pt>
                <c:pt idx="155">
                  <c:v>Nicolas</c:v>
                </c:pt>
                <c:pt idx="156">
                  <c:v>Vesselle</c:v>
                </c:pt>
                <c:pt idx="157">
                  <c:v>Dom Perigno</c:v>
                </c:pt>
                <c:pt idx="158">
                  <c:v>Dom Perigno</c:v>
                </c:pt>
                <c:pt idx="159">
                  <c:v>Demoiselle</c:v>
                </c:pt>
                <c:pt idx="160">
                  <c:v>Roederer</c:v>
                </c:pt>
                <c:pt idx="161">
                  <c:v>Ruinart</c:v>
                </c:pt>
                <c:pt idx="162">
                  <c:v>Deutz</c:v>
                </c:pt>
                <c:pt idx="163">
                  <c:v>Nicolas</c:v>
                </c:pt>
                <c:pt idx="164">
                  <c:v>Deutz</c:v>
                </c:pt>
                <c:pt idx="165">
                  <c:v>Taittinger</c:v>
                </c:pt>
                <c:pt idx="166">
                  <c:v>Vranken</c:v>
                </c:pt>
                <c:pt idx="167">
                  <c:v>Moët &amp; Chan</c:v>
                </c:pt>
                <c:pt idx="168">
                  <c:v>Roederer</c:v>
                </c:pt>
                <c:pt idx="169">
                  <c:v>Piper Heids</c:v>
                </c:pt>
                <c:pt idx="170">
                  <c:v>Pommery</c:v>
                </c:pt>
                <c:pt idx="171">
                  <c:v>Piper Heids</c:v>
                </c:pt>
                <c:pt idx="172">
                  <c:v>Nicolas</c:v>
                </c:pt>
                <c:pt idx="173">
                  <c:v>Besserat De</c:v>
                </c:pt>
                <c:pt idx="174">
                  <c:v>Nicolas</c:v>
                </c:pt>
                <c:pt idx="175">
                  <c:v>Ruinart</c:v>
                </c:pt>
                <c:pt idx="176">
                  <c:v>Roederer</c:v>
                </c:pt>
                <c:pt idx="177">
                  <c:v>Krug</c:v>
                </c:pt>
                <c:pt idx="178">
                  <c:v>Moët &amp; Chan</c:v>
                </c:pt>
                <c:pt idx="179">
                  <c:v>All Others</c:v>
                </c:pt>
                <c:pt idx="180">
                  <c:v>Demoiselle</c:v>
                </c:pt>
                <c:pt idx="181">
                  <c:v>Pommery</c:v>
                </c:pt>
                <c:pt idx="182">
                  <c:v>Henriot</c:v>
                </c:pt>
                <c:pt idx="183">
                  <c:v>Bollinger</c:v>
                </c:pt>
                <c:pt idx="184">
                  <c:v>Bollinger</c:v>
                </c:pt>
                <c:pt idx="185">
                  <c:v>Nicolas</c:v>
                </c:pt>
                <c:pt idx="186">
                  <c:v>Bollinger</c:v>
                </c:pt>
                <c:pt idx="187">
                  <c:v>Roederer</c:v>
                </c:pt>
                <c:pt idx="188">
                  <c:v>All Others</c:v>
                </c:pt>
                <c:pt idx="189">
                  <c:v>All Others</c:v>
                </c:pt>
                <c:pt idx="190">
                  <c:v>Ruinart</c:v>
                </c:pt>
                <c:pt idx="191">
                  <c:v>Taittinger</c:v>
                </c:pt>
                <c:pt idx="192">
                  <c:v>Roederer</c:v>
                </c:pt>
                <c:pt idx="193">
                  <c:v>Veuve Clicq</c:v>
                </c:pt>
                <c:pt idx="194">
                  <c:v>Demoiselle</c:v>
                </c:pt>
                <c:pt idx="195">
                  <c:v>Vesselle</c:v>
                </c:pt>
                <c:pt idx="196">
                  <c:v>Pommery</c:v>
                </c:pt>
                <c:pt idx="197">
                  <c:v>Bollinger</c:v>
                </c:pt>
                <c:pt idx="198">
                  <c:v>Roederer</c:v>
                </c:pt>
                <c:pt idx="199">
                  <c:v>Roederer</c:v>
                </c:pt>
                <c:pt idx="200">
                  <c:v>Pommery</c:v>
                </c:pt>
                <c:pt idx="201">
                  <c:v>Bollinger</c:v>
                </c:pt>
                <c:pt idx="202">
                  <c:v>De Venoge</c:v>
                </c:pt>
                <c:pt idx="203">
                  <c:v>All Others</c:v>
                </c:pt>
                <c:pt idx="204">
                  <c:v>De Venoge</c:v>
                </c:pt>
                <c:pt idx="205">
                  <c:v>All Others</c:v>
                </c:pt>
                <c:pt idx="206">
                  <c:v>Ruinart</c:v>
                </c:pt>
                <c:pt idx="207">
                  <c:v>Piper Heids</c:v>
                </c:pt>
                <c:pt idx="208">
                  <c:v>All Others</c:v>
                </c:pt>
                <c:pt idx="209">
                  <c:v>All Others</c:v>
                </c:pt>
                <c:pt idx="210">
                  <c:v>Veuve Clicq</c:v>
                </c:pt>
                <c:pt idx="211">
                  <c:v>Bollinger</c:v>
                </c:pt>
                <c:pt idx="212">
                  <c:v>Perrier Jou</c:v>
                </c:pt>
                <c:pt idx="213">
                  <c:v>Ruinart</c:v>
                </c:pt>
                <c:pt idx="214">
                  <c:v>Laurent Per</c:v>
                </c:pt>
                <c:pt idx="215">
                  <c:v>Nicolas</c:v>
                </c:pt>
                <c:pt idx="216">
                  <c:v>Canard Duch</c:v>
                </c:pt>
                <c:pt idx="217">
                  <c:v>Lanson</c:v>
                </c:pt>
                <c:pt idx="218">
                  <c:v>Deutz</c:v>
                </c:pt>
                <c:pt idx="219">
                  <c:v>Nicolas Feu</c:v>
                </c:pt>
                <c:pt idx="220">
                  <c:v>Veuve Clicq</c:v>
                </c:pt>
                <c:pt idx="221">
                  <c:v>Ayala</c:v>
                </c:pt>
                <c:pt idx="222">
                  <c:v>Pommery</c:v>
                </c:pt>
                <c:pt idx="223">
                  <c:v>All Others</c:v>
                </c:pt>
                <c:pt idx="224">
                  <c:v>Moët &amp; Chan</c:v>
                </c:pt>
                <c:pt idx="225">
                  <c:v>Demoiselle</c:v>
                </c:pt>
                <c:pt idx="226">
                  <c:v>Piper Heids</c:v>
                </c:pt>
                <c:pt idx="227">
                  <c:v>De Venoge</c:v>
                </c:pt>
                <c:pt idx="228">
                  <c:v>Roederer</c:v>
                </c:pt>
                <c:pt idx="229">
                  <c:v>Bollinger</c:v>
                </c:pt>
                <c:pt idx="230">
                  <c:v>Henriot</c:v>
                </c:pt>
                <c:pt idx="231">
                  <c:v>Malard</c:v>
                </c:pt>
                <c:pt idx="232">
                  <c:v>Vesselle</c:v>
                </c:pt>
                <c:pt idx="233">
                  <c:v>Roederer</c:v>
                </c:pt>
                <c:pt idx="234">
                  <c:v>All Others</c:v>
                </c:pt>
                <c:pt idx="235">
                  <c:v>Bollinger</c:v>
                </c:pt>
                <c:pt idx="236">
                  <c:v>De Venoge</c:v>
                </c:pt>
                <c:pt idx="237">
                  <c:v>Ruinart</c:v>
                </c:pt>
                <c:pt idx="238">
                  <c:v>Ruinart</c:v>
                </c:pt>
                <c:pt idx="239">
                  <c:v>Lanson</c:v>
                </c:pt>
                <c:pt idx="240">
                  <c:v>De Bligny</c:v>
                </c:pt>
                <c:pt idx="241">
                  <c:v>All Others</c:v>
                </c:pt>
                <c:pt idx="242">
                  <c:v>Laurent Per</c:v>
                </c:pt>
                <c:pt idx="243">
                  <c:v>All Others</c:v>
                </c:pt>
                <c:pt idx="244">
                  <c:v>All Others</c:v>
                </c:pt>
                <c:pt idx="245">
                  <c:v>Demoiselle</c:v>
                </c:pt>
                <c:pt idx="246">
                  <c:v>Piper Heids</c:v>
                </c:pt>
                <c:pt idx="247">
                  <c:v>All Others</c:v>
                </c:pt>
                <c:pt idx="248">
                  <c:v>Ayala</c:v>
                </c:pt>
                <c:pt idx="249">
                  <c:v>Pommery</c:v>
                </c:pt>
                <c:pt idx="250">
                  <c:v>Malard</c:v>
                </c:pt>
                <c:pt idx="251">
                  <c:v>Veuve Clicq</c:v>
                </c:pt>
                <c:pt idx="252">
                  <c:v>Vesselle</c:v>
                </c:pt>
                <c:pt idx="253">
                  <c:v>Besserat De</c:v>
                </c:pt>
                <c:pt idx="254">
                  <c:v>Martel</c:v>
                </c:pt>
              </c:strCache>
            </c:strRef>
          </c:cat>
          <c:val>
            <c:numRef>
              <c:f>Sheet1!$B$2:$B$256</c:f>
              <c:numCache>
                <c:formatCode>General</c:formatCode>
                <c:ptCount val="255"/>
                <c:pt idx="0">
                  <c:v>1</c:v>
                </c:pt>
                <c:pt idx="1">
                  <c:v>0.99</c:v>
                </c:pt>
                <c:pt idx="2">
                  <c:v>1</c:v>
                </c:pt>
                <c:pt idx="3">
                  <c:v>0.95</c:v>
                </c:pt>
                <c:pt idx="4">
                  <c:v>0.79</c:v>
                </c:pt>
                <c:pt idx="5">
                  <c:v>0.97</c:v>
                </c:pt>
                <c:pt idx="6">
                  <c:v>0.94</c:v>
                </c:pt>
                <c:pt idx="7">
                  <c:v>0.96</c:v>
                </c:pt>
                <c:pt idx="8">
                  <c:v>0.74</c:v>
                </c:pt>
                <c:pt idx="9">
                  <c:v>0.85</c:v>
                </c:pt>
                <c:pt idx="10">
                  <c:v>0.92</c:v>
                </c:pt>
                <c:pt idx="11">
                  <c:v>0.98</c:v>
                </c:pt>
                <c:pt idx="12">
                  <c:v>0.82</c:v>
                </c:pt>
                <c:pt idx="13">
                  <c:v>0.83</c:v>
                </c:pt>
                <c:pt idx="14">
                  <c:v>1</c:v>
                </c:pt>
                <c:pt idx="15">
                  <c:v>0.79</c:v>
                </c:pt>
                <c:pt idx="16">
                  <c:v>0.9</c:v>
                </c:pt>
                <c:pt idx="17">
                  <c:v>0.49</c:v>
                </c:pt>
                <c:pt idx="18">
                  <c:v>0.96</c:v>
                </c:pt>
                <c:pt idx="19">
                  <c:v>0.6</c:v>
                </c:pt>
                <c:pt idx="20">
                  <c:v>0.64</c:v>
                </c:pt>
                <c:pt idx="21">
                  <c:v>0.66</c:v>
                </c:pt>
                <c:pt idx="22">
                  <c:v>0.85</c:v>
                </c:pt>
                <c:pt idx="23">
                  <c:v>0.56999999999999995</c:v>
                </c:pt>
                <c:pt idx="24">
                  <c:v>0.86</c:v>
                </c:pt>
                <c:pt idx="25">
                  <c:v>0.77</c:v>
                </c:pt>
                <c:pt idx="26">
                  <c:v>0.72</c:v>
                </c:pt>
                <c:pt idx="27">
                  <c:v>0.75</c:v>
                </c:pt>
                <c:pt idx="28">
                  <c:v>0.76</c:v>
                </c:pt>
                <c:pt idx="29">
                  <c:v>0.81</c:v>
                </c:pt>
                <c:pt idx="30">
                  <c:v>0.83</c:v>
                </c:pt>
                <c:pt idx="31">
                  <c:v>0.56999999999999995</c:v>
                </c:pt>
                <c:pt idx="32">
                  <c:v>0.85</c:v>
                </c:pt>
                <c:pt idx="33">
                  <c:v>0.75</c:v>
                </c:pt>
                <c:pt idx="34">
                  <c:v>0.82</c:v>
                </c:pt>
                <c:pt idx="35">
                  <c:v>0.56000000000000005</c:v>
                </c:pt>
                <c:pt idx="36">
                  <c:v>0.86</c:v>
                </c:pt>
                <c:pt idx="37">
                  <c:v>0.4</c:v>
                </c:pt>
                <c:pt idx="38">
                  <c:v>0.77</c:v>
                </c:pt>
                <c:pt idx="39">
                  <c:v>0.42</c:v>
                </c:pt>
                <c:pt idx="40">
                  <c:v>0.83</c:v>
                </c:pt>
                <c:pt idx="41">
                  <c:v>0.8</c:v>
                </c:pt>
                <c:pt idx="42">
                  <c:v>0.36</c:v>
                </c:pt>
                <c:pt idx="43">
                  <c:v>0.52</c:v>
                </c:pt>
                <c:pt idx="44">
                  <c:v>0.42</c:v>
                </c:pt>
                <c:pt idx="45">
                  <c:v>0.56000000000000005</c:v>
                </c:pt>
                <c:pt idx="46">
                  <c:v>0.47</c:v>
                </c:pt>
                <c:pt idx="47">
                  <c:v>0.78</c:v>
                </c:pt>
                <c:pt idx="48">
                  <c:v>0.75</c:v>
                </c:pt>
                <c:pt idx="49">
                  <c:v>0.73</c:v>
                </c:pt>
                <c:pt idx="50">
                  <c:v>0.59</c:v>
                </c:pt>
                <c:pt idx="51">
                  <c:v>0.77</c:v>
                </c:pt>
                <c:pt idx="52">
                  <c:v>0.64</c:v>
                </c:pt>
                <c:pt idx="53">
                  <c:v>0.53</c:v>
                </c:pt>
                <c:pt idx="54">
                  <c:v>0.6</c:v>
                </c:pt>
                <c:pt idx="55">
                  <c:v>0.9</c:v>
                </c:pt>
                <c:pt idx="56">
                  <c:v>0.7</c:v>
                </c:pt>
                <c:pt idx="57">
                  <c:v>0.68</c:v>
                </c:pt>
                <c:pt idx="58">
                  <c:v>0.44</c:v>
                </c:pt>
                <c:pt idx="59">
                  <c:v>0.5</c:v>
                </c:pt>
                <c:pt idx="60">
                  <c:v>0.6</c:v>
                </c:pt>
                <c:pt idx="61">
                  <c:v>0.73</c:v>
                </c:pt>
                <c:pt idx="62">
                  <c:v>0.63</c:v>
                </c:pt>
                <c:pt idx="63">
                  <c:v>0.5</c:v>
                </c:pt>
                <c:pt idx="64">
                  <c:v>0.39</c:v>
                </c:pt>
                <c:pt idx="65">
                  <c:v>0.44</c:v>
                </c:pt>
                <c:pt idx="66">
                  <c:v>0.35</c:v>
                </c:pt>
                <c:pt idx="67">
                  <c:v>0.36</c:v>
                </c:pt>
                <c:pt idx="68">
                  <c:v>0.39</c:v>
                </c:pt>
                <c:pt idx="69">
                  <c:v>0.47</c:v>
                </c:pt>
                <c:pt idx="70">
                  <c:v>0.48</c:v>
                </c:pt>
                <c:pt idx="71">
                  <c:v>0.39</c:v>
                </c:pt>
                <c:pt idx="72">
                  <c:v>0.43</c:v>
                </c:pt>
                <c:pt idx="73">
                  <c:v>0.62</c:v>
                </c:pt>
                <c:pt idx="74">
                  <c:v>0.33</c:v>
                </c:pt>
                <c:pt idx="75">
                  <c:v>0.43</c:v>
                </c:pt>
                <c:pt idx="76">
                  <c:v>0.48</c:v>
                </c:pt>
                <c:pt idx="77">
                  <c:v>0.44</c:v>
                </c:pt>
                <c:pt idx="78">
                  <c:v>0.55000000000000004</c:v>
                </c:pt>
                <c:pt idx="79">
                  <c:v>0.39</c:v>
                </c:pt>
                <c:pt idx="80">
                  <c:v>0.3</c:v>
                </c:pt>
                <c:pt idx="81">
                  <c:v>0.49</c:v>
                </c:pt>
                <c:pt idx="82">
                  <c:v>0.4</c:v>
                </c:pt>
                <c:pt idx="83">
                  <c:v>0.35</c:v>
                </c:pt>
                <c:pt idx="84">
                  <c:v>0.48</c:v>
                </c:pt>
                <c:pt idx="85">
                  <c:v>0.34</c:v>
                </c:pt>
                <c:pt idx="86">
                  <c:v>0.28000000000000003</c:v>
                </c:pt>
                <c:pt idx="87">
                  <c:v>0.38</c:v>
                </c:pt>
                <c:pt idx="88">
                  <c:v>0.19</c:v>
                </c:pt>
                <c:pt idx="89">
                  <c:v>0.53</c:v>
                </c:pt>
                <c:pt idx="90">
                  <c:v>0.47</c:v>
                </c:pt>
                <c:pt idx="91">
                  <c:v>0.41</c:v>
                </c:pt>
                <c:pt idx="92">
                  <c:v>0.49</c:v>
                </c:pt>
                <c:pt idx="93">
                  <c:v>0.52</c:v>
                </c:pt>
                <c:pt idx="94">
                  <c:v>0.39</c:v>
                </c:pt>
                <c:pt idx="95">
                  <c:v>0.17</c:v>
                </c:pt>
                <c:pt idx="96">
                  <c:v>0.19</c:v>
                </c:pt>
                <c:pt idx="97">
                  <c:v>0.4</c:v>
                </c:pt>
                <c:pt idx="98">
                  <c:v>0.24</c:v>
                </c:pt>
                <c:pt idx="99">
                  <c:v>0.48</c:v>
                </c:pt>
                <c:pt idx="100">
                  <c:v>0.3</c:v>
                </c:pt>
                <c:pt idx="101">
                  <c:v>0.36</c:v>
                </c:pt>
                <c:pt idx="102">
                  <c:v>0.34</c:v>
                </c:pt>
                <c:pt idx="103">
                  <c:v>0.34</c:v>
                </c:pt>
                <c:pt idx="104">
                  <c:v>0.39</c:v>
                </c:pt>
                <c:pt idx="105">
                  <c:v>0.38</c:v>
                </c:pt>
                <c:pt idx="106">
                  <c:v>0.34</c:v>
                </c:pt>
                <c:pt idx="107">
                  <c:v>0.28000000000000003</c:v>
                </c:pt>
                <c:pt idx="108">
                  <c:v>0.36</c:v>
                </c:pt>
                <c:pt idx="109">
                  <c:v>0.39</c:v>
                </c:pt>
                <c:pt idx="110">
                  <c:v>0.39</c:v>
                </c:pt>
                <c:pt idx="111">
                  <c:v>0.23</c:v>
                </c:pt>
                <c:pt idx="112">
                  <c:v>0.2</c:v>
                </c:pt>
                <c:pt idx="113">
                  <c:v>0.16</c:v>
                </c:pt>
                <c:pt idx="114">
                  <c:v>0.15</c:v>
                </c:pt>
                <c:pt idx="115">
                  <c:v>0.34</c:v>
                </c:pt>
                <c:pt idx="116">
                  <c:v>0.23</c:v>
                </c:pt>
                <c:pt idx="117">
                  <c:v>0.16</c:v>
                </c:pt>
                <c:pt idx="118">
                  <c:v>0.43</c:v>
                </c:pt>
                <c:pt idx="119">
                  <c:v>0.3</c:v>
                </c:pt>
                <c:pt idx="120">
                  <c:v>0.27</c:v>
                </c:pt>
                <c:pt idx="121">
                  <c:v>0.22</c:v>
                </c:pt>
                <c:pt idx="122">
                  <c:v>0.27</c:v>
                </c:pt>
                <c:pt idx="123">
                  <c:v>0.32</c:v>
                </c:pt>
                <c:pt idx="124">
                  <c:v>0.32</c:v>
                </c:pt>
                <c:pt idx="125">
                  <c:v>0.36</c:v>
                </c:pt>
                <c:pt idx="126">
                  <c:v>0.41</c:v>
                </c:pt>
                <c:pt idx="127">
                  <c:v>0.34</c:v>
                </c:pt>
                <c:pt idx="128">
                  <c:v>0.25</c:v>
                </c:pt>
                <c:pt idx="129">
                  <c:v>0.16</c:v>
                </c:pt>
                <c:pt idx="130">
                  <c:v>0.21</c:v>
                </c:pt>
                <c:pt idx="131">
                  <c:v>0.39</c:v>
                </c:pt>
                <c:pt idx="132">
                  <c:v>0.53</c:v>
                </c:pt>
                <c:pt idx="133">
                  <c:v>0.13</c:v>
                </c:pt>
                <c:pt idx="134">
                  <c:v>0.21</c:v>
                </c:pt>
                <c:pt idx="135">
                  <c:v>0.44</c:v>
                </c:pt>
                <c:pt idx="136">
                  <c:v>0.34</c:v>
                </c:pt>
                <c:pt idx="137">
                  <c:v>0.2</c:v>
                </c:pt>
                <c:pt idx="138">
                  <c:v>0.39</c:v>
                </c:pt>
                <c:pt idx="139">
                  <c:v>0.21</c:v>
                </c:pt>
                <c:pt idx="140">
                  <c:v>0.2</c:v>
                </c:pt>
                <c:pt idx="141">
                  <c:v>0.28000000000000003</c:v>
                </c:pt>
                <c:pt idx="142">
                  <c:v>0.36</c:v>
                </c:pt>
                <c:pt idx="143">
                  <c:v>0.5</c:v>
                </c:pt>
                <c:pt idx="144">
                  <c:v>0.18</c:v>
                </c:pt>
                <c:pt idx="145">
                  <c:v>0.14000000000000001</c:v>
                </c:pt>
                <c:pt idx="146">
                  <c:v>0.36</c:v>
                </c:pt>
                <c:pt idx="147">
                  <c:v>0.34</c:v>
                </c:pt>
                <c:pt idx="148">
                  <c:v>0.2</c:v>
                </c:pt>
                <c:pt idx="149">
                  <c:v>0.16</c:v>
                </c:pt>
                <c:pt idx="150">
                  <c:v>0.13</c:v>
                </c:pt>
                <c:pt idx="151">
                  <c:v>0.14000000000000001</c:v>
                </c:pt>
                <c:pt idx="152">
                  <c:v>0.13</c:v>
                </c:pt>
                <c:pt idx="153">
                  <c:v>0.05</c:v>
                </c:pt>
                <c:pt idx="154">
                  <c:v>0.12</c:v>
                </c:pt>
                <c:pt idx="155">
                  <c:v>0.3</c:v>
                </c:pt>
                <c:pt idx="156">
                  <c:v>0.2</c:v>
                </c:pt>
                <c:pt idx="157">
                  <c:v>0.39</c:v>
                </c:pt>
                <c:pt idx="158">
                  <c:v>0.15</c:v>
                </c:pt>
                <c:pt idx="159">
                  <c:v>0.3</c:v>
                </c:pt>
                <c:pt idx="160">
                  <c:v>0.04</c:v>
                </c:pt>
                <c:pt idx="161">
                  <c:v>0.03</c:v>
                </c:pt>
                <c:pt idx="162">
                  <c:v>0.02</c:v>
                </c:pt>
                <c:pt idx="163">
                  <c:v>0.19</c:v>
                </c:pt>
                <c:pt idx="164">
                  <c:v>0.28000000000000003</c:v>
                </c:pt>
                <c:pt idx="165">
                  <c:v>0.04</c:v>
                </c:pt>
                <c:pt idx="166">
                  <c:v>0.13</c:v>
                </c:pt>
                <c:pt idx="167">
                  <c:v>0.39</c:v>
                </c:pt>
                <c:pt idx="168">
                  <c:v>0.08</c:v>
                </c:pt>
                <c:pt idx="169">
                  <c:v>0.18</c:v>
                </c:pt>
                <c:pt idx="170">
                  <c:v>0.37</c:v>
                </c:pt>
                <c:pt idx="171">
                  <c:v>0.08</c:v>
                </c:pt>
                <c:pt idx="172">
                  <c:v>0.15</c:v>
                </c:pt>
                <c:pt idx="173">
                  <c:v>0.15</c:v>
                </c:pt>
                <c:pt idx="174">
                  <c:v>0.08</c:v>
                </c:pt>
                <c:pt idx="175">
                  <c:v>0.15</c:v>
                </c:pt>
                <c:pt idx="176">
                  <c:v>0.06</c:v>
                </c:pt>
                <c:pt idx="177">
                  <c:v>0.3</c:v>
                </c:pt>
                <c:pt idx="178">
                  <c:v>0.04</c:v>
                </c:pt>
                <c:pt idx="179">
                  <c:v>0.36</c:v>
                </c:pt>
                <c:pt idx="180">
                  <c:v>7.0000000000000007E-2</c:v>
                </c:pt>
                <c:pt idx="181">
                  <c:v>0.26</c:v>
                </c:pt>
                <c:pt idx="182">
                  <c:v>0.08</c:v>
                </c:pt>
                <c:pt idx="183">
                  <c:v>0.39</c:v>
                </c:pt>
                <c:pt idx="184">
                  <c:v>0.05</c:v>
                </c:pt>
                <c:pt idx="185">
                  <c:v>0.06</c:v>
                </c:pt>
                <c:pt idx="186">
                  <c:v>0.08</c:v>
                </c:pt>
                <c:pt idx="187">
                  <c:v>0.06</c:v>
                </c:pt>
                <c:pt idx="188">
                  <c:v>0.39</c:v>
                </c:pt>
                <c:pt idx="189">
                  <c:v>0.05</c:v>
                </c:pt>
                <c:pt idx="190">
                  <c:v>0.05</c:v>
                </c:pt>
                <c:pt idx="191">
                  <c:v>0.28000000000000003</c:v>
                </c:pt>
                <c:pt idx="192">
                  <c:v>0.06</c:v>
                </c:pt>
                <c:pt idx="193">
                  <c:v>0.14000000000000001</c:v>
                </c:pt>
                <c:pt idx="194">
                  <c:v>0.34</c:v>
                </c:pt>
                <c:pt idx="195">
                  <c:v>0.06</c:v>
                </c:pt>
                <c:pt idx="196">
                  <c:v>0.16</c:v>
                </c:pt>
                <c:pt idx="197">
                  <c:v>0.16</c:v>
                </c:pt>
                <c:pt idx="198">
                  <c:v>0.02</c:v>
                </c:pt>
                <c:pt idx="199">
                  <c:v>0.09</c:v>
                </c:pt>
                <c:pt idx="200">
                  <c:v>0.21</c:v>
                </c:pt>
                <c:pt idx="201">
                  <c:v>0.08</c:v>
                </c:pt>
                <c:pt idx="202">
                  <c:v>0.15</c:v>
                </c:pt>
                <c:pt idx="203">
                  <c:v>0.04</c:v>
                </c:pt>
                <c:pt idx="204">
                  <c:v>7.0000000000000007E-2</c:v>
                </c:pt>
                <c:pt idx="205">
                  <c:v>0.02</c:v>
                </c:pt>
                <c:pt idx="206">
                  <c:v>0.03</c:v>
                </c:pt>
                <c:pt idx="207">
                  <c:v>0.02</c:v>
                </c:pt>
                <c:pt idx="208">
                  <c:v>0.04</c:v>
                </c:pt>
                <c:pt idx="209">
                  <c:v>0.04</c:v>
                </c:pt>
                <c:pt idx="210">
                  <c:v>0.39</c:v>
                </c:pt>
                <c:pt idx="211">
                  <c:v>0.1</c:v>
                </c:pt>
                <c:pt idx="212">
                  <c:v>0.26</c:v>
                </c:pt>
                <c:pt idx="213">
                  <c:v>0.03</c:v>
                </c:pt>
                <c:pt idx="214">
                  <c:v>0.02</c:v>
                </c:pt>
                <c:pt idx="215">
                  <c:v>0.12</c:v>
                </c:pt>
                <c:pt idx="216">
                  <c:v>7.0000000000000007E-2</c:v>
                </c:pt>
                <c:pt idx="217">
                  <c:v>7.0000000000000007E-2</c:v>
                </c:pt>
                <c:pt idx="218">
                  <c:v>0.03</c:v>
                </c:pt>
                <c:pt idx="219">
                  <c:v>0.09</c:v>
                </c:pt>
                <c:pt idx="220">
                  <c:v>0.05</c:v>
                </c:pt>
                <c:pt idx="221">
                  <c:v>0.12</c:v>
                </c:pt>
                <c:pt idx="222">
                  <c:v>0.02</c:v>
                </c:pt>
                <c:pt idx="223">
                  <c:v>0.39</c:v>
                </c:pt>
                <c:pt idx="224">
                  <c:v>0.21</c:v>
                </c:pt>
                <c:pt idx="225">
                  <c:v>0.09</c:v>
                </c:pt>
                <c:pt idx="226">
                  <c:v>0.08</c:v>
                </c:pt>
                <c:pt idx="227">
                  <c:v>0.03</c:v>
                </c:pt>
                <c:pt idx="228">
                  <c:v>0.02</c:v>
                </c:pt>
                <c:pt idx="229">
                  <c:v>0.04</c:v>
                </c:pt>
                <c:pt idx="230">
                  <c:v>0.03</c:v>
                </c:pt>
                <c:pt idx="231">
                  <c:v>0.01</c:v>
                </c:pt>
                <c:pt idx="232">
                  <c:v>0.39</c:v>
                </c:pt>
                <c:pt idx="233">
                  <c:v>0.08</c:v>
                </c:pt>
                <c:pt idx="234">
                  <c:v>0.53</c:v>
                </c:pt>
                <c:pt idx="235">
                  <c:v>0.03</c:v>
                </c:pt>
                <c:pt idx="236">
                  <c:v>0.01</c:v>
                </c:pt>
                <c:pt idx="237">
                  <c:v>0.06</c:v>
                </c:pt>
                <c:pt idx="238">
                  <c:v>7.0000000000000007E-2</c:v>
                </c:pt>
                <c:pt idx="239">
                  <c:v>0.03</c:v>
                </c:pt>
                <c:pt idx="240">
                  <c:v>0.04</c:v>
                </c:pt>
                <c:pt idx="241">
                  <c:v>0.02</c:v>
                </c:pt>
                <c:pt idx="242">
                  <c:v>0.02</c:v>
                </c:pt>
                <c:pt idx="243">
                  <c:v>0.15</c:v>
                </c:pt>
                <c:pt idx="244">
                  <c:v>0.03</c:v>
                </c:pt>
                <c:pt idx="245">
                  <c:v>0.16</c:v>
                </c:pt>
                <c:pt idx="246">
                  <c:v>0.05</c:v>
                </c:pt>
                <c:pt idx="247">
                  <c:v>0.06</c:v>
                </c:pt>
                <c:pt idx="248">
                  <c:v>7.0000000000000007E-2</c:v>
                </c:pt>
                <c:pt idx="249">
                  <c:v>0.03</c:v>
                </c:pt>
                <c:pt idx="250">
                  <c:v>0.03</c:v>
                </c:pt>
                <c:pt idx="251">
                  <c:v>0.04</c:v>
                </c:pt>
                <c:pt idx="252">
                  <c:v>0.02</c:v>
                </c:pt>
                <c:pt idx="253">
                  <c:v>0.04</c:v>
                </c:pt>
                <c:pt idx="254">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B350-432A-930C-7978D5DB6D71}"/>
              </c:ext>
            </c:extLst>
          </c:dPt>
          <c:dPt>
            <c:idx val="211"/>
            <c:invertIfNegative val="1"/>
            <c:bubble3D val="0"/>
            <c:spPr>
              <a:solidFill>
                <a:srgbClr val="AEABAB"/>
              </a:solidFill>
            </c:spPr>
            <c:extLst>
              <c:ext xmlns:c16="http://schemas.microsoft.com/office/drawing/2014/chart" uri="{C3380CC4-5D6E-409C-BE32-E72D297353CC}">
                <c16:uniqueId val="{000001A9-B350-432A-930C-7978D5DB6D71}"/>
              </c:ext>
            </c:extLst>
          </c:dPt>
          <c:dPt>
            <c:idx val="212"/>
            <c:invertIfNegative val="1"/>
            <c:bubble3D val="0"/>
            <c:spPr>
              <a:solidFill>
                <a:srgbClr val="AEABAB"/>
              </a:solidFill>
            </c:spPr>
            <c:extLst>
              <c:ext xmlns:c16="http://schemas.microsoft.com/office/drawing/2014/chart" uri="{C3380CC4-5D6E-409C-BE32-E72D297353CC}">
                <c16:uniqueId val="{000001AB-B350-432A-930C-7978D5DB6D71}"/>
              </c:ext>
            </c:extLst>
          </c:dPt>
          <c:dPt>
            <c:idx val="213"/>
            <c:invertIfNegative val="1"/>
            <c:bubble3D val="0"/>
            <c:spPr>
              <a:solidFill>
                <a:srgbClr val="AEABAB"/>
              </a:solidFill>
            </c:spPr>
            <c:extLst>
              <c:ext xmlns:c16="http://schemas.microsoft.com/office/drawing/2014/chart" uri="{C3380CC4-5D6E-409C-BE32-E72D297353CC}">
                <c16:uniqueId val="{000001AD-B350-432A-930C-7978D5DB6D71}"/>
              </c:ext>
            </c:extLst>
          </c:dPt>
          <c:dPt>
            <c:idx val="214"/>
            <c:invertIfNegative val="1"/>
            <c:bubble3D val="0"/>
            <c:spPr>
              <a:solidFill>
                <a:srgbClr val="AEABAB"/>
              </a:solidFill>
            </c:spPr>
            <c:extLst>
              <c:ext xmlns:c16="http://schemas.microsoft.com/office/drawing/2014/chart" uri="{C3380CC4-5D6E-409C-BE32-E72D297353CC}">
                <c16:uniqueId val="{000001AF-B350-432A-930C-7978D5DB6D71}"/>
              </c:ext>
            </c:extLst>
          </c:dPt>
          <c:dPt>
            <c:idx val="215"/>
            <c:invertIfNegative val="1"/>
            <c:bubble3D val="0"/>
            <c:spPr>
              <a:solidFill>
                <a:srgbClr val="AEABAB"/>
              </a:solidFill>
            </c:spPr>
            <c:extLst>
              <c:ext xmlns:c16="http://schemas.microsoft.com/office/drawing/2014/chart" uri="{C3380CC4-5D6E-409C-BE32-E72D297353CC}">
                <c16:uniqueId val="{000001B1-B350-432A-930C-7978D5DB6D71}"/>
              </c:ext>
            </c:extLst>
          </c:dPt>
          <c:dPt>
            <c:idx val="216"/>
            <c:invertIfNegative val="1"/>
            <c:bubble3D val="0"/>
            <c:spPr>
              <a:solidFill>
                <a:srgbClr val="AEABAB"/>
              </a:solidFill>
            </c:spPr>
            <c:extLst>
              <c:ext xmlns:c16="http://schemas.microsoft.com/office/drawing/2014/chart" uri="{C3380CC4-5D6E-409C-BE32-E72D297353CC}">
                <c16:uniqueId val="{000001B3-B350-432A-930C-7978D5DB6D71}"/>
              </c:ext>
            </c:extLst>
          </c:dPt>
          <c:dPt>
            <c:idx val="217"/>
            <c:invertIfNegative val="1"/>
            <c:bubble3D val="0"/>
            <c:spPr>
              <a:solidFill>
                <a:srgbClr val="AEABAB"/>
              </a:solidFill>
            </c:spPr>
            <c:extLst>
              <c:ext xmlns:c16="http://schemas.microsoft.com/office/drawing/2014/chart" uri="{C3380CC4-5D6E-409C-BE32-E72D297353CC}">
                <c16:uniqueId val="{000001B5-B350-432A-930C-7978D5DB6D71}"/>
              </c:ext>
            </c:extLst>
          </c:dPt>
          <c:dPt>
            <c:idx val="218"/>
            <c:invertIfNegative val="1"/>
            <c:bubble3D val="0"/>
            <c:spPr>
              <a:solidFill>
                <a:srgbClr val="AEABAB"/>
              </a:solidFill>
            </c:spPr>
            <c:extLst>
              <c:ext xmlns:c16="http://schemas.microsoft.com/office/drawing/2014/chart" uri="{C3380CC4-5D6E-409C-BE32-E72D297353CC}">
                <c16:uniqueId val="{000001B7-B350-432A-930C-7978D5DB6D71}"/>
              </c:ext>
            </c:extLst>
          </c:dPt>
          <c:dPt>
            <c:idx val="219"/>
            <c:invertIfNegative val="1"/>
            <c:bubble3D val="0"/>
            <c:spPr>
              <a:solidFill>
                <a:srgbClr val="AEABAB"/>
              </a:solidFill>
            </c:spPr>
            <c:extLst>
              <c:ext xmlns:c16="http://schemas.microsoft.com/office/drawing/2014/chart" uri="{C3380CC4-5D6E-409C-BE32-E72D297353CC}">
                <c16:uniqueId val="{000001B9-B350-432A-930C-7978D5DB6D71}"/>
              </c:ext>
            </c:extLst>
          </c:dPt>
          <c:dPt>
            <c:idx val="220"/>
            <c:invertIfNegative val="1"/>
            <c:bubble3D val="0"/>
            <c:spPr>
              <a:solidFill>
                <a:srgbClr val="AEABAB"/>
              </a:solidFill>
            </c:spPr>
            <c:extLst>
              <c:ext xmlns:c16="http://schemas.microsoft.com/office/drawing/2014/chart" uri="{C3380CC4-5D6E-409C-BE32-E72D297353CC}">
                <c16:uniqueId val="{000001BB-B350-432A-930C-7978D5DB6D71}"/>
              </c:ext>
            </c:extLst>
          </c:dPt>
          <c:dPt>
            <c:idx val="221"/>
            <c:invertIfNegative val="1"/>
            <c:bubble3D val="0"/>
            <c:spPr>
              <a:solidFill>
                <a:srgbClr val="AEABAB"/>
              </a:solidFill>
            </c:spPr>
            <c:extLst>
              <c:ext xmlns:c16="http://schemas.microsoft.com/office/drawing/2014/chart" uri="{C3380CC4-5D6E-409C-BE32-E72D297353CC}">
                <c16:uniqueId val="{000001BD-B350-432A-930C-7978D5DB6D71}"/>
              </c:ext>
            </c:extLst>
          </c:dPt>
          <c:dPt>
            <c:idx val="222"/>
            <c:invertIfNegative val="1"/>
            <c:bubble3D val="0"/>
            <c:spPr>
              <a:solidFill>
                <a:srgbClr val="AEABAB"/>
              </a:solidFill>
            </c:spPr>
            <c:extLst>
              <c:ext xmlns:c16="http://schemas.microsoft.com/office/drawing/2014/chart" uri="{C3380CC4-5D6E-409C-BE32-E72D297353CC}">
                <c16:uniqueId val="{000001BF-B350-432A-930C-7978D5DB6D71}"/>
              </c:ext>
            </c:extLst>
          </c:dPt>
          <c:dPt>
            <c:idx val="223"/>
            <c:invertIfNegative val="1"/>
            <c:bubble3D val="0"/>
            <c:spPr>
              <a:solidFill>
                <a:srgbClr val="AEABAB"/>
              </a:solidFill>
            </c:spPr>
            <c:extLst>
              <c:ext xmlns:c16="http://schemas.microsoft.com/office/drawing/2014/chart" uri="{C3380CC4-5D6E-409C-BE32-E72D297353CC}">
                <c16:uniqueId val="{000001C1-B350-432A-930C-7978D5DB6D71}"/>
              </c:ext>
            </c:extLst>
          </c:dPt>
          <c:dPt>
            <c:idx val="224"/>
            <c:invertIfNegative val="1"/>
            <c:bubble3D val="0"/>
            <c:spPr>
              <a:solidFill>
                <a:srgbClr val="AEABAB"/>
              </a:solidFill>
            </c:spPr>
            <c:extLst>
              <c:ext xmlns:c16="http://schemas.microsoft.com/office/drawing/2014/chart" uri="{C3380CC4-5D6E-409C-BE32-E72D297353CC}">
                <c16:uniqueId val="{000001C3-B350-432A-930C-7978D5DB6D71}"/>
              </c:ext>
            </c:extLst>
          </c:dPt>
          <c:dPt>
            <c:idx val="225"/>
            <c:invertIfNegative val="1"/>
            <c:bubble3D val="0"/>
            <c:spPr>
              <a:solidFill>
                <a:srgbClr val="AEABAB"/>
              </a:solidFill>
            </c:spPr>
            <c:extLst>
              <c:ext xmlns:c16="http://schemas.microsoft.com/office/drawing/2014/chart" uri="{C3380CC4-5D6E-409C-BE32-E72D297353CC}">
                <c16:uniqueId val="{000001C5-B350-432A-930C-7978D5DB6D71}"/>
              </c:ext>
            </c:extLst>
          </c:dPt>
          <c:dPt>
            <c:idx val="226"/>
            <c:invertIfNegative val="1"/>
            <c:bubble3D val="0"/>
            <c:spPr>
              <a:solidFill>
                <a:srgbClr val="AEABAB"/>
              </a:solidFill>
            </c:spPr>
            <c:extLst>
              <c:ext xmlns:c16="http://schemas.microsoft.com/office/drawing/2014/chart" uri="{C3380CC4-5D6E-409C-BE32-E72D297353CC}">
                <c16:uniqueId val="{000001C7-B350-432A-930C-7978D5DB6D71}"/>
              </c:ext>
            </c:extLst>
          </c:dPt>
          <c:dPt>
            <c:idx val="227"/>
            <c:invertIfNegative val="1"/>
            <c:bubble3D val="0"/>
            <c:spPr>
              <a:solidFill>
                <a:srgbClr val="AEABAB"/>
              </a:solidFill>
            </c:spPr>
            <c:extLst>
              <c:ext xmlns:c16="http://schemas.microsoft.com/office/drawing/2014/chart" uri="{C3380CC4-5D6E-409C-BE32-E72D297353CC}">
                <c16:uniqueId val="{000001C9-B350-432A-930C-7978D5DB6D71}"/>
              </c:ext>
            </c:extLst>
          </c:dPt>
          <c:dPt>
            <c:idx val="228"/>
            <c:invertIfNegative val="1"/>
            <c:bubble3D val="0"/>
            <c:spPr>
              <a:solidFill>
                <a:srgbClr val="AEABAB"/>
              </a:solidFill>
            </c:spPr>
            <c:extLst>
              <c:ext xmlns:c16="http://schemas.microsoft.com/office/drawing/2014/chart" uri="{C3380CC4-5D6E-409C-BE32-E72D297353CC}">
                <c16:uniqueId val="{000001CB-B350-432A-930C-7978D5DB6D71}"/>
              </c:ext>
            </c:extLst>
          </c:dPt>
          <c:dPt>
            <c:idx val="229"/>
            <c:invertIfNegative val="1"/>
            <c:bubble3D val="0"/>
            <c:spPr>
              <a:solidFill>
                <a:srgbClr val="AEABAB"/>
              </a:solidFill>
            </c:spPr>
            <c:extLst>
              <c:ext xmlns:c16="http://schemas.microsoft.com/office/drawing/2014/chart" uri="{C3380CC4-5D6E-409C-BE32-E72D297353CC}">
                <c16:uniqueId val="{000001CD-B350-432A-930C-7978D5DB6D71}"/>
              </c:ext>
            </c:extLst>
          </c:dPt>
          <c:dPt>
            <c:idx val="230"/>
            <c:invertIfNegative val="1"/>
            <c:bubble3D val="0"/>
            <c:spPr>
              <a:solidFill>
                <a:srgbClr val="AEABAB"/>
              </a:solidFill>
            </c:spPr>
            <c:extLst>
              <c:ext xmlns:c16="http://schemas.microsoft.com/office/drawing/2014/chart" uri="{C3380CC4-5D6E-409C-BE32-E72D297353CC}">
                <c16:uniqueId val="{000001CF-B350-432A-930C-7978D5DB6D71}"/>
              </c:ext>
            </c:extLst>
          </c:dPt>
          <c:dPt>
            <c:idx val="231"/>
            <c:invertIfNegative val="1"/>
            <c:bubble3D val="0"/>
            <c:spPr>
              <a:solidFill>
                <a:srgbClr val="AEABAB"/>
              </a:solidFill>
            </c:spPr>
            <c:extLst>
              <c:ext xmlns:c16="http://schemas.microsoft.com/office/drawing/2014/chart" uri="{C3380CC4-5D6E-409C-BE32-E72D297353CC}">
                <c16:uniqueId val="{000001D1-B350-432A-930C-7978D5DB6D71}"/>
              </c:ext>
            </c:extLst>
          </c:dPt>
          <c:dPt>
            <c:idx val="232"/>
            <c:invertIfNegative val="1"/>
            <c:bubble3D val="0"/>
            <c:spPr>
              <a:solidFill>
                <a:srgbClr val="AEABAB"/>
              </a:solidFill>
            </c:spPr>
            <c:extLst>
              <c:ext xmlns:c16="http://schemas.microsoft.com/office/drawing/2014/chart" uri="{C3380CC4-5D6E-409C-BE32-E72D297353CC}">
                <c16:uniqueId val="{000001D3-B350-432A-930C-7978D5DB6D71}"/>
              </c:ext>
            </c:extLst>
          </c:dPt>
          <c:dPt>
            <c:idx val="233"/>
            <c:invertIfNegative val="1"/>
            <c:bubble3D val="0"/>
            <c:spPr>
              <a:solidFill>
                <a:srgbClr val="AEABAB"/>
              </a:solidFill>
            </c:spPr>
            <c:extLst>
              <c:ext xmlns:c16="http://schemas.microsoft.com/office/drawing/2014/chart" uri="{C3380CC4-5D6E-409C-BE32-E72D297353CC}">
                <c16:uniqueId val="{000001D5-B350-432A-930C-7978D5DB6D71}"/>
              </c:ext>
            </c:extLst>
          </c:dPt>
          <c:dPt>
            <c:idx val="234"/>
            <c:invertIfNegative val="1"/>
            <c:bubble3D val="0"/>
            <c:spPr>
              <a:solidFill>
                <a:srgbClr val="AEABAB"/>
              </a:solidFill>
            </c:spPr>
            <c:extLst>
              <c:ext xmlns:c16="http://schemas.microsoft.com/office/drawing/2014/chart" uri="{C3380CC4-5D6E-409C-BE32-E72D297353CC}">
                <c16:uniqueId val="{000001D7-B350-432A-930C-7978D5DB6D71}"/>
              </c:ext>
            </c:extLst>
          </c:dPt>
          <c:dPt>
            <c:idx val="235"/>
            <c:invertIfNegative val="1"/>
            <c:bubble3D val="0"/>
            <c:spPr>
              <a:solidFill>
                <a:srgbClr val="AEABAB"/>
              </a:solidFill>
            </c:spPr>
            <c:extLst>
              <c:ext xmlns:c16="http://schemas.microsoft.com/office/drawing/2014/chart" uri="{C3380CC4-5D6E-409C-BE32-E72D297353CC}">
                <c16:uniqueId val="{000001D9-B350-432A-930C-7978D5DB6D71}"/>
              </c:ext>
            </c:extLst>
          </c:dPt>
          <c:dPt>
            <c:idx val="236"/>
            <c:invertIfNegative val="1"/>
            <c:bubble3D val="0"/>
            <c:spPr>
              <a:solidFill>
                <a:srgbClr val="AEABAB"/>
              </a:solidFill>
            </c:spPr>
            <c:extLst>
              <c:ext xmlns:c16="http://schemas.microsoft.com/office/drawing/2014/chart" uri="{C3380CC4-5D6E-409C-BE32-E72D297353CC}">
                <c16:uniqueId val="{000001DB-B350-432A-930C-7978D5DB6D71}"/>
              </c:ext>
            </c:extLst>
          </c:dPt>
          <c:dPt>
            <c:idx val="237"/>
            <c:invertIfNegative val="1"/>
            <c:bubble3D val="0"/>
            <c:spPr>
              <a:solidFill>
                <a:srgbClr val="AEABAB"/>
              </a:solidFill>
            </c:spPr>
            <c:extLst>
              <c:ext xmlns:c16="http://schemas.microsoft.com/office/drawing/2014/chart" uri="{C3380CC4-5D6E-409C-BE32-E72D297353CC}">
                <c16:uniqueId val="{000001DD-B350-432A-930C-7978D5DB6D71}"/>
              </c:ext>
            </c:extLst>
          </c:dPt>
          <c:dPt>
            <c:idx val="238"/>
            <c:invertIfNegative val="1"/>
            <c:bubble3D val="0"/>
            <c:spPr>
              <a:solidFill>
                <a:srgbClr val="AEABAB"/>
              </a:solidFill>
            </c:spPr>
            <c:extLst>
              <c:ext xmlns:c16="http://schemas.microsoft.com/office/drawing/2014/chart" uri="{C3380CC4-5D6E-409C-BE32-E72D297353CC}">
                <c16:uniqueId val="{000001DF-B350-432A-930C-7978D5DB6D71}"/>
              </c:ext>
            </c:extLst>
          </c:dPt>
          <c:dPt>
            <c:idx val="239"/>
            <c:invertIfNegative val="1"/>
            <c:bubble3D val="0"/>
            <c:spPr>
              <a:solidFill>
                <a:srgbClr val="AEABAB"/>
              </a:solidFill>
            </c:spPr>
            <c:extLst>
              <c:ext xmlns:c16="http://schemas.microsoft.com/office/drawing/2014/chart" uri="{C3380CC4-5D6E-409C-BE32-E72D297353CC}">
                <c16:uniqueId val="{000001E1-B350-432A-930C-7978D5DB6D71}"/>
              </c:ext>
            </c:extLst>
          </c:dPt>
          <c:dPt>
            <c:idx val="240"/>
            <c:invertIfNegative val="1"/>
            <c:bubble3D val="0"/>
            <c:spPr>
              <a:solidFill>
                <a:srgbClr val="AEABAB"/>
              </a:solidFill>
            </c:spPr>
            <c:extLst>
              <c:ext xmlns:c16="http://schemas.microsoft.com/office/drawing/2014/chart" uri="{C3380CC4-5D6E-409C-BE32-E72D297353CC}">
                <c16:uniqueId val="{000001E3-B350-432A-930C-7978D5DB6D71}"/>
              </c:ext>
            </c:extLst>
          </c:dPt>
          <c:dPt>
            <c:idx val="241"/>
            <c:invertIfNegative val="1"/>
            <c:bubble3D val="0"/>
            <c:spPr>
              <a:solidFill>
                <a:srgbClr val="AEABAB"/>
              </a:solidFill>
            </c:spPr>
            <c:extLst>
              <c:ext xmlns:c16="http://schemas.microsoft.com/office/drawing/2014/chart" uri="{C3380CC4-5D6E-409C-BE32-E72D297353CC}">
                <c16:uniqueId val="{000001E5-B350-432A-930C-7978D5DB6D71}"/>
              </c:ext>
            </c:extLst>
          </c:dPt>
          <c:dPt>
            <c:idx val="242"/>
            <c:invertIfNegative val="1"/>
            <c:bubble3D val="0"/>
            <c:spPr>
              <a:solidFill>
                <a:srgbClr val="AEABAB"/>
              </a:solidFill>
            </c:spPr>
            <c:extLst>
              <c:ext xmlns:c16="http://schemas.microsoft.com/office/drawing/2014/chart" uri="{C3380CC4-5D6E-409C-BE32-E72D297353CC}">
                <c16:uniqueId val="{000001E7-B350-432A-930C-7978D5DB6D71}"/>
              </c:ext>
            </c:extLst>
          </c:dPt>
          <c:dPt>
            <c:idx val="243"/>
            <c:invertIfNegative val="1"/>
            <c:bubble3D val="0"/>
            <c:spPr>
              <a:solidFill>
                <a:srgbClr val="AEABAB"/>
              </a:solidFill>
            </c:spPr>
            <c:extLst>
              <c:ext xmlns:c16="http://schemas.microsoft.com/office/drawing/2014/chart" uri="{C3380CC4-5D6E-409C-BE32-E72D297353CC}">
                <c16:uniqueId val="{000001E9-B350-432A-930C-7978D5DB6D71}"/>
              </c:ext>
            </c:extLst>
          </c:dPt>
          <c:dPt>
            <c:idx val="244"/>
            <c:invertIfNegative val="1"/>
            <c:bubble3D val="0"/>
            <c:spPr>
              <a:solidFill>
                <a:srgbClr val="AEABAB"/>
              </a:solidFill>
            </c:spPr>
            <c:extLst>
              <c:ext xmlns:c16="http://schemas.microsoft.com/office/drawing/2014/chart" uri="{C3380CC4-5D6E-409C-BE32-E72D297353CC}">
                <c16:uniqueId val="{000001EB-B350-432A-930C-7978D5DB6D71}"/>
              </c:ext>
            </c:extLst>
          </c:dPt>
          <c:dPt>
            <c:idx val="245"/>
            <c:invertIfNegative val="1"/>
            <c:bubble3D val="0"/>
            <c:spPr>
              <a:solidFill>
                <a:srgbClr val="AEABAB"/>
              </a:solidFill>
            </c:spPr>
            <c:extLst>
              <c:ext xmlns:c16="http://schemas.microsoft.com/office/drawing/2014/chart" uri="{C3380CC4-5D6E-409C-BE32-E72D297353CC}">
                <c16:uniqueId val="{000001ED-B350-432A-930C-7978D5DB6D71}"/>
              </c:ext>
            </c:extLst>
          </c:dPt>
          <c:dPt>
            <c:idx val="246"/>
            <c:invertIfNegative val="1"/>
            <c:bubble3D val="0"/>
            <c:spPr>
              <a:solidFill>
                <a:srgbClr val="AEABAB"/>
              </a:solidFill>
            </c:spPr>
            <c:extLst>
              <c:ext xmlns:c16="http://schemas.microsoft.com/office/drawing/2014/chart" uri="{C3380CC4-5D6E-409C-BE32-E72D297353CC}">
                <c16:uniqueId val="{000001EF-B350-432A-930C-7978D5DB6D71}"/>
              </c:ext>
            </c:extLst>
          </c:dPt>
          <c:dPt>
            <c:idx val="247"/>
            <c:invertIfNegative val="1"/>
            <c:bubble3D val="0"/>
            <c:spPr>
              <a:solidFill>
                <a:srgbClr val="AEABAB"/>
              </a:solidFill>
            </c:spPr>
            <c:extLst>
              <c:ext xmlns:c16="http://schemas.microsoft.com/office/drawing/2014/chart" uri="{C3380CC4-5D6E-409C-BE32-E72D297353CC}">
                <c16:uniqueId val="{000001F1-B350-432A-930C-7978D5DB6D71}"/>
              </c:ext>
            </c:extLst>
          </c:dPt>
          <c:dPt>
            <c:idx val="248"/>
            <c:invertIfNegative val="1"/>
            <c:bubble3D val="0"/>
            <c:spPr>
              <a:solidFill>
                <a:srgbClr val="AEABAB"/>
              </a:solidFill>
            </c:spPr>
            <c:extLst>
              <c:ext xmlns:c16="http://schemas.microsoft.com/office/drawing/2014/chart" uri="{C3380CC4-5D6E-409C-BE32-E72D297353CC}">
                <c16:uniqueId val="{000001F3-B350-432A-930C-7978D5DB6D71}"/>
              </c:ext>
            </c:extLst>
          </c:dPt>
          <c:dPt>
            <c:idx val="249"/>
            <c:invertIfNegative val="1"/>
            <c:bubble3D val="0"/>
            <c:spPr>
              <a:solidFill>
                <a:srgbClr val="AEABAB"/>
              </a:solidFill>
            </c:spPr>
            <c:extLst>
              <c:ext xmlns:c16="http://schemas.microsoft.com/office/drawing/2014/chart" uri="{C3380CC4-5D6E-409C-BE32-E72D297353CC}">
                <c16:uniqueId val="{000001F5-B350-432A-930C-7978D5DB6D71}"/>
              </c:ext>
            </c:extLst>
          </c:dPt>
          <c:dPt>
            <c:idx val="250"/>
            <c:invertIfNegative val="1"/>
            <c:bubble3D val="0"/>
            <c:spPr>
              <a:solidFill>
                <a:srgbClr val="AEABAB"/>
              </a:solidFill>
            </c:spPr>
            <c:extLst>
              <c:ext xmlns:c16="http://schemas.microsoft.com/office/drawing/2014/chart" uri="{C3380CC4-5D6E-409C-BE32-E72D297353CC}">
                <c16:uniqueId val="{000001F7-B350-432A-930C-7978D5DB6D71}"/>
              </c:ext>
            </c:extLst>
          </c:dPt>
          <c:dPt>
            <c:idx val="251"/>
            <c:invertIfNegative val="1"/>
            <c:bubble3D val="0"/>
            <c:spPr>
              <a:solidFill>
                <a:srgbClr val="AEABAB"/>
              </a:solidFill>
            </c:spPr>
            <c:extLst>
              <c:ext xmlns:c16="http://schemas.microsoft.com/office/drawing/2014/chart" uri="{C3380CC4-5D6E-409C-BE32-E72D297353CC}">
                <c16:uniqueId val="{000001F9-B350-432A-930C-7978D5DB6D71}"/>
              </c:ext>
            </c:extLst>
          </c:dPt>
          <c:dPt>
            <c:idx val="252"/>
            <c:invertIfNegative val="1"/>
            <c:bubble3D val="0"/>
            <c:spPr>
              <a:solidFill>
                <a:srgbClr val="AEABAB"/>
              </a:solidFill>
            </c:spPr>
            <c:extLst>
              <c:ext xmlns:c16="http://schemas.microsoft.com/office/drawing/2014/chart" uri="{C3380CC4-5D6E-409C-BE32-E72D297353CC}">
                <c16:uniqueId val="{000001FB-B350-432A-930C-7978D5DB6D71}"/>
              </c:ext>
            </c:extLst>
          </c:dPt>
          <c:dPt>
            <c:idx val="253"/>
            <c:invertIfNegative val="1"/>
            <c:bubble3D val="0"/>
            <c:spPr>
              <a:solidFill>
                <a:srgbClr val="AEABAB"/>
              </a:solidFill>
            </c:spPr>
            <c:extLst>
              <c:ext xmlns:c16="http://schemas.microsoft.com/office/drawing/2014/chart" uri="{C3380CC4-5D6E-409C-BE32-E72D297353CC}">
                <c16:uniqueId val="{000001FD-B350-432A-930C-7978D5DB6D71}"/>
              </c:ext>
            </c:extLst>
          </c:dPt>
          <c:dPt>
            <c:idx val="254"/>
            <c:invertIfNegative val="1"/>
            <c:bubble3D val="0"/>
            <c:spPr>
              <a:solidFill>
                <a:srgbClr val="AEABAB"/>
              </a:solidFill>
            </c:spPr>
            <c:extLst>
              <c:ext xmlns:c16="http://schemas.microsoft.com/office/drawing/2014/chart" uri="{C3380CC4-5D6E-409C-BE32-E72D297353CC}">
                <c16:uniqueId val="{000001FF-B350-432A-930C-7978D5DB6D71}"/>
              </c:ext>
            </c:extLst>
          </c:dPt>
          <c:cat>
            <c:strRef>
              <c:f>Sheet1!$A$2:$A$256</c:f>
              <c:strCache>
                <c:ptCount val="255"/>
                <c:pt idx="0">
                  <c:v>Ruinart</c:v>
                </c:pt>
                <c:pt idx="1">
                  <c:v>Nicolas</c:v>
                </c:pt>
                <c:pt idx="2">
                  <c:v>Deutz</c:v>
                </c:pt>
                <c:pt idx="3">
                  <c:v>Heidsieck &amp;</c:v>
                </c:pt>
                <c:pt idx="4">
                  <c:v>Ruinart</c:v>
                </c:pt>
                <c:pt idx="5">
                  <c:v>Ayala</c:v>
                </c:pt>
                <c:pt idx="6">
                  <c:v>De Bligny</c:v>
                </c:pt>
                <c:pt idx="7">
                  <c:v>Malard</c:v>
                </c:pt>
                <c:pt idx="8">
                  <c:v>Ruinart</c:v>
                </c:pt>
                <c:pt idx="9">
                  <c:v>Ruinart</c:v>
                </c:pt>
                <c:pt idx="10">
                  <c:v>Laurent Per</c:v>
                </c:pt>
                <c:pt idx="11">
                  <c:v>Bollinger</c:v>
                </c:pt>
                <c:pt idx="12">
                  <c:v>Deutz</c:v>
                </c:pt>
                <c:pt idx="13">
                  <c:v>Besserat De</c:v>
                </c:pt>
                <c:pt idx="14">
                  <c:v>Canard Duch</c:v>
                </c:pt>
                <c:pt idx="15">
                  <c:v>Ruinart</c:v>
                </c:pt>
                <c:pt idx="16">
                  <c:v>Taittinger</c:v>
                </c:pt>
                <c:pt idx="17">
                  <c:v>Dom Perigno</c:v>
                </c:pt>
                <c:pt idx="18">
                  <c:v>Nicolas Feu</c:v>
                </c:pt>
                <c:pt idx="19">
                  <c:v>Ruinart</c:v>
                </c:pt>
                <c:pt idx="20">
                  <c:v>Campari: Al</c:v>
                </c:pt>
                <c:pt idx="21">
                  <c:v>Ruinart</c:v>
                </c:pt>
                <c:pt idx="22">
                  <c:v>Demoiselle</c:v>
                </c:pt>
                <c:pt idx="23">
                  <c:v>Dom Perigno</c:v>
                </c:pt>
                <c:pt idx="24">
                  <c:v>Pommery</c:v>
                </c:pt>
                <c:pt idx="25">
                  <c:v>Perrier Jou</c:v>
                </c:pt>
                <c:pt idx="26">
                  <c:v>Laurent Per</c:v>
                </c:pt>
                <c:pt idx="27">
                  <c:v>Savian</c:v>
                </c:pt>
                <c:pt idx="28">
                  <c:v>Roederer</c:v>
                </c:pt>
                <c:pt idx="29">
                  <c:v>All Others</c:v>
                </c:pt>
                <c:pt idx="30">
                  <c:v>Deutz</c:v>
                </c:pt>
                <c:pt idx="31">
                  <c:v>Laurent Per</c:v>
                </c:pt>
                <c:pt idx="32">
                  <c:v>Moët &amp; Chan</c:v>
                </c:pt>
                <c:pt idx="33">
                  <c:v>Roederer</c:v>
                </c:pt>
                <c:pt idx="34">
                  <c:v>Malard</c:v>
                </c:pt>
                <c:pt idx="35">
                  <c:v>Ruinart</c:v>
                </c:pt>
                <c:pt idx="36">
                  <c:v>Vesselle</c:v>
                </c:pt>
                <c:pt idx="37">
                  <c:v>Louis Marti</c:v>
                </c:pt>
                <c:pt idx="38">
                  <c:v>Veuve Clicq</c:v>
                </c:pt>
                <c:pt idx="39">
                  <c:v>Taittinger</c:v>
                </c:pt>
                <c:pt idx="40">
                  <c:v>Nicolas</c:v>
                </c:pt>
                <c:pt idx="41">
                  <c:v>Veuve Clicq</c:v>
                </c:pt>
                <c:pt idx="42">
                  <c:v>Roederer</c:v>
                </c:pt>
                <c:pt idx="43">
                  <c:v>Henriot</c:v>
                </c:pt>
                <c:pt idx="44">
                  <c:v>Besserat De</c:v>
                </c:pt>
                <c:pt idx="45">
                  <c:v>Campari: Al</c:v>
                </c:pt>
                <c:pt idx="46">
                  <c:v>Krug</c:v>
                </c:pt>
                <c:pt idx="47">
                  <c:v>Demoiselle</c:v>
                </c:pt>
                <c:pt idx="48">
                  <c:v>Nicolas</c:v>
                </c:pt>
                <c:pt idx="49">
                  <c:v>Nicolas</c:v>
                </c:pt>
                <c:pt idx="50">
                  <c:v>Ruinart</c:v>
                </c:pt>
                <c:pt idx="51">
                  <c:v>Deutz</c:v>
                </c:pt>
                <c:pt idx="52">
                  <c:v>All Others</c:v>
                </c:pt>
                <c:pt idx="53">
                  <c:v>Delamotte</c:v>
                </c:pt>
                <c:pt idx="54">
                  <c:v>All Others</c:v>
                </c:pt>
                <c:pt idx="55">
                  <c:v>Canard Duch</c:v>
                </c:pt>
                <c:pt idx="56">
                  <c:v>Lanson</c:v>
                </c:pt>
                <c:pt idx="57">
                  <c:v>Pommery</c:v>
                </c:pt>
                <c:pt idx="58">
                  <c:v>Bollinger</c:v>
                </c:pt>
                <c:pt idx="59">
                  <c:v>Besserat De</c:v>
                </c:pt>
                <c:pt idx="60">
                  <c:v>Veuve Clicq</c:v>
                </c:pt>
                <c:pt idx="61">
                  <c:v>Henriot</c:v>
                </c:pt>
                <c:pt idx="62">
                  <c:v>De Bligny</c:v>
                </c:pt>
                <c:pt idx="63">
                  <c:v>Malard</c:v>
                </c:pt>
                <c:pt idx="64">
                  <c:v>Ruinart</c:v>
                </c:pt>
                <c:pt idx="65">
                  <c:v>Nicolas Feu</c:v>
                </c:pt>
                <c:pt idx="66">
                  <c:v>Roederer</c:v>
                </c:pt>
                <c:pt idx="67">
                  <c:v>Laurent Per</c:v>
                </c:pt>
                <c:pt idx="68">
                  <c:v>Ruinart</c:v>
                </c:pt>
                <c:pt idx="69">
                  <c:v>Canard Duch</c:v>
                </c:pt>
                <c:pt idx="70">
                  <c:v>Nicolas Feu</c:v>
                </c:pt>
                <c:pt idx="71">
                  <c:v>Malard</c:v>
                </c:pt>
                <c:pt idx="72">
                  <c:v>Piper Heids</c:v>
                </c:pt>
                <c:pt idx="73">
                  <c:v>Nicolas Feu</c:v>
                </c:pt>
                <c:pt idx="74">
                  <c:v>Ayala</c:v>
                </c:pt>
                <c:pt idx="75">
                  <c:v>Malard</c:v>
                </c:pt>
                <c:pt idx="76">
                  <c:v>De Venoge</c:v>
                </c:pt>
                <c:pt idx="77">
                  <c:v>Henriot</c:v>
                </c:pt>
                <c:pt idx="78">
                  <c:v>Moët &amp; Chan</c:v>
                </c:pt>
                <c:pt idx="79">
                  <c:v>Dom Perigno</c:v>
                </c:pt>
                <c:pt idx="80">
                  <c:v>Moët &amp; Chan</c:v>
                </c:pt>
                <c:pt idx="81">
                  <c:v>Nicolas</c:v>
                </c:pt>
                <c:pt idx="82">
                  <c:v>Perrier Jou</c:v>
                </c:pt>
                <c:pt idx="83">
                  <c:v>Taittinger</c:v>
                </c:pt>
                <c:pt idx="84">
                  <c:v>Nicolas</c:v>
                </c:pt>
                <c:pt idx="85">
                  <c:v>Deutz</c:v>
                </c:pt>
                <c:pt idx="86">
                  <c:v>Roederer</c:v>
                </c:pt>
                <c:pt idx="87">
                  <c:v>Roederer</c:v>
                </c:pt>
                <c:pt idx="88">
                  <c:v>Ruinart</c:v>
                </c:pt>
                <c:pt idx="89">
                  <c:v>Moët &amp; Chan</c:v>
                </c:pt>
                <c:pt idx="90">
                  <c:v>Ruinart</c:v>
                </c:pt>
                <c:pt idx="91">
                  <c:v>Henriot</c:v>
                </c:pt>
                <c:pt idx="92">
                  <c:v>Roederer</c:v>
                </c:pt>
                <c:pt idx="93">
                  <c:v>Bollinger</c:v>
                </c:pt>
                <c:pt idx="94">
                  <c:v>Laurent Per</c:v>
                </c:pt>
                <c:pt idx="95">
                  <c:v>Canard Duch</c:v>
                </c:pt>
                <c:pt idx="96">
                  <c:v>Dom Perigno</c:v>
                </c:pt>
                <c:pt idx="97">
                  <c:v>Malard</c:v>
                </c:pt>
                <c:pt idx="98">
                  <c:v>Perrier Jou</c:v>
                </c:pt>
                <c:pt idx="99">
                  <c:v>De Venoge</c:v>
                </c:pt>
                <c:pt idx="100">
                  <c:v>Roederer</c:v>
                </c:pt>
                <c:pt idx="101">
                  <c:v>Roederer</c:v>
                </c:pt>
                <c:pt idx="102">
                  <c:v>Roederer</c:v>
                </c:pt>
                <c:pt idx="103">
                  <c:v>Canard Duch</c:v>
                </c:pt>
                <c:pt idx="104">
                  <c:v>Roederer</c:v>
                </c:pt>
                <c:pt idx="105">
                  <c:v>Nicolas</c:v>
                </c:pt>
                <c:pt idx="106">
                  <c:v>De Venoge</c:v>
                </c:pt>
                <c:pt idx="107">
                  <c:v>Krug</c:v>
                </c:pt>
                <c:pt idx="108">
                  <c:v>Pommery</c:v>
                </c:pt>
                <c:pt idx="109">
                  <c:v>Laurent Per</c:v>
                </c:pt>
                <c:pt idx="110">
                  <c:v>Deutz</c:v>
                </c:pt>
                <c:pt idx="111">
                  <c:v>Nicolas</c:v>
                </c:pt>
                <c:pt idx="112">
                  <c:v>Dom Perigno</c:v>
                </c:pt>
                <c:pt idx="113">
                  <c:v>Ruinart</c:v>
                </c:pt>
                <c:pt idx="114">
                  <c:v>Veuve Clicq</c:v>
                </c:pt>
                <c:pt idx="115">
                  <c:v>Ruinart</c:v>
                </c:pt>
                <c:pt idx="116">
                  <c:v>Vranken</c:v>
                </c:pt>
                <c:pt idx="117">
                  <c:v>Nicolas</c:v>
                </c:pt>
                <c:pt idx="118">
                  <c:v>Nicolas</c:v>
                </c:pt>
                <c:pt idx="119">
                  <c:v>Laurent Per</c:v>
                </c:pt>
                <c:pt idx="120">
                  <c:v>De Venoge</c:v>
                </c:pt>
                <c:pt idx="121">
                  <c:v>Vranken</c:v>
                </c:pt>
                <c:pt idx="122">
                  <c:v>Delamotte</c:v>
                </c:pt>
                <c:pt idx="123">
                  <c:v>Nicolas</c:v>
                </c:pt>
                <c:pt idx="124">
                  <c:v>Laurent Per</c:v>
                </c:pt>
                <c:pt idx="125">
                  <c:v>Moët &amp; Chan</c:v>
                </c:pt>
                <c:pt idx="126">
                  <c:v>Nicolas</c:v>
                </c:pt>
                <c:pt idx="127">
                  <c:v>Moët &amp; Chan</c:v>
                </c:pt>
                <c:pt idx="128">
                  <c:v>Nicolas Feu</c:v>
                </c:pt>
                <c:pt idx="129">
                  <c:v>Krug</c:v>
                </c:pt>
                <c:pt idx="130">
                  <c:v>Nicolas</c:v>
                </c:pt>
                <c:pt idx="131">
                  <c:v>Lanson</c:v>
                </c:pt>
                <c:pt idx="132">
                  <c:v>Bollinger</c:v>
                </c:pt>
                <c:pt idx="133">
                  <c:v>Louis Marti</c:v>
                </c:pt>
                <c:pt idx="134">
                  <c:v>Nicolas</c:v>
                </c:pt>
                <c:pt idx="135">
                  <c:v>Roederer</c:v>
                </c:pt>
                <c:pt idx="136">
                  <c:v>All Others</c:v>
                </c:pt>
                <c:pt idx="137">
                  <c:v>Taittinger</c:v>
                </c:pt>
                <c:pt idx="138">
                  <c:v>Besserat De</c:v>
                </c:pt>
                <c:pt idx="139">
                  <c:v>All Others</c:v>
                </c:pt>
                <c:pt idx="140">
                  <c:v>Perrier Jou</c:v>
                </c:pt>
                <c:pt idx="141">
                  <c:v>All Others</c:v>
                </c:pt>
                <c:pt idx="142">
                  <c:v>Pommery</c:v>
                </c:pt>
                <c:pt idx="143">
                  <c:v>Roederer</c:v>
                </c:pt>
                <c:pt idx="144">
                  <c:v>Ayala</c:v>
                </c:pt>
                <c:pt idx="145">
                  <c:v>Canard Duch</c:v>
                </c:pt>
                <c:pt idx="146">
                  <c:v>Roederer</c:v>
                </c:pt>
                <c:pt idx="147">
                  <c:v>Laurent Per</c:v>
                </c:pt>
                <c:pt idx="148">
                  <c:v>Deutz</c:v>
                </c:pt>
                <c:pt idx="149">
                  <c:v>Nicolas</c:v>
                </c:pt>
                <c:pt idx="150">
                  <c:v>Ruinart</c:v>
                </c:pt>
                <c:pt idx="151">
                  <c:v>Ruinart</c:v>
                </c:pt>
                <c:pt idx="152">
                  <c:v>Ruinart</c:v>
                </c:pt>
                <c:pt idx="153">
                  <c:v>Roederer</c:v>
                </c:pt>
                <c:pt idx="154">
                  <c:v>All Others</c:v>
                </c:pt>
                <c:pt idx="155">
                  <c:v>Nicolas</c:v>
                </c:pt>
                <c:pt idx="156">
                  <c:v>Vesselle</c:v>
                </c:pt>
                <c:pt idx="157">
                  <c:v>Dom Perigno</c:v>
                </c:pt>
                <c:pt idx="158">
                  <c:v>Dom Perigno</c:v>
                </c:pt>
                <c:pt idx="159">
                  <c:v>Demoiselle</c:v>
                </c:pt>
                <c:pt idx="160">
                  <c:v>Roederer</c:v>
                </c:pt>
                <c:pt idx="161">
                  <c:v>Ruinart</c:v>
                </c:pt>
                <c:pt idx="162">
                  <c:v>Deutz</c:v>
                </c:pt>
                <c:pt idx="163">
                  <c:v>Nicolas</c:v>
                </c:pt>
                <c:pt idx="164">
                  <c:v>Deutz</c:v>
                </c:pt>
                <c:pt idx="165">
                  <c:v>Taittinger</c:v>
                </c:pt>
                <c:pt idx="166">
                  <c:v>Vranken</c:v>
                </c:pt>
                <c:pt idx="167">
                  <c:v>Moët &amp; Chan</c:v>
                </c:pt>
                <c:pt idx="168">
                  <c:v>Roederer</c:v>
                </c:pt>
                <c:pt idx="169">
                  <c:v>Piper Heids</c:v>
                </c:pt>
                <c:pt idx="170">
                  <c:v>Pommery</c:v>
                </c:pt>
                <c:pt idx="171">
                  <c:v>Piper Heids</c:v>
                </c:pt>
                <c:pt idx="172">
                  <c:v>Nicolas</c:v>
                </c:pt>
                <c:pt idx="173">
                  <c:v>Besserat De</c:v>
                </c:pt>
                <c:pt idx="174">
                  <c:v>Nicolas</c:v>
                </c:pt>
                <c:pt idx="175">
                  <c:v>Ruinart</c:v>
                </c:pt>
                <c:pt idx="176">
                  <c:v>Roederer</c:v>
                </c:pt>
                <c:pt idx="177">
                  <c:v>Krug</c:v>
                </c:pt>
                <c:pt idx="178">
                  <c:v>Moët &amp; Chan</c:v>
                </c:pt>
                <c:pt idx="179">
                  <c:v>All Others</c:v>
                </c:pt>
                <c:pt idx="180">
                  <c:v>Demoiselle</c:v>
                </c:pt>
                <c:pt idx="181">
                  <c:v>Pommery</c:v>
                </c:pt>
                <c:pt idx="182">
                  <c:v>Henriot</c:v>
                </c:pt>
                <c:pt idx="183">
                  <c:v>Bollinger</c:v>
                </c:pt>
                <c:pt idx="184">
                  <c:v>Bollinger</c:v>
                </c:pt>
                <c:pt idx="185">
                  <c:v>Nicolas</c:v>
                </c:pt>
                <c:pt idx="186">
                  <c:v>Bollinger</c:v>
                </c:pt>
                <c:pt idx="187">
                  <c:v>Roederer</c:v>
                </c:pt>
                <c:pt idx="188">
                  <c:v>All Others</c:v>
                </c:pt>
                <c:pt idx="189">
                  <c:v>All Others</c:v>
                </c:pt>
                <c:pt idx="190">
                  <c:v>Ruinart</c:v>
                </c:pt>
                <c:pt idx="191">
                  <c:v>Taittinger</c:v>
                </c:pt>
                <c:pt idx="192">
                  <c:v>Roederer</c:v>
                </c:pt>
                <c:pt idx="193">
                  <c:v>Veuve Clicq</c:v>
                </c:pt>
                <c:pt idx="194">
                  <c:v>Demoiselle</c:v>
                </c:pt>
                <c:pt idx="195">
                  <c:v>Vesselle</c:v>
                </c:pt>
                <c:pt idx="196">
                  <c:v>Pommery</c:v>
                </c:pt>
                <c:pt idx="197">
                  <c:v>Bollinger</c:v>
                </c:pt>
                <c:pt idx="198">
                  <c:v>Roederer</c:v>
                </c:pt>
                <c:pt idx="199">
                  <c:v>Roederer</c:v>
                </c:pt>
                <c:pt idx="200">
                  <c:v>Pommery</c:v>
                </c:pt>
                <c:pt idx="201">
                  <c:v>Bollinger</c:v>
                </c:pt>
                <c:pt idx="202">
                  <c:v>De Venoge</c:v>
                </c:pt>
                <c:pt idx="203">
                  <c:v>All Others</c:v>
                </c:pt>
                <c:pt idx="204">
                  <c:v>De Venoge</c:v>
                </c:pt>
                <c:pt idx="205">
                  <c:v>All Others</c:v>
                </c:pt>
                <c:pt idx="206">
                  <c:v>Ruinart</c:v>
                </c:pt>
                <c:pt idx="207">
                  <c:v>Piper Heids</c:v>
                </c:pt>
                <c:pt idx="208">
                  <c:v>All Others</c:v>
                </c:pt>
                <c:pt idx="209">
                  <c:v>All Others</c:v>
                </c:pt>
                <c:pt idx="210">
                  <c:v>Veuve Clicq</c:v>
                </c:pt>
                <c:pt idx="211">
                  <c:v>Bollinger</c:v>
                </c:pt>
                <c:pt idx="212">
                  <c:v>Perrier Jou</c:v>
                </c:pt>
                <c:pt idx="213">
                  <c:v>Ruinart</c:v>
                </c:pt>
                <c:pt idx="214">
                  <c:v>Laurent Per</c:v>
                </c:pt>
                <c:pt idx="215">
                  <c:v>Nicolas</c:v>
                </c:pt>
                <c:pt idx="216">
                  <c:v>Canard Duch</c:v>
                </c:pt>
                <c:pt idx="217">
                  <c:v>Lanson</c:v>
                </c:pt>
                <c:pt idx="218">
                  <c:v>Deutz</c:v>
                </c:pt>
                <c:pt idx="219">
                  <c:v>Nicolas Feu</c:v>
                </c:pt>
                <c:pt idx="220">
                  <c:v>Veuve Clicq</c:v>
                </c:pt>
                <c:pt idx="221">
                  <c:v>Ayala</c:v>
                </c:pt>
                <c:pt idx="222">
                  <c:v>Pommery</c:v>
                </c:pt>
                <c:pt idx="223">
                  <c:v>All Others</c:v>
                </c:pt>
                <c:pt idx="224">
                  <c:v>Moët &amp; Chan</c:v>
                </c:pt>
                <c:pt idx="225">
                  <c:v>Demoiselle</c:v>
                </c:pt>
                <c:pt idx="226">
                  <c:v>Piper Heids</c:v>
                </c:pt>
                <c:pt idx="227">
                  <c:v>De Venoge</c:v>
                </c:pt>
                <c:pt idx="228">
                  <c:v>Roederer</c:v>
                </c:pt>
                <c:pt idx="229">
                  <c:v>Bollinger</c:v>
                </c:pt>
                <c:pt idx="230">
                  <c:v>Henriot</c:v>
                </c:pt>
                <c:pt idx="231">
                  <c:v>Malard</c:v>
                </c:pt>
                <c:pt idx="232">
                  <c:v>Vesselle</c:v>
                </c:pt>
                <c:pt idx="233">
                  <c:v>Roederer</c:v>
                </c:pt>
                <c:pt idx="234">
                  <c:v>All Others</c:v>
                </c:pt>
                <c:pt idx="235">
                  <c:v>Bollinger</c:v>
                </c:pt>
                <c:pt idx="236">
                  <c:v>De Venoge</c:v>
                </c:pt>
                <c:pt idx="237">
                  <c:v>Ruinart</c:v>
                </c:pt>
                <c:pt idx="238">
                  <c:v>Ruinart</c:v>
                </c:pt>
                <c:pt idx="239">
                  <c:v>Lanson</c:v>
                </c:pt>
                <c:pt idx="240">
                  <c:v>De Bligny</c:v>
                </c:pt>
                <c:pt idx="241">
                  <c:v>All Others</c:v>
                </c:pt>
                <c:pt idx="242">
                  <c:v>Laurent Per</c:v>
                </c:pt>
                <c:pt idx="243">
                  <c:v>All Others</c:v>
                </c:pt>
                <c:pt idx="244">
                  <c:v>All Others</c:v>
                </c:pt>
                <c:pt idx="245">
                  <c:v>Demoiselle</c:v>
                </c:pt>
                <c:pt idx="246">
                  <c:v>Piper Heids</c:v>
                </c:pt>
                <c:pt idx="247">
                  <c:v>All Others</c:v>
                </c:pt>
                <c:pt idx="248">
                  <c:v>Ayala</c:v>
                </c:pt>
                <c:pt idx="249">
                  <c:v>Pommery</c:v>
                </c:pt>
                <c:pt idx="250">
                  <c:v>Malard</c:v>
                </c:pt>
                <c:pt idx="251">
                  <c:v>Veuve Clicq</c:v>
                </c:pt>
                <c:pt idx="252">
                  <c:v>Vesselle</c:v>
                </c:pt>
                <c:pt idx="253">
                  <c:v>Besserat De</c:v>
                </c:pt>
                <c:pt idx="254">
                  <c:v>Martel</c:v>
                </c:pt>
              </c:strCache>
            </c:strRef>
          </c:cat>
          <c:val>
            <c:numRef>
              <c:f>Sheet1!$C$2:$C$256</c:f>
              <c:numCache>
                <c:formatCode>General</c:formatCode>
                <c:ptCount val="255"/>
                <c:pt idx="0">
                  <c:v>9.8631920336195875E-2</c:v>
                </c:pt>
                <c:pt idx="1">
                  <c:v>0.17825516485316634</c:v>
                </c:pt>
                <c:pt idx="2">
                  <c:v>0.23211833010956609</c:v>
                </c:pt>
                <c:pt idx="3">
                  <c:v>0.27083661485537153</c:v>
                </c:pt>
                <c:pt idx="4">
                  <c:v>0.30948204981192945</c:v>
                </c:pt>
                <c:pt idx="5">
                  <c:v>0.33960878481826146</c:v>
                </c:pt>
                <c:pt idx="6">
                  <c:v>0.36929842108910832</c:v>
                </c:pt>
                <c:pt idx="7">
                  <c:v>0.39573738162893707</c:v>
                </c:pt>
                <c:pt idx="8">
                  <c:v>0.41680002772229818</c:v>
                </c:pt>
                <c:pt idx="9">
                  <c:v>0.43772681880327879</c:v>
                </c:pt>
                <c:pt idx="10">
                  <c:v>0.45750652104059425</c:v>
                </c:pt>
                <c:pt idx="11">
                  <c:v>0.47696214016141936</c:v>
                </c:pt>
                <c:pt idx="12">
                  <c:v>0.49459257672461043</c:v>
                </c:pt>
                <c:pt idx="13">
                  <c:v>0.51135708525236734</c:v>
                </c:pt>
                <c:pt idx="14">
                  <c:v>0.52806370773137079</c:v>
                </c:pt>
                <c:pt idx="15">
                  <c:v>0.54416548006829757</c:v>
                </c:pt>
                <c:pt idx="16">
                  <c:v>0.55968130383008741</c:v>
                </c:pt>
                <c:pt idx="17">
                  <c:v>0.57385039094740942</c:v>
                </c:pt>
                <c:pt idx="18">
                  <c:v>0.58764735346560215</c:v>
                </c:pt>
                <c:pt idx="19">
                  <c:v>0.60075519635577779</c:v>
                </c:pt>
                <c:pt idx="20">
                  <c:v>0.61311012682951405</c:v>
                </c:pt>
                <c:pt idx="21">
                  <c:v>0.62503307774214467</c:v>
                </c:pt>
                <c:pt idx="22">
                  <c:v>0.63681662959859353</c:v>
                </c:pt>
                <c:pt idx="23">
                  <c:v>0.64795910330966422</c:v>
                </c:pt>
                <c:pt idx="24">
                  <c:v>0.65756464335893428</c:v>
                </c:pt>
                <c:pt idx="25">
                  <c:v>0.66695163404046176</c:v>
                </c:pt>
                <c:pt idx="26">
                  <c:v>0.67606494578400533</c:v>
                </c:pt>
                <c:pt idx="27">
                  <c:v>0.68499554238046323</c:v>
                </c:pt>
                <c:pt idx="28">
                  <c:v>0.69383950679511319</c:v>
                </c:pt>
                <c:pt idx="29">
                  <c:v>0.70244720162301444</c:v>
                </c:pt>
                <c:pt idx="30">
                  <c:v>0.71099504148893933</c:v>
                </c:pt>
                <c:pt idx="31">
                  <c:v>0.71947790721850835</c:v>
                </c:pt>
                <c:pt idx="32">
                  <c:v>0.72765480383323766</c:v>
                </c:pt>
                <c:pt idx="33">
                  <c:v>0.73545366910916898</c:v>
                </c:pt>
                <c:pt idx="34">
                  <c:v>0.74275754960086171</c:v>
                </c:pt>
                <c:pt idx="35">
                  <c:v>0.74973577184548579</c:v>
                </c:pt>
                <c:pt idx="36">
                  <c:v>0.75662775569094654</c:v>
                </c:pt>
                <c:pt idx="37">
                  <c:v>0.76341578091823792</c:v>
                </c:pt>
                <c:pt idx="38">
                  <c:v>0.76949027199354803</c:v>
                </c:pt>
                <c:pt idx="39">
                  <c:v>0.77547773710440571</c:v>
                </c:pt>
                <c:pt idx="40">
                  <c:v>0.78139944051361832</c:v>
                </c:pt>
                <c:pt idx="41">
                  <c:v>0.78702147533030464</c:v>
                </c:pt>
                <c:pt idx="42">
                  <c:v>0.79247654630568853</c:v>
                </c:pt>
                <c:pt idx="43">
                  <c:v>0.79790680897446375</c:v>
                </c:pt>
                <c:pt idx="44">
                  <c:v>0.80326540320192519</c:v>
                </c:pt>
                <c:pt idx="45">
                  <c:v>0.80843498175998763</c:v>
                </c:pt>
                <c:pt idx="46">
                  <c:v>0.81358605253375482</c:v>
                </c:pt>
                <c:pt idx="47">
                  <c:v>0.81833152718360325</c:v>
                </c:pt>
                <c:pt idx="48">
                  <c:v>0.82291555094917346</c:v>
                </c:pt>
                <c:pt idx="49">
                  <c:v>0.82744995810152644</c:v>
                </c:pt>
                <c:pt idx="50">
                  <c:v>0.83166225105061187</c:v>
                </c:pt>
                <c:pt idx="51">
                  <c:v>0.83566111380633434</c:v>
                </c:pt>
                <c:pt idx="52">
                  <c:v>0.8395371163769475</c:v>
                </c:pt>
                <c:pt idx="53">
                  <c:v>0.84333672511451185</c:v>
                </c:pt>
                <c:pt idx="54">
                  <c:v>0.84701307988432228</c:v>
                </c:pt>
                <c:pt idx="55">
                  <c:v>0.85062406673513224</c:v>
                </c:pt>
                <c:pt idx="56">
                  <c:v>0.85407399648430848</c:v>
                </c:pt>
                <c:pt idx="57">
                  <c:v>0.85748376040373742</c:v>
                </c:pt>
                <c:pt idx="58">
                  <c:v>0.86086202171159987</c:v>
                </c:pt>
                <c:pt idx="59">
                  <c:v>0.86418121562277506</c:v>
                </c:pt>
                <c:pt idx="60">
                  <c:v>0.86745984992155845</c:v>
                </c:pt>
                <c:pt idx="61">
                  <c:v>0.87053962398482831</c:v>
                </c:pt>
                <c:pt idx="62">
                  <c:v>0.87361861048280898</c:v>
                </c:pt>
                <c:pt idx="63">
                  <c:v>0.87662868501798796</c:v>
                </c:pt>
                <c:pt idx="64">
                  <c:v>0.87963600307465484</c:v>
                </c:pt>
                <c:pt idx="65">
                  <c:v>0.88254015007844144</c:v>
                </c:pt>
                <c:pt idx="66">
                  <c:v>0.88542972712437851</c:v>
                </c:pt>
                <c:pt idx="67">
                  <c:v>0.88817399837446509</c:v>
                </c:pt>
                <c:pt idx="68">
                  <c:v>0.89088519188240689</c:v>
                </c:pt>
                <c:pt idx="69">
                  <c:v>0.89358102786721005</c:v>
                </c:pt>
                <c:pt idx="70">
                  <c:v>0.8962311850652418</c:v>
                </c:pt>
                <c:pt idx="71">
                  <c:v>0.89884117643352623</c:v>
                </c:pt>
                <c:pt idx="72">
                  <c:v>0.90137122992496066</c:v>
                </c:pt>
                <c:pt idx="73">
                  <c:v>0.90382567714863549</c:v>
                </c:pt>
                <c:pt idx="74">
                  <c:v>0.90625728497892466</c:v>
                </c:pt>
                <c:pt idx="75">
                  <c:v>0.90857036423319482</c:v>
                </c:pt>
                <c:pt idx="76">
                  <c:v>0.91084879061474189</c:v>
                </c:pt>
                <c:pt idx="77">
                  <c:v>0.91308665738389705</c:v>
                </c:pt>
                <c:pt idx="78">
                  <c:v>0.9152816018447929</c:v>
                </c:pt>
                <c:pt idx="79">
                  <c:v>0.91743913695445345</c:v>
                </c:pt>
                <c:pt idx="80">
                  <c:v>0.91955729379965589</c:v>
                </c:pt>
                <c:pt idx="81">
                  <c:v>0.92163961642420145</c:v>
                </c:pt>
                <c:pt idx="82">
                  <c:v>0.92361167990826432</c:v>
                </c:pt>
                <c:pt idx="83">
                  <c:v>0.92552191951712792</c:v>
                </c:pt>
                <c:pt idx="84">
                  <c:v>0.9274246772557444</c:v>
                </c:pt>
                <c:pt idx="85">
                  <c:v>0.92930420181833062</c:v>
                </c:pt>
                <c:pt idx="86">
                  <c:v>0.93116836885777821</c:v>
                </c:pt>
                <c:pt idx="87">
                  <c:v>0.93300772759061712</c:v>
                </c:pt>
                <c:pt idx="88">
                  <c:v>0.93483999823585362</c:v>
                </c:pt>
                <c:pt idx="89">
                  <c:v>0.93661871444142708</c:v>
                </c:pt>
                <c:pt idx="90">
                  <c:v>0.93837813529741609</c:v>
                </c:pt>
                <c:pt idx="91">
                  <c:v>0.94001745244680779</c:v>
                </c:pt>
                <c:pt idx="92">
                  <c:v>0.94164377476892824</c:v>
                </c:pt>
                <c:pt idx="93">
                  <c:v>0.94311022133734879</c:v>
                </c:pt>
                <c:pt idx="94">
                  <c:v>0.9445632792958536</c:v>
                </c:pt>
                <c:pt idx="95">
                  <c:v>0.94598837868659313</c:v>
                </c:pt>
                <c:pt idx="96">
                  <c:v>0.94739536407568192</c:v>
                </c:pt>
                <c:pt idx="97">
                  <c:v>0.948682639540818</c:v>
                </c:pt>
                <c:pt idx="98">
                  <c:v>0.94995337613488162</c:v>
                </c:pt>
                <c:pt idx="99">
                  <c:v>0.95119930442233669</c:v>
                </c:pt>
                <c:pt idx="100">
                  <c:v>0.95239837257508653</c:v>
                </c:pt>
                <c:pt idx="101">
                  <c:v>0.95357657024767362</c:v>
                </c:pt>
                <c:pt idx="102">
                  <c:v>0.95474767983265818</c:v>
                </c:pt>
                <c:pt idx="103">
                  <c:v>0.95588728680607626</c:v>
                </c:pt>
                <c:pt idx="104">
                  <c:v>0.95702531864891605</c:v>
                </c:pt>
                <c:pt idx="105">
                  <c:v>0.95812554735787603</c:v>
                </c:pt>
                <c:pt idx="106">
                  <c:v>0.95919860506435994</c:v>
                </c:pt>
                <c:pt idx="107">
                  <c:v>0.96025984929150643</c:v>
                </c:pt>
                <c:pt idx="108">
                  <c:v>0.96130061682113466</c:v>
                </c:pt>
                <c:pt idx="109">
                  <c:v>0.96232366413175674</c:v>
                </c:pt>
                <c:pt idx="110">
                  <c:v>0.96331954043990264</c:v>
                </c:pt>
                <c:pt idx="111">
                  <c:v>0.9642992716596207</c:v>
                </c:pt>
                <c:pt idx="112">
                  <c:v>0.96526876453057975</c:v>
                </c:pt>
                <c:pt idx="113">
                  <c:v>0.96621463044286393</c:v>
                </c:pt>
                <c:pt idx="114">
                  <c:v>0.96714671396258767</c:v>
                </c:pt>
                <c:pt idx="115">
                  <c:v>0.96802721195587127</c:v>
                </c:pt>
                <c:pt idx="116">
                  <c:v>0.96889195864337163</c:v>
                </c:pt>
                <c:pt idx="117">
                  <c:v>0.96973780376393215</c:v>
                </c:pt>
                <c:pt idx="118">
                  <c:v>0.97057065405722143</c:v>
                </c:pt>
                <c:pt idx="119">
                  <c:v>0.97136609499927551</c:v>
                </c:pt>
                <c:pt idx="120">
                  <c:v>0.9721607483760405</c:v>
                </c:pt>
                <c:pt idx="121">
                  <c:v>0.97293886288173304</c:v>
                </c:pt>
                <c:pt idx="122">
                  <c:v>0.97369886338577483</c:v>
                </c:pt>
                <c:pt idx="123">
                  <c:v>0.97441554779891271</c:v>
                </c:pt>
                <c:pt idx="124">
                  <c:v>0.97512356899386976</c:v>
                </c:pt>
                <c:pt idx="125">
                  <c:v>0.97579142435907951</c:v>
                </c:pt>
                <c:pt idx="126">
                  <c:v>0.97644549733172892</c:v>
                </c:pt>
                <c:pt idx="127">
                  <c:v>0.97706334230107683</c:v>
                </c:pt>
                <c:pt idx="128">
                  <c:v>0.9776638608340632</c:v>
                </c:pt>
                <c:pt idx="129">
                  <c:v>0.978234845668706</c:v>
                </c:pt>
                <c:pt idx="130">
                  <c:v>0.97879126054549925</c:v>
                </c:pt>
                <c:pt idx="131">
                  <c:v>0.97933704329088889</c:v>
                </c:pt>
                <c:pt idx="132">
                  <c:v>0.97985604881644695</c:v>
                </c:pt>
                <c:pt idx="133">
                  <c:v>0.98035339629655305</c:v>
                </c:pt>
                <c:pt idx="134">
                  <c:v>0.98084247434112293</c:v>
                </c:pt>
                <c:pt idx="135">
                  <c:v>0.9813280083418916</c:v>
                </c:pt>
                <c:pt idx="136">
                  <c:v>0.98179306564514202</c:v>
                </c:pt>
                <c:pt idx="137">
                  <c:v>0.9822478845996333</c:v>
                </c:pt>
                <c:pt idx="138">
                  <c:v>0.98268537711776305</c:v>
                </c:pt>
                <c:pt idx="139">
                  <c:v>0.98312011315738068</c:v>
                </c:pt>
                <c:pt idx="140">
                  <c:v>0.9835493362399742</c:v>
                </c:pt>
                <c:pt idx="141">
                  <c:v>0.98397462149612192</c:v>
                </c:pt>
                <c:pt idx="142">
                  <c:v>0.98438100518532978</c:v>
                </c:pt>
                <c:pt idx="143">
                  <c:v>0.98478620752660384</c:v>
                </c:pt>
                <c:pt idx="144">
                  <c:v>0.98518668447614299</c:v>
                </c:pt>
                <c:pt idx="145">
                  <c:v>0.98556707851080849</c:v>
                </c:pt>
                <c:pt idx="146">
                  <c:v>0.98594117202316067</c:v>
                </c:pt>
                <c:pt idx="147">
                  <c:v>0.98631487175286825</c:v>
                </c:pt>
                <c:pt idx="148">
                  <c:v>0.98668857148257583</c:v>
                </c:pt>
                <c:pt idx="149">
                  <c:v>0.9870595147337714</c:v>
                </c:pt>
                <c:pt idx="150">
                  <c:v>0.98741391911389453</c:v>
                </c:pt>
                <c:pt idx="151">
                  <c:v>0.98776320431963804</c:v>
                </c:pt>
                <c:pt idx="152">
                  <c:v>0.98810973304686955</c:v>
                </c:pt>
                <c:pt idx="153">
                  <c:v>0.98844287316418533</c:v>
                </c:pt>
                <c:pt idx="154">
                  <c:v>0.98875317388811534</c:v>
                </c:pt>
                <c:pt idx="155">
                  <c:v>0.98903787874014759</c:v>
                </c:pt>
                <c:pt idx="156">
                  <c:v>0.98931470793928822</c:v>
                </c:pt>
                <c:pt idx="157">
                  <c:v>0.98959035579049504</c:v>
                </c:pt>
                <c:pt idx="158">
                  <c:v>0.98986600364170185</c:v>
                </c:pt>
                <c:pt idx="159">
                  <c:v>0.99012353749125803</c:v>
                </c:pt>
                <c:pt idx="160">
                  <c:v>0.99038107134081421</c:v>
                </c:pt>
                <c:pt idx="161">
                  <c:v>0.99062521658045455</c:v>
                </c:pt>
                <c:pt idx="162">
                  <c:v>0.99086896803745028</c:v>
                </c:pt>
                <c:pt idx="163">
                  <c:v>0.99111153814651232</c:v>
                </c:pt>
                <c:pt idx="164">
                  <c:v>0.99135371447292975</c:v>
                </c:pt>
                <c:pt idx="165">
                  <c:v>0.99157068871009402</c:v>
                </c:pt>
                <c:pt idx="166">
                  <c:v>0.99178687538196908</c:v>
                </c:pt>
                <c:pt idx="167">
                  <c:v>0.99199951801004294</c:v>
                </c:pt>
                <c:pt idx="168">
                  <c:v>0.99221137307282758</c:v>
                </c:pt>
                <c:pt idx="169">
                  <c:v>0.99242244057032314</c:v>
                </c:pt>
                <c:pt idx="170">
                  <c:v>0.99262641998021617</c:v>
                </c:pt>
                <c:pt idx="171">
                  <c:v>0.99282331130250678</c:v>
                </c:pt>
                <c:pt idx="172">
                  <c:v>0.99301153940661657</c:v>
                </c:pt>
                <c:pt idx="173">
                  <c:v>0.99319740481485896</c:v>
                </c:pt>
                <c:pt idx="174">
                  <c:v>0.99338090752723385</c:v>
                </c:pt>
                <c:pt idx="175">
                  <c:v>0.99356401645696413</c:v>
                </c:pt>
                <c:pt idx="176">
                  <c:v>0.9937431875602486</c:v>
                </c:pt>
                <c:pt idx="177">
                  <c:v>0.99392117731559937</c:v>
                </c:pt>
                <c:pt idx="178">
                  <c:v>0.99409837950566093</c:v>
                </c:pt>
                <c:pt idx="179">
                  <c:v>0.99427085630398748</c:v>
                </c:pt>
                <c:pt idx="180">
                  <c:v>0.99444333310231403</c:v>
                </c:pt>
                <c:pt idx="181">
                  <c:v>0.99461502233535148</c:v>
                </c:pt>
                <c:pt idx="182">
                  <c:v>0.99478041104607562</c:v>
                </c:pt>
                <c:pt idx="183">
                  <c:v>0.99494107436506474</c:v>
                </c:pt>
                <c:pt idx="184">
                  <c:v>0.99509819364025265</c:v>
                </c:pt>
                <c:pt idx="185">
                  <c:v>0.99524743726254894</c:v>
                </c:pt>
                <c:pt idx="186">
                  <c:v>0.99539628710220063</c:v>
                </c:pt>
                <c:pt idx="187">
                  <c:v>0.9955396239848282</c:v>
                </c:pt>
                <c:pt idx="188">
                  <c:v>0.99567744791043167</c:v>
                </c:pt>
                <c:pt idx="189">
                  <c:v>0.99581487805339053</c:v>
                </c:pt>
                <c:pt idx="190">
                  <c:v>0.99595033928312648</c:v>
                </c:pt>
                <c:pt idx="191">
                  <c:v>0.99608225646906123</c:v>
                </c:pt>
                <c:pt idx="192">
                  <c:v>0.99621259852441757</c:v>
                </c:pt>
                <c:pt idx="193">
                  <c:v>0.99634254679712941</c:v>
                </c:pt>
                <c:pt idx="194">
                  <c:v>0.99646737589546164</c:v>
                </c:pt>
                <c:pt idx="195">
                  <c:v>0.99658944851528186</c:v>
                </c:pt>
                <c:pt idx="196">
                  <c:v>0.99669813252518624</c:v>
                </c:pt>
                <c:pt idx="197">
                  <c:v>0.99680445383922323</c:v>
                </c:pt>
                <c:pt idx="198">
                  <c:v>0.9969084124573927</c:v>
                </c:pt>
                <c:pt idx="199">
                  <c:v>0.99701197729291757</c:v>
                </c:pt>
                <c:pt idx="200">
                  <c:v>0.99711396699786414</c:v>
                </c:pt>
                <c:pt idx="201">
                  <c:v>0.99721595670281071</c:v>
                </c:pt>
                <c:pt idx="202">
                  <c:v>0.99731755262511268</c:v>
                </c:pt>
                <c:pt idx="203">
                  <c:v>0.99741875476477004</c:v>
                </c:pt>
                <c:pt idx="204">
                  <c:v>0.99751916933913831</c:v>
                </c:pt>
                <c:pt idx="205">
                  <c:v>0.99761958391350658</c:v>
                </c:pt>
                <c:pt idx="206">
                  <c:v>0.99771763579200734</c:v>
                </c:pt>
                <c:pt idx="207">
                  <c:v>0.9978141125399298</c:v>
                </c:pt>
                <c:pt idx="208">
                  <c:v>0.99790547011347264</c:v>
                </c:pt>
                <c:pt idx="209">
                  <c:v>0.99799446499114797</c:v>
                </c:pt>
                <c:pt idx="210">
                  <c:v>0.9980826723035342</c:v>
                </c:pt>
                <c:pt idx="211">
                  <c:v>0.99816497287625172</c:v>
                </c:pt>
                <c:pt idx="212">
                  <c:v>0.99824569831839083</c:v>
                </c:pt>
                <c:pt idx="213">
                  <c:v>0.99832642376052994</c:v>
                </c:pt>
                <c:pt idx="214">
                  <c:v>0.99840518028944614</c:v>
                </c:pt>
                <c:pt idx="215">
                  <c:v>0.99848196790513943</c:v>
                </c:pt>
                <c:pt idx="216">
                  <c:v>0.99855639282496533</c:v>
                </c:pt>
                <c:pt idx="217">
                  <c:v>0.99863081774479123</c:v>
                </c:pt>
                <c:pt idx="218">
                  <c:v>0.99870091105552672</c:v>
                </c:pt>
                <c:pt idx="219">
                  <c:v>0.998770216800973</c:v>
                </c:pt>
                <c:pt idx="220">
                  <c:v>0.99883912876377468</c:v>
                </c:pt>
                <c:pt idx="221">
                  <c:v>0.99890725316128726</c:v>
                </c:pt>
                <c:pt idx="222">
                  <c:v>0.99897380242822154</c:v>
                </c:pt>
                <c:pt idx="223">
                  <c:v>0.99903838278193291</c:v>
                </c:pt>
                <c:pt idx="224">
                  <c:v>0.99909941909184297</c:v>
                </c:pt>
                <c:pt idx="225">
                  <c:v>0.99916006161910853</c:v>
                </c:pt>
                <c:pt idx="226">
                  <c:v>0.99921794766786198</c:v>
                </c:pt>
                <c:pt idx="227">
                  <c:v>0.99927386480339253</c:v>
                </c:pt>
                <c:pt idx="228">
                  <c:v>0.99932033115545316</c:v>
                </c:pt>
                <c:pt idx="229">
                  <c:v>0.99936561615957997</c:v>
                </c:pt>
                <c:pt idx="230">
                  <c:v>0.99941011359841769</c:v>
                </c:pt>
                <c:pt idx="231">
                  <c:v>0.99945461103725541</c:v>
                </c:pt>
                <c:pt idx="232">
                  <c:v>0.99949359551906891</c:v>
                </c:pt>
                <c:pt idx="233">
                  <c:v>0.99953100487030411</c:v>
                </c:pt>
                <c:pt idx="234">
                  <c:v>0.9995684142215393</c:v>
                </c:pt>
                <c:pt idx="235">
                  <c:v>0.9996054297901299</c:v>
                </c:pt>
                <c:pt idx="236">
                  <c:v>0.99964087022814219</c:v>
                </c:pt>
                <c:pt idx="237">
                  <c:v>0.99967355418764248</c:v>
                </c:pt>
                <c:pt idx="238">
                  <c:v>0.99970505679920896</c:v>
                </c:pt>
                <c:pt idx="239">
                  <c:v>0.99973340914961883</c:v>
                </c:pt>
                <c:pt idx="240">
                  <c:v>0.99976097393473951</c:v>
                </c:pt>
                <c:pt idx="241">
                  <c:v>0.99978735737192648</c:v>
                </c:pt>
                <c:pt idx="242">
                  <c:v>0.99981098433060134</c:v>
                </c:pt>
                <c:pt idx="243">
                  <c:v>0.9998334299413425</c:v>
                </c:pt>
                <c:pt idx="244">
                  <c:v>0.99985548176943906</c:v>
                </c:pt>
                <c:pt idx="245">
                  <c:v>0.9998728082058006</c:v>
                </c:pt>
                <c:pt idx="246">
                  <c:v>0.99988974085951754</c:v>
                </c:pt>
                <c:pt idx="247">
                  <c:v>0.99990588594794538</c:v>
                </c:pt>
                <c:pt idx="248">
                  <c:v>0.99992203103637323</c:v>
                </c:pt>
                <c:pt idx="249">
                  <c:v>0.99993738855951186</c:v>
                </c:pt>
                <c:pt idx="250">
                  <c:v>0.9999523523000059</c:v>
                </c:pt>
                <c:pt idx="251">
                  <c:v>0.99996652847521084</c:v>
                </c:pt>
                <c:pt idx="252">
                  <c:v>0.99997873573719287</c:v>
                </c:pt>
                <c:pt idx="253">
                  <c:v>0.9999901554338857</c:v>
                </c:pt>
                <c:pt idx="25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6</c:f>
              <c:strCache>
                <c:ptCount val="235"/>
                <c:pt idx="0">
                  <c:v>Ruinart</c:v>
                </c:pt>
                <c:pt idx="1">
                  <c:v>Ruinart</c:v>
                </c:pt>
                <c:pt idx="2">
                  <c:v>Nicolas</c:v>
                </c:pt>
                <c:pt idx="3">
                  <c:v>Deutz</c:v>
                </c:pt>
                <c:pt idx="4">
                  <c:v>Heidsieck &amp;</c:v>
                </c:pt>
                <c:pt idx="5">
                  <c:v>Malard</c:v>
                </c:pt>
                <c:pt idx="6">
                  <c:v>De Bligny</c:v>
                </c:pt>
                <c:pt idx="7">
                  <c:v>Laurent Per</c:v>
                </c:pt>
                <c:pt idx="8">
                  <c:v>Ayala</c:v>
                </c:pt>
                <c:pt idx="9">
                  <c:v>Canard Duch</c:v>
                </c:pt>
                <c:pt idx="10">
                  <c:v>Nicolas Feu</c:v>
                </c:pt>
                <c:pt idx="11">
                  <c:v>Bollinger</c:v>
                </c:pt>
                <c:pt idx="12">
                  <c:v>Besserat De</c:v>
                </c:pt>
                <c:pt idx="13">
                  <c:v>Taittinger</c:v>
                </c:pt>
                <c:pt idx="14">
                  <c:v>Ruinart</c:v>
                </c:pt>
                <c:pt idx="15">
                  <c:v>Ruinart</c:v>
                </c:pt>
                <c:pt idx="16">
                  <c:v>Ruinart</c:v>
                </c:pt>
                <c:pt idx="17">
                  <c:v>Ruinart</c:v>
                </c:pt>
                <c:pt idx="18">
                  <c:v>Deutz</c:v>
                </c:pt>
                <c:pt idx="19">
                  <c:v>Demoiselle</c:v>
                </c:pt>
                <c:pt idx="20">
                  <c:v>Ruinart</c:v>
                </c:pt>
                <c:pt idx="21">
                  <c:v>Dom Perigno</c:v>
                </c:pt>
                <c:pt idx="22">
                  <c:v>All Others</c:v>
                </c:pt>
                <c:pt idx="23">
                  <c:v>Perrier Jou</c:v>
                </c:pt>
                <c:pt idx="24">
                  <c:v>Savian</c:v>
                </c:pt>
                <c:pt idx="25">
                  <c:v>Nicolas</c:v>
                </c:pt>
                <c:pt idx="26">
                  <c:v>Besserat De</c:v>
                </c:pt>
                <c:pt idx="27">
                  <c:v>Laurent Per</c:v>
                </c:pt>
                <c:pt idx="28">
                  <c:v>Dom Perigno</c:v>
                </c:pt>
                <c:pt idx="29">
                  <c:v>Moët &amp; Chan</c:v>
                </c:pt>
                <c:pt idx="30">
                  <c:v>Taittinger</c:v>
                </c:pt>
                <c:pt idx="31">
                  <c:v>Roederer</c:v>
                </c:pt>
                <c:pt idx="32">
                  <c:v>Laurent Per</c:v>
                </c:pt>
                <c:pt idx="33">
                  <c:v>Campari: Al</c:v>
                </c:pt>
                <c:pt idx="34">
                  <c:v>Demoiselle</c:v>
                </c:pt>
                <c:pt idx="35">
                  <c:v>Deutz</c:v>
                </c:pt>
                <c:pt idx="36">
                  <c:v>Roederer</c:v>
                </c:pt>
                <c:pt idx="37">
                  <c:v>Pommery</c:v>
                </c:pt>
                <c:pt idx="38">
                  <c:v>Malard</c:v>
                </c:pt>
                <c:pt idx="39">
                  <c:v>Veuve Clicq</c:v>
                </c:pt>
                <c:pt idx="40">
                  <c:v>Nicolas</c:v>
                </c:pt>
                <c:pt idx="41">
                  <c:v>Veuve Clicq</c:v>
                </c:pt>
                <c:pt idx="42">
                  <c:v>Nicolas</c:v>
                </c:pt>
                <c:pt idx="43">
                  <c:v>Roederer</c:v>
                </c:pt>
                <c:pt idx="44">
                  <c:v>All Others</c:v>
                </c:pt>
                <c:pt idx="45">
                  <c:v>Ruinart</c:v>
                </c:pt>
                <c:pt idx="46">
                  <c:v>Henriot</c:v>
                </c:pt>
                <c:pt idx="47">
                  <c:v>Moët &amp; Chan</c:v>
                </c:pt>
                <c:pt idx="48">
                  <c:v>Vesselle</c:v>
                </c:pt>
                <c:pt idx="49">
                  <c:v>Bollinger</c:v>
                </c:pt>
                <c:pt idx="50">
                  <c:v>Moët &amp; Chan</c:v>
                </c:pt>
                <c:pt idx="51">
                  <c:v>Nicolas</c:v>
                </c:pt>
                <c:pt idx="52">
                  <c:v>Malard</c:v>
                </c:pt>
                <c:pt idx="53">
                  <c:v>Ruinart</c:v>
                </c:pt>
                <c:pt idx="54">
                  <c:v>De Bligny</c:v>
                </c:pt>
                <c:pt idx="55">
                  <c:v>Campari: Al</c:v>
                </c:pt>
                <c:pt idx="56">
                  <c:v>Roederer</c:v>
                </c:pt>
                <c:pt idx="57">
                  <c:v>Nicolas Feu</c:v>
                </c:pt>
                <c:pt idx="58">
                  <c:v>Nicolas Feu</c:v>
                </c:pt>
                <c:pt idx="59">
                  <c:v>Besserat De</c:v>
                </c:pt>
                <c:pt idx="60">
                  <c:v>Ayala</c:v>
                </c:pt>
                <c:pt idx="61">
                  <c:v>Lanson</c:v>
                </c:pt>
                <c:pt idx="62">
                  <c:v>Pommery</c:v>
                </c:pt>
                <c:pt idx="63">
                  <c:v>Krug</c:v>
                </c:pt>
                <c:pt idx="64">
                  <c:v>Ruinart</c:v>
                </c:pt>
                <c:pt idx="65">
                  <c:v>Roederer</c:v>
                </c:pt>
                <c:pt idx="66">
                  <c:v>Veuve Clicq</c:v>
                </c:pt>
                <c:pt idx="67">
                  <c:v>Canard Duch</c:v>
                </c:pt>
                <c:pt idx="68">
                  <c:v>Malard</c:v>
                </c:pt>
                <c:pt idx="69">
                  <c:v>Delamotte</c:v>
                </c:pt>
                <c:pt idx="70">
                  <c:v>De Venoge</c:v>
                </c:pt>
                <c:pt idx="71">
                  <c:v>Ruinart</c:v>
                </c:pt>
                <c:pt idx="72">
                  <c:v>Louis Marti</c:v>
                </c:pt>
                <c:pt idx="73">
                  <c:v>Henriot</c:v>
                </c:pt>
                <c:pt idx="74">
                  <c:v>Vranken</c:v>
                </c:pt>
                <c:pt idx="75">
                  <c:v>Piper Heids</c:v>
                </c:pt>
                <c:pt idx="76">
                  <c:v>Deutz</c:v>
                </c:pt>
                <c:pt idx="77">
                  <c:v>Canard Duch</c:v>
                </c:pt>
                <c:pt idx="78">
                  <c:v>De Venoge</c:v>
                </c:pt>
                <c:pt idx="79">
                  <c:v>Nicolas Feu</c:v>
                </c:pt>
                <c:pt idx="80">
                  <c:v>Malard</c:v>
                </c:pt>
                <c:pt idx="81">
                  <c:v>Deutz</c:v>
                </c:pt>
                <c:pt idx="82">
                  <c:v>Vranken</c:v>
                </c:pt>
                <c:pt idx="83">
                  <c:v>Canard Duch</c:v>
                </c:pt>
                <c:pt idx="84">
                  <c:v>Ruinart</c:v>
                </c:pt>
                <c:pt idx="85">
                  <c:v>Roederer</c:v>
                </c:pt>
                <c:pt idx="86">
                  <c:v>De Venoge</c:v>
                </c:pt>
                <c:pt idx="87">
                  <c:v>Ruinart</c:v>
                </c:pt>
                <c:pt idx="88">
                  <c:v>Dom Perigno</c:v>
                </c:pt>
                <c:pt idx="89">
                  <c:v>Laurent Per</c:v>
                </c:pt>
                <c:pt idx="90">
                  <c:v>Nicolas</c:v>
                </c:pt>
                <c:pt idx="91">
                  <c:v>Canard Duch</c:v>
                </c:pt>
                <c:pt idx="92">
                  <c:v>Ruinart</c:v>
                </c:pt>
                <c:pt idx="93">
                  <c:v>Roederer</c:v>
                </c:pt>
                <c:pt idx="94">
                  <c:v>Nicolas</c:v>
                </c:pt>
                <c:pt idx="95">
                  <c:v>Pommery</c:v>
                </c:pt>
                <c:pt idx="96">
                  <c:v>All Others</c:v>
                </c:pt>
                <c:pt idx="97">
                  <c:v>Ruinart</c:v>
                </c:pt>
                <c:pt idx="98">
                  <c:v>Bollinger</c:v>
                </c:pt>
                <c:pt idx="99">
                  <c:v>All Others</c:v>
                </c:pt>
                <c:pt idx="100">
                  <c:v>Veuve Clicq</c:v>
                </c:pt>
                <c:pt idx="101">
                  <c:v>Henriot</c:v>
                </c:pt>
                <c:pt idx="102">
                  <c:v>Roederer</c:v>
                </c:pt>
                <c:pt idx="103">
                  <c:v>Nicolas</c:v>
                </c:pt>
                <c:pt idx="104">
                  <c:v>Laurent Per</c:v>
                </c:pt>
                <c:pt idx="105">
                  <c:v>Perrier Jou</c:v>
                </c:pt>
                <c:pt idx="106">
                  <c:v>Piper Heids</c:v>
                </c:pt>
                <c:pt idx="107">
                  <c:v>Nicolas</c:v>
                </c:pt>
                <c:pt idx="108">
                  <c:v>Nicolas</c:v>
                </c:pt>
                <c:pt idx="109">
                  <c:v>Canard Duch</c:v>
                </c:pt>
                <c:pt idx="110">
                  <c:v>Louis Marti</c:v>
                </c:pt>
                <c:pt idx="111">
                  <c:v>Deutz</c:v>
                </c:pt>
                <c:pt idx="112">
                  <c:v>Moët &amp; Chan</c:v>
                </c:pt>
                <c:pt idx="113">
                  <c:v>Moët &amp; Chan</c:v>
                </c:pt>
                <c:pt idx="114">
                  <c:v>All Others</c:v>
                </c:pt>
                <c:pt idx="115">
                  <c:v>Bollinger</c:v>
                </c:pt>
                <c:pt idx="116">
                  <c:v>Perrier Jou</c:v>
                </c:pt>
                <c:pt idx="117">
                  <c:v>Malard</c:v>
                </c:pt>
                <c:pt idx="118">
                  <c:v>Laurent Per</c:v>
                </c:pt>
                <c:pt idx="119">
                  <c:v>Deutz</c:v>
                </c:pt>
                <c:pt idx="120">
                  <c:v>Nicolas</c:v>
                </c:pt>
                <c:pt idx="121">
                  <c:v>Roederer</c:v>
                </c:pt>
                <c:pt idx="122">
                  <c:v>Ruinart</c:v>
                </c:pt>
                <c:pt idx="123">
                  <c:v>Nicolas</c:v>
                </c:pt>
                <c:pt idx="124">
                  <c:v>Nicolas</c:v>
                </c:pt>
                <c:pt idx="125">
                  <c:v>Ruinart</c:v>
                </c:pt>
                <c:pt idx="126">
                  <c:v>Henriot</c:v>
                </c:pt>
                <c:pt idx="127">
                  <c:v>Ruinart</c:v>
                </c:pt>
                <c:pt idx="128">
                  <c:v>Taittinger</c:v>
                </c:pt>
                <c:pt idx="129">
                  <c:v>Laurent Per</c:v>
                </c:pt>
                <c:pt idx="130">
                  <c:v>Ruinart</c:v>
                </c:pt>
                <c:pt idx="131">
                  <c:v>All Others</c:v>
                </c:pt>
                <c:pt idx="132">
                  <c:v>Besserat De</c:v>
                </c:pt>
                <c:pt idx="133">
                  <c:v>Demoiselle</c:v>
                </c:pt>
                <c:pt idx="134">
                  <c:v>Ayala</c:v>
                </c:pt>
                <c:pt idx="135">
                  <c:v>De Venoge</c:v>
                </c:pt>
                <c:pt idx="136">
                  <c:v>Nicolas</c:v>
                </c:pt>
                <c:pt idx="137">
                  <c:v>Vesselle</c:v>
                </c:pt>
                <c:pt idx="138">
                  <c:v>Ruinart</c:v>
                </c:pt>
                <c:pt idx="139">
                  <c:v>Roederer</c:v>
                </c:pt>
                <c:pt idx="140">
                  <c:v>Delamotte</c:v>
                </c:pt>
                <c:pt idx="141">
                  <c:v>Taittinger</c:v>
                </c:pt>
                <c:pt idx="142">
                  <c:v>Nicolas</c:v>
                </c:pt>
                <c:pt idx="143">
                  <c:v>Bollinger</c:v>
                </c:pt>
                <c:pt idx="144">
                  <c:v>Nicolas</c:v>
                </c:pt>
                <c:pt idx="145">
                  <c:v>Moët &amp; Chan</c:v>
                </c:pt>
                <c:pt idx="146">
                  <c:v>Demoiselle</c:v>
                </c:pt>
                <c:pt idx="147">
                  <c:v>All Others</c:v>
                </c:pt>
                <c:pt idx="148">
                  <c:v>Nicolas</c:v>
                </c:pt>
                <c:pt idx="149">
                  <c:v>Lanson</c:v>
                </c:pt>
                <c:pt idx="150">
                  <c:v>De Venoge</c:v>
                </c:pt>
                <c:pt idx="151">
                  <c:v>Vesselle</c:v>
                </c:pt>
                <c:pt idx="152">
                  <c:v>Pommery</c:v>
                </c:pt>
                <c:pt idx="153">
                  <c:v>Pommery</c:v>
                </c:pt>
                <c:pt idx="154">
                  <c:v>Bollinger</c:v>
                </c:pt>
                <c:pt idx="155">
                  <c:v>All Others</c:v>
                </c:pt>
                <c:pt idx="156">
                  <c:v>Vranken</c:v>
                </c:pt>
                <c:pt idx="157">
                  <c:v>Pommery</c:v>
                </c:pt>
                <c:pt idx="158">
                  <c:v>De Venoge</c:v>
                </c:pt>
                <c:pt idx="159">
                  <c:v>Deutz</c:v>
                </c:pt>
                <c:pt idx="160">
                  <c:v>Deutz</c:v>
                </c:pt>
                <c:pt idx="161">
                  <c:v>Roederer</c:v>
                </c:pt>
                <c:pt idx="162">
                  <c:v>Deutz</c:v>
                </c:pt>
                <c:pt idx="163">
                  <c:v>Ruinart</c:v>
                </c:pt>
                <c:pt idx="164">
                  <c:v>Besserat De</c:v>
                </c:pt>
                <c:pt idx="165">
                  <c:v>Dom Perigno</c:v>
                </c:pt>
                <c:pt idx="166">
                  <c:v>Roederer</c:v>
                </c:pt>
                <c:pt idx="167">
                  <c:v>Pommery</c:v>
                </c:pt>
                <c:pt idx="168">
                  <c:v>Piper Heids</c:v>
                </c:pt>
                <c:pt idx="169">
                  <c:v>Taittinger</c:v>
                </c:pt>
                <c:pt idx="170">
                  <c:v>Canard Duch</c:v>
                </c:pt>
                <c:pt idx="171">
                  <c:v>Pommery</c:v>
                </c:pt>
                <c:pt idx="172">
                  <c:v>De Venoge</c:v>
                </c:pt>
                <c:pt idx="173">
                  <c:v>De Venoge</c:v>
                </c:pt>
                <c:pt idx="174">
                  <c:v>Demoiselle</c:v>
                </c:pt>
                <c:pt idx="175">
                  <c:v>Roederer</c:v>
                </c:pt>
                <c:pt idx="176">
                  <c:v>Roederer</c:v>
                </c:pt>
                <c:pt idx="177">
                  <c:v>Laurent Per</c:v>
                </c:pt>
                <c:pt idx="178">
                  <c:v>Roederer</c:v>
                </c:pt>
                <c:pt idx="179">
                  <c:v>All Others</c:v>
                </c:pt>
                <c:pt idx="180">
                  <c:v>Roederer</c:v>
                </c:pt>
                <c:pt idx="181">
                  <c:v>Laurent Per</c:v>
                </c:pt>
                <c:pt idx="182">
                  <c:v>Moët &amp; Chan</c:v>
                </c:pt>
                <c:pt idx="183">
                  <c:v>All Others</c:v>
                </c:pt>
                <c:pt idx="184">
                  <c:v>Henriot</c:v>
                </c:pt>
                <c:pt idx="185">
                  <c:v>Piper Heids</c:v>
                </c:pt>
                <c:pt idx="186">
                  <c:v>Pommery</c:v>
                </c:pt>
                <c:pt idx="187">
                  <c:v>Nicolas</c:v>
                </c:pt>
                <c:pt idx="188">
                  <c:v>All Others</c:v>
                </c:pt>
                <c:pt idx="189">
                  <c:v>Martel</c:v>
                </c:pt>
                <c:pt idx="190">
                  <c:v>Roederer</c:v>
                </c:pt>
                <c:pt idx="191">
                  <c:v>Nicolas</c:v>
                </c:pt>
                <c:pt idx="192">
                  <c:v>Ruinart</c:v>
                </c:pt>
                <c:pt idx="193">
                  <c:v>Canard Duch</c:v>
                </c:pt>
                <c:pt idx="194">
                  <c:v>Perrier Jou</c:v>
                </c:pt>
                <c:pt idx="195">
                  <c:v>Ruinart</c:v>
                </c:pt>
                <c:pt idx="196">
                  <c:v>Nicolas Feu</c:v>
                </c:pt>
                <c:pt idx="197">
                  <c:v>Roederer</c:v>
                </c:pt>
                <c:pt idx="198">
                  <c:v>Deutz</c:v>
                </c:pt>
                <c:pt idx="199">
                  <c:v>Henriot</c:v>
                </c:pt>
                <c:pt idx="200">
                  <c:v>Canard Duch</c:v>
                </c:pt>
                <c:pt idx="201">
                  <c:v>Ruinart</c:v>
                </c:pt>
                <c:pt idx="202">
                  <c:v>Henriot</c:v>
                </c:pt>
                <c:pt idx="203">
                  <c:v>Nicolas</c:v>
                </c:pt>
                <c:pt idx="204">
                  <c:v>De Bligny</c:v>
                </c:pt>
                <c:pt idx="205">
                  <c:v>All Others</c:v>
                </c:pt>
                <c:pt idx="206">
                  <c:v>Nicolas Feu</c:v>
                </c:pt>
                <c:pt idx="207">
                  <c:v>All Others</c:v>
                </c:pt>
                <c:pt idx="208">
                  <c:v>Pommery</c:v>
                </c:pt>
                <c:pt idx="209">
                  <c:v>Bollinger</c:v>
                </c:pt>
                <c:pt idx="210">
                  <c:v>Demoiselle</c:v>
                </c:pt>
                <c:pt idx="211">
                  <c:v>Piper Heids</c:v>
                </c:pt>
                <c:pt idx="212">
                  <c:v>Laurent Per</c:v>
                </c:pt>
                <c:pt idx="213">
                  <c:v>Laurent Per</c:v>
                </c:pt>
                <c:pt idx="214">
                  <c:v>Laurent Per</c:v>
                </c:pt>
                <c:pt idx="215">
                  <c:v>Perrier Jou</c:v>
                </c:pt>
                <c:pt idx="216">
                  <c:v>Roederer</c:v>
                </c:pt>
                <c:pt idx="217">
                  <c:v>Malard</c:v>
                </c:pt>
                <c:pt idx="218">
                  <c:v>Besserat De</c:v>
                </c:pt>
                <c:pt idx="219">
                  <c:v>Demoiselle</c:v>
                </c:pt>
                <c:pt idx="220">
                  <c:v>Ayala</c:v>
                </c:pt>
                <c:pt idx="221">
                  <c:v>Nicolas Feu</c:v>
                </c:pt>
                <c:pt idx="222">
                  <c:v>Roederer</c:v>
                </c:pt>
                <c:pt idx="223">
                  <c:v>Laurent Per</c:v>
                </c:pt>
                <c:pt idx="224">
                  <c:v>Roederer</c:v>
                </c:pt>
                <c:pt idx="225">
                  <c:v>Roederer</c:v>
                </c:pt>
                <c:pt idx="226">
                  <c:v>Besserat De</c:v>
                </c:pt>
                <c:pt idx="227">
                  <c:v>Malard</c:v>
                </c:pt>
                <c:pt idx="228">
                  <c:v>Pommery</c:v>
                </c:pt>
                <c:pt idx="229">
                  <c:v>Roederer</c:v>
                </c:pt>
                <c:pt idx="230">
                  <c:v>Vesselle</c:v>
                </c:pt>
                <c:pt idx="231">
                  <c:v>Pommery</c:v>
                </c:pt>
                <c:pt idx="232">
                  <c:v>Besserat De</c:v>
                </c:pt>
                <c:pt idx="233">
                  <c:v>Vranken</c:v>
                </c:pt>
                <c:pt idx="234">
                  <c:v>Vesselle</c:v>
                </c:pt>
              </c:strCache>
            </c:strRef>
          </c:cat>
          <c:val>
            <c:numRef>
              <c:f>Sheet1!$B$2:$B$236</c:f>
              <c:numCache>
                <c:formatCode>General</c:formatCode>
                <c:ptCount val="235"/>
                <c:pt idx="0">
                  <c:v>1</c:v>
                </c:pt>
                <c:pt idx="1">
                  <c:v>0.92</c:v>
                </c:pt>
                <c:pt idx="2">
                  <c:v>1</c:v>
                </c:pt>
                <c:pt idx="3">
                  <c:v>1</c:v>
                </c:pt>
                <c:pt idx="4">
                  <c:v>0.89</c:v>
                </c:pt>
                <c:pt idx="5">
                  <c:v>0.95</c:v>
                </c:pt>
                <c:pt idx="6">
                  <c:v>0.98</c:v>
                </c:pt>
                <c:pt idx="7">
                  <c:v>0.96</c:v>
                </c:pt>
                <c:pt idx="8">
                  <c:v>0.84</c:v>
                </c:pt>
                <c:pt idx="9">
                  <c:v>1</c:v>
                </c:pt>
                <c:pt idx="10">
                  <c:v>0.88</c:v>
                </c:pt>
                <c:pt idx="11">
                  <c:v>0.91</c:v>
                </c:pt>
                <c:pt idx="12">
                  <c:v>0.92</c:v>
                </c:pt>
                <c:pt idx="13">
                  <c:v>0.87</c:v>
                </c:pt>
                <c:pt idx="14">
                  <c:v>0.77</c:v>
                </c:pt>
                <c:pt idx="15">
                  <c:v>0.69</c:v>
                </c:pt>
                <c:pt idx="16">
                  <c:v>0.83</c:v>
                </c:pt>
                <c:pt idx="17">
                  <c:v>0.75</c:v>
                </c:pt>
                <c:pt idx="18">
                  <c:v>0.7</c:v>
                </c:pt>
                <c:pt idx="19">
                  <c:v>0.8</c:v>
                </c:pt>
                <c:pt idx="20">
                  <c:v>0.6</c:v>
                </c:pt>
                <c:pt idx="21">
                  <c:v>0.47</c:v>
                </c:pt>
                <c:pt idx="22">
                  <c:v>0.8</c:v>
                </c:pt>
                <c:pt idx="23">
                  <c:v>0.77</c:v>
                </c:pt>
                <c:pt idx="24">
                  <c:v>0.76</c:v>
                </c:pt>
                <c:pt idx="25">
                  <c:v>0.63</c:v>
                </c:pt>
                <c:pt idx="26">
                  <c:v>0.85</c:v>
                </c:pt>
                <c:pt idx="27">
                  <c:v>0.73</c:v>
                </c:pt>
                <c:pt idx="28">
                  <c:v>0.59</c:v>
                </c:pt>
                <c:pt idx="29">
                  <c:v>0.71</c:v>
                </c:pt>
                <c:pt idx="30">
                  <c:v>0.51</c:v>
                </c:pt>
                <c:pt idx="31">
                  <c:v>0.5</c:v>
                </c:pt>
                <c:pt idx="32">
                  <c:v>0.55000000000000004</c:v>
                </c:pt>
                <c:pt idx="33">
                  <c:v>0.54</c:v>
                </c:pt>
                <c:pt idx="34">
                  <c:v>0.74</c:v>
                </c:pt>
                <c:pt idx="35">
                  <c:v>0.59</c:v>
                </c:pt>
                <c:pt idx="36">
                  <c:v>0.6</c:v>
                </c:pt>
                <c:pt idx="37">
                  <c:v>0.7</c:v>
                </c:pt>
                <c:pt idx="38">
                  <c:v>0.69</c:v>
                </c:pt>
                <c:pt idx="39">
                  <c:v>0.49</c:v>
                </c:pt>
                <c:pt idx="40">
                  <c:v>0.52</c:v>
                </c:pt>
                <c:pt idx="41">
                  <c:v>0.63</c:v>
                </c:pt>
                <c:pt idx="42">
                  <c:v>0.64</c:v>
                </c:pt>
                <c:pt idx="43">
                  <c:v>0.41</c:v>
                </c:pt>
                <c:pt idx="44">
                  <c:v>0.55000000000000004</c:v>
                </c:pt>
                <c:pt idx="45">
                  <c:v>0.41</c:v>
                </c:pt>
                <c:pt idx="46">
                  <c:v>0.53</c:v>
                </c:pt>
                <c:pt idx="47">
                  <c:v>0.38</c:v>
                </c:pt>
                <c:pt idx="48">
                  <c:v>0.55000000000000004</c:v>
                </c:pt>
                <c:pt idx="49">
                  <c:v>0.4</c:v>
                </c:pt>
                <c:pt idx="50">
                  <c:v>0.55000000000000004</c:v>
                </c:pt>
                <c:pt idx="51">
                  <c:v>0.49</c:v>
                </c:pt>
                <c:pt idx="52">
                  <c:v>0.48</c:v>
                </c:pt>
                <c:pt idx="53">
                  <c:v>0.43</c:v>
                </c:pt>
                <c:pt idx="54">
                  <c:v>0.36</c:v>
                </c:pt>
                <c:pt idx="55">
                  <c:v>0.36</c:v>
                </c:pt>
                <c:pt idx="56">
                  <c:v>0.31</c:v>
                </c:pt>
                <c:pt idx="57">
                  <c:v>0.51</c:v>
                </c:pt>
                <c:pt idx="58">
                  <c:v>0.48</c:v>
                </c:pt>
                <c:pt idx="59">
                  <c:v>0.52</c:v>
                </c:pt>
                <c:pt idx="60">
                  <c:v>0.23</c:v>
                </c:pt>
                <c:pt idx="61">
                  <c:v>0.56000000000000005</c:v>
                </c:pt>
                <c:pt idx="62">
                  <c:v>0.44</c:v>
                </c:pt>
                <c:pt idx="63">
                  <c:v>0.18</c:v>
                </c:pt>
                <c:pt idx="64">
                  <c:v>0.44</c:v>
                </c:pt>
                <c:pt idx="65">
                  <c:v>0.59</c:v>
                </c:pt>
                <c:pt idx="66">
                  <c:v>0.3</c:v>
                </c:pt>
                <c:pt idx="67">
                  <c:v>0.36</c:v>
                </c:pt>
                <c:pt idx="68">
                  <c:v>0.45</c:v>
                </c:pt>
                <c:pt idx="69">
                  <c:v>0.24</c:v>
                </c:pt>
                <c:pt idx="70">
                  <c:v>0.22</c:v>
                </c:pt>
                <c:pt idx="71">
                  <c:v>0.25</c:v>
                </c:pt>
                <c:pt idx="72">
                  <c:v>0.28000000000000003</c:v>
                </c:pt>
                <c:pt idx="73">
                  <c:v>0.26</c:v>
                </c:pt>
                <c:pt idx="74">
                  <c:v>0.28000000000000003</c:v>
                </c:pt>
                <c:pt idx="75">
                  <c:v>0.4</c:v>
                </c:pt>
                <c:pt idx="76">
                  <c:v>0.62</c:v>
                </c:pt>
                <c:pt idx="77">
                  <c:v>0.32</c:v>
                </c:pt>
                <c:pt idx="78">
                  <c:v>0.34</c:v>
                </c:pt>
                <c:pt idx="79">
                  <c:v>0.59</c:v>
                </c:pt>
                <c:pt idx="80">
                  <c:v>0.31</c:v>
                </c:pt>
                <c:pt idx="81">
                  <c:v>0.59</c:v>
                </c:pt>
                <c:pt idx="82">
                  <c:v>0.22</c:v>
                </c:pt>
                <c:pt idx="83">
                  <c:v>0.14000000000000001</c:v>
                </c:pt>
                <c:pt idx="84">
                  <c:v>0.2</c:v>
                </c:pt>
                <c:pt idx="85">
                  <c:v>0.24</c:v>
                </c:pt>
                <c:pt idx="86">
                  <c:v>0.28000000000000003</c:v>
                </c:pt>
                <c:pt idx="87">
                  <c:v>0.59</c:v>
                </c:pt>
                <c:pt idx="88">
                  <c:v>0.14000000000000001</c:v>
                </c:pt>
                <c:pt idx="89">
                  <c:v>0.35</c:v>
                </c:pt>
                <c:pt idx="90">
                  <c:v>0.31</c:v>
                </c:pt>
                <c:pt idx="91">
                  <c:v>0.53</c:v>
                </c:pt>
                <c:pt idx="92">
                  <c:v>0.27</c:v>
                </c:pt>
                <c:pt idx="93">
                  <c:v>0.31</c:v>
                </c:pt>
                <c:pt idx="94">
                  <c:v>0.37</c:v>
                </c:pt>
                <c:pt idx="95">
                  <c:v>0.41</c:v>
                </c:pt>
                <c:pt idx="96">
                  <c:v>0.24</c:v>
                </c:pt>
                <c:pt idx="97">
                  <c:v>0.34</c:v>
                </c:pt>
                <c:pt idx="98">
                  <c:v>0.23</c:v>
                </c:pt>
                <c:pt idx="99">
                  <c:v>0.17</c:v>
                </c:pt>
                <c:pt idx="100">
                  <c:v>0.13</c:v>
                </c:pt>
                <c:pt idx="101">
                  <c:v>0.28000000000000003</c:v>
                </c:pt>
                <c:pt idx="102">
                  <c:v>0.13</c:v>
                </c:pt>
                <c:pt idx="103">
                  <c:v>0.41</c:v>
                </c:pt>
                <c:pt idx="104">
                  <c:v>0.15</c:v>
                </c:pt>
                <c:pt idx="105">
                  <c:v>0.13</c:v>
                </c:pt>
                <c:pt idx="106">
                  <c:v>0.13</c:v>
                </c:pt>
                <c:pt idx="107">
                  <c:v>0.3</c:v>
                </c:pt>
                <c:pt idx="108">
                  <c:v>0.32</c:v>
                </c:pt>
                <c:pt idx="109">
                  <c:v>0.35</c:v>
                </c:pt>
                <c:pt idx="110">
                  <c:v>0.21</c:v>
                </c:pt>
                <c:pt idx="111">
                  <c:v>0.21</c:v>
                </c:pt>
                <c:pt idx="112">
                  <c:v>0.18</c:v>
                </c:pt>
                <c:pt idx="113">
                  <c:v>0.39</c:v>
                </c:pt>
                <c:pt idx="114">
                  <c:v>0.26</c:v>
                </c:pt>
                <c:pt idx="115">
                  <c:v>0.17</c:v>
                </c:pt>
                <c:pt idx="116">
                  <c:v>0.15</c:v>
                </c:pt>
                <c:pt idx="117">
                  <c:v>0.19</c:v>
                </c:pt>
                <c:pt idx="118">
                  <c:v>0.14000000000000001</c:v>
                </c:pt>
                <c:pt idx="119">
                  <c:v>0.27</c:v>
                </c:pt>
                <c:pt idx="120">
                  <c:v>0.27</c:v>
                </c:pt>
                <c:pt idx="121">
                  <c:v>0.31</c:v>
                </c:pt>
                <c:pt idx="122">
                  <c:v>0.15</c:v>
                </c:pt>
                <c:pt idx="123">
                  <c:v>0.22</c:v>
                </c:pt>
                <c:pt idx="124">
                  <c:v>0.43</c:v>
                </c:pt>
                <c:pt idx="125">
                  <c:v>0.17</c:v>
                </c:pt>
                <c:pt idx="126">
                  <c:v>0.16</c:v>
                </c:pt>
                <c:pt idx="127">
                  <c:v>0.15</c:v>
                </c:pt>
                <c:pt idx="128">
                  <c:v>0.16</c:v>
                </c:pt>
                <c:pt idx="129">
                  <c:v>0.22</c:v>
                </c:pt>
                <c:pt idx="130">
                  <c:v>0.1</c:v>
                </c:pt>
                <c:pt idx="131">
                  <c:v>0.22</c:v>
                </c:pt>
                <c:pt idx="132">
                  <c:v>0.17</c:v>
                </c:pt>
                <c:pt idx="133">
                  <c:v>0.21</c:v>
                </c:pt>
                <c:pt idx="134">
                  <c:v>0.1</c:v>
                </c:pt>
                <c:pt idx="135">
                  <c:v>0.17</c:v>
                </c:pt>
                <c:pt idx="136">
                  <c:v>0.2</c:v>
                </c:pt>
                <c:pt idx="137">
                  <c:v>0.28000000000000003</c:v>
                </c:pt>
                <c:pt idx="138">
                  <c:v>0.12</c:v>
                </c:pt>
                <c:pt idx="139">
                  <c:v>0.15</c:v>
                </c:pt>
                <c:pt idx="140">
                  <c:v>0.22</c:v>
                </c:pt>
                <c:pt idx="141">
                  <c:v>0.13</c:v>
                </c:pt>
                <c:pt idx="142">
                  <c:v>0.2</c:v>
                </c:pt>
                <c:pt idx="143">
                  <c:v>7.0000000000000007E-2</c:v>
                </c:pt>
                <c:pt idx="144">
                  <c:v>0.17</c:v>
                </c:pt>
                <c:pt idx="145">
                  <c:v>0.22</c:v>
                </c:pt>
                <c:pt idx="146">
                  <c:v>0.18</c:v>
                </c:pt>
                <c:pt idx="147">
                  <c:v>0.13</c:v>
                </c:pt>
                <c:pt idx="148">
                  <c:v>0.28000000000000003</c:v>
                </c:pt>
                <c:pt idx="149">
                  <c:v>0.17</c:v>
                </c:pt>
                <c:pt idx="150">
                  <c:v>0.22</c:v>
                </c:pt>
                <c:pt idx="151">
                  <c:v>0.21</c:v>
                </c:pt>
                <c:pt idx="152">
                  <c:v>0.19</c:v>
                </c:pt>
                <c:pt idx="153">
                  <c:v>0.21</c:v>
                </c:pt>
                <c:pt idx="154">
                  <c:v>0.12</c:v>
                </c:pt>
                <c:pt idx="155">
                  <c:v>0.15</c:v>
                </c:pt>
                <c:pt idx="156">
                  <c:v>0.12</c:v>
                </c:pt>
                <c:pt idx="157">
                  <c:v>0.15</c:v>
                </c:pt>
                <c:pt idx="158">
                  <c:v>7.0000000000000007E-2</c:v>
                </c:pt>
                <c:pt idx="159">
                  <c:v>0.18</c:v>
                </c:pt>
                <c:pt idx="160">
                  <c:v>0.03</c:v>
                </c:pt>
                <c:pt idx="161">
                  <c:v>0.11</c:v>
                </c:pt>
                <c:pt idx="162">
                  <c:v>0.09</c:v>
                </c:pt>
                <c:pt idx="163">
                  <c:v>0.12</c:v>
                </c:pt>
                <c:pt idx="164">
                  <c:v>0.1</c:v>
                </c:pt>
                <c:pt idx="165">
                  <c:v>0.1</c:v>
                </c:pt>
                <c:pt idx="166">
                  <c:v>0.12</c:v>
                </c:pt>
                <c:pt idx="167">
                  <c:v>0.18</c:v>
                </c:pt>
                <c:pt idx="168">
                  <c:v>0.09</c:v>
                </c:pt>
                <c:pt idx="169">
                  <c:v>0.15</c:v>
                </c:pt>
                <c:pt idx="170">
                  <c:v>0.15</c:v>
                </c:pt>
                <c:pt idx="171">
                  <c:v>0.03</c:v>
                </c:pt>
                <c:pt idx="172">
                  <c:v>0.05</c:v>
                </c:pt>
                <c:pt idx="173">
                  <c:v>0.12</c:v>
                </c:pt>
                <c:pt idx="174">
                  <c:v>0.06</c:v>
                </c:pt>
                <c:pt idx="175">
                  <c:v>0.11</c:v>
                </c:pt>
                <c:pt idx="176">
                  <c:v>0.04</c:v>
                </c:pt>
                <c:pt idx="177">
                  <c:v>0.21</c:v>
                </c:pt>
                <c:pt idx="178">
                  <c:v>7.0000000000000007E-2</c:v>
                </c:pt>
                <c:pt idx="179">
                  <c:v>0.15</c:v>
                </c:pt>
                <c:pt idx="180">
                  <c:v>0.17</c:v>
                </c:pt>
                <c:pt idx="181">
                  <c:v>0.18</c:v>
                </c:pt>
                <c:pt idx="182">
                  <c:v>0.17</c:v>
                </c:pt>
                <c:pt idx="183">
                  <c:v>0.05</c:v>
                </c:pt>
                <c:pt idx="184">
                  <c:v>7.0000000000000007E-2</c:v>
                </c:pt>
                <c:pt idx="185">
                  <c:v>0.1</c:v>
                </c:pt>
                <c:pt idx="186">
                  <c:v>0.15</c:v>
                </c:pt>
                <c:pt idx="187">
                  <c:v>0.11</c:v>
                </c:pt>
                <c:pt idx="188">
                  <c:v>7.0000000000000007E-2</c:v>
                </c:pt>
                <c:pt idx="189">
                  <c:v>0.14000000000000001</c:v>
                </c:pt>
                <c:pt idx="190">
                  <c:v>0.04</c:v>
                </c:pt>
                <c:pt idx="191">
                  <c:v>0.08</c:v>
                </c:pt>
                <c:pt idx="192">
                  <c:v>0.1</c:v>
                </c:pt>
                <c:pt idx="193">
                  <c:v>0.09</c:v>
                </c:pt>
                <c:pt idx="194">
                  <c:v>0.05</c:v>
                </c:pt>
                <c:pt idx="195">
                  <c:v>0.18</c:v>
                </c:pt>
                <c:pt idx="196">
                  <c:v>0.06</c:v>
                </c:pt>
                <c:pt idx="197">
                  <c:v>0.22</c:v>
                </c:pt>
                <c:pt idx="198">
                  <c:v>0.03</c:v>
                </c:pt>
                <c:pt idx="199">
                  <c:v>0.16</c:v>
                </c:pt>
                <c:pt idx="200">
                  <c:v>0.27</c:v>
                </c:pt>
                <c:pt idx="201">
                  <c:v>7.0000000000000007E-2</c:v>
                </c:pt>
                <c:pt idx="202">
                  <c:v>0.04</c:v>
                </c:pt>
                <c:pt idx="203">
                  <c:v>0.05</c:v>
                </c:pt>
                <c:pt idx="204">
                  <c:v>0.05</c:v>
                </c:pt>
                <c:pt idx="205">
                  <c:v>0.06</c:v>
                </c:pt>
                <c:pt idx="206">
                  <c:v>0.16</c:v>
                </c:pt>
                <c:pt idx="207">
                  <c:v>0.05</c:v>
                </c:pt>
                <c:pt idx="208">
                  <c:v>0.09</c:v>
                </c:pt>
                <c:pt idx="209">
                  <c:v>0.12</c:v>
                </c:pt>
                <c:pt idx="210">
                  <c:v>0.13</c:v>
                </c:pt>
                <c:pt idx="211">
                  <c:v>0.11</c:v>
                </c:pt>
                <c:pt idx="212">
                  <c:v>0.03</c:v>
                </c:pt>
                <c:pt idx="213">
                  <c:v>0.04</c:v>
                </c:pt>
                <c:pt idx="214">
                  <c:v>0.04</c:v>
                </c:pt>
                <c:pt idx="215">
                  <c:v>0.13</c:v>
                </c:pt>
                <c:pt idx="216">
                  <c:v>0.04</c:v>
                </c:pt>
                <c:pt idx="217">
                  <c:v>0.04</c:v>
                </c:pt>
                <c:pt idx="218">
                  <c:v>0.22</c:v>
                </c:pt>
                <c:pt idx="219">
                  <c:v>0.08</c:v>
                </c:pt>
                <c:pt idx="220">
                  <c:v>0.03</c:v>
                </c:pt>
                <c:pt idx="221">
                  <c:v>0.02</c:v>
                </c:pt>
                <c:pt idx="222">
                  <c:v>0.05</c:v>
                </c:pt>
                <c:pt idx="223">
                  <c:v>0.03</c:v>
                </c:pt>
                <c:pt idx="224">
                  <c:v>0.03</c:v>
                </c:pt>
                <c:pt idx="225">
                  <c:v>0.09</c:v>
                </c:pt>
                <c:pt idx="226">
                  <c:v>0.09</c:v>
                </c:pt>
                <c:pt idx="227">
                  <c:v>0.04</c:v>
                </c:pt>
                <c:pt idx="228">
                  <c:v>0.08</c:v>
                </c:pt>
                <c:pt idx="229">
                  <c:v>0.02</c:v>
                </c:pt>
                <c:pt idx="230">
                  <c:v>0.02</c:v>
                </c:pt>
                <c:pt idx="231">
                  <c:v>0.03</c:v>
                </c:pt>
                <c:pt idx="232">
                  <c:v>7.0000000000000007E-2</c:v>
                </c:pt>
                <c:pt idx="233">
                  <c:v>7.0000000000000007E-2</c:v>
                </c:pt>
                <c:pt idx="234">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250D-4CDE-89B3-5C7B988EF792}"/>
              </c:ext>
            </c:extLst>
          </c:dPt>
          <c:dPt>
            <c:idx val="211"/>
            <c:invertIfNegative val="1"/>
            <c:bubble3D val="0"/>
            <c:spPr>
              <a:solidFill>
                <a:srgbClr val="AEABAB"/>
              </a:solidFill>
            </c:spPr>
            <c:extLst>
              <c:ext xmlns:c16="http://schemas.microsoft.com/office/drawing/2014/chart" uri="{C3380CC4-5D6E-409C-BE32-E72D297353CC}">
                <c16:uniqueId val="{000001A9-250D-4CDE-89B3-5C7B988EF792}"/>
              </c:ext>
            </c:extLst>
          </c:dPt>
          <c:dPt>
            <c:idx val="212"/>
            <c:invertIfNegative val="1"/>
            <c:bubble3D val="0"/>
            <c:spPr>
              <a:solidFill>
                <a:srgbClr val="AEABAB"/>
              </a:solidFill>
            </c:spPr>
            <c:extLst>
              <c:ext xmlns:c16="http://schemas.microsoft.com/office/drawing/2014/chart" uri="{C3380CC4-5D6E-409C-BE32-E72D297353CC}">
                <c16:uniqueId val="{000001AB-250D-4CDE-89B3-5C7B988EF792}"/>
              </c:ext>
            </c:extLst>
          </c:dPt>
          <c:dPt>
            <c:idx val="213"/>
            <c:invertIfNegative val="1"/>
            <c:bubble3D val="0"/>
            <c:spPr>
              <a:solidFill>
                <a:srgbClr val="AEABAB"/>
              </a:solidFill>
            </c:spPr>
            <c:extLst>
              <c:ext xmlns:c16="http://schemas.microsoft.com/office/drawing/2014/chart" uri="{C3380CC4-5D6E-409C-BE32-E72D297353CC}">
                <c16:uniqueId val="{000001AD-250D-4CDE-89B3-5C7B988EF792}"/>
              </c:ext>
            </c:extLst>
          </c:dPt>
          <c:dPt>
            <c:idx val="214"/>
            <c:invertIfNegative val="1"/>
            <c:bubble3D val="0"/>
            <c:spPr>
              <a:solidFill>
                <a:srgbClr val="AEABAB"/>
              </a:solidFill>
            </c:spPr>
            <c:extLst>
              <c:ext xmlns:c16="http://schemas.microsoft.com/office/drawing/2014/chart" uri="{C3380CC4-5D6E-409C-BE32-E72D297353CC}">
                <c16:uniqueId val="{000001AF-250D-4CDE-89B3-5C7B988EF792}"/>
              </c:ext>
            </c:extLst>
          </c:dPt>
          <c:dPt>
            <c:idx val="215"/>
            <c:invertIfNegative val="1"/>
            <c:bubble3D val="0"/>
            <c:spPr>
              <a:solidFill>
                <a:srgbClr val="AEABAB"/>
              </a:solidFill>
            </c:spPr>
            <c:extLst>
              <c:ext xmlns:c16="http://schemas.microsoft.com/office/drawing/2014/chart" uri="{C3380CC4-5D6E-409C-BE32-E72D297353CC}">
                <c16:uniqueId val="{000001B1-250D-4CDE-89B3-5C7B988EF792}"/>
              </c:ext>
            </c:extLst>
          </c:dPt>
          <c:dPt>
            <c:idx val="216"/>
            <c:invertIfNegative val="1"/>
            <c:bubble3D val="0"/>
            <c:spPr>
              <a:solidFill>
                <a:srgbClr val="AEABAB"/>
              </a:solidFill>
            </c:spPr>
            <c:extLst>
              <c:ext xmlns:c16="http://schemas.microsoft.com/office/drawing/2014/chart" uri="{C3380CC4-5D6E-409C-BE32-E72D297353CC}">
                <c16:uniqueId val="{000001B3-250D-4CDE-89B3-5C7B988EF792}"/>
              </c:ext>
            </c:extLst>
          </c:dPt>
          <c:dPt>
            <c:idx val="217"/>
            <c:invertIfNegative val="1"/>
            <c:bubble3D val="0"/>
            <c:spPr>
              <a:solidFill>
                <a:srgbClr val="AEABAB"/>
              </a:solidFill>
            </c:spPr>
            <c:extLst>
              <c:ext xmlns:c16="http://schemas.microsoft.com/office/drawing/2014/chart" uri="{C3380CC4-5D6E-409C-BE32-E72D297353CC}">
                <c16:uniqueId val="{000001B5-250D-4CDE-89B3-5C7B988EF792}"/>
              </c:ext>
            </c:extLst>
          </c:dPt>
          <c:dPt>
            <c:idx val="218"/>
            <c:invertIfNegative val="1"/>
            <c:bubble3D val="0"/>
            <c:spPr>
              <a:solidFill>
                <a:srgbClr val="AEABAB"/>
              </a:solidFill>
            </c:spPr>
            <c:extLst>
              <c:ext xmlns:c16="http://schemas.microsoft.com/office/drawing/2014/chart" uri="{C3380CC4-5D6E-409C-BE32-E72D297353CC}">
                <c16:uniqueId val="{000001B7-250D-4CDE-89B3-5C7B988EF792}"/>
              </c:ext>
            </c:extLst>
          </c:dPt>
          <c:dPt>
            <c:idx val="219"/>
            <c:invertIfNegative val="1"/>
            <c:bubble3D val="0"/>
            <c:spPr>
              <a:solidFill>
                <a:srgbClr val="AEABAB"/>
              </a:solidFill>
            </c:spPr>
            <c:extLst>
              <c:ext xmlns:c16="http://schemas.microsoft.com/office/drawing/2014/chart" uri="{C3380CC4-5D6E-409C-BE32-E72D297353CC}">
                <c16:uniqueId val="{000001B9-250D-4CDE-89B3-5C7B988EF792}"/>
              </c:ext>
            </c:extLst>
          </c:dPt>
          <c:dPt>
            <c:idx val="220"/>
            <c:invertIfNegative val="1"/>
            <c:bubble3D val="0"/>
            <c:spPr>
              <a:solidFill>
                <a:srgbClr val="AEABAB"/>
              </a:solidFill>
            </c:spPr>
            <c:extLst>
              <c:ext xmlns:c16="http://schemas.microsoft.com/office/drawing/2014/chart" uri="{C3380CC4-5D6E-409C-BE32-E72D297353CC}">
                <c16:uniqueId val="{000001BB-250D-4CDE-89B3-5C7B988EF792}"/>
              </c:ext>
            </c:extLst>
          </c:dPt>
          <c:dPt>
            <c:idx val="221"/>
            <c:invertIfNegative val="1"/>
            <c:bubble3D val="0"/>
            <c:spPr>
              <a:solidFill>
                <a:srgbClr val="AEABAB"/>
              </a:solidFill>
            </c:spPr>
            <c:extLst>
              <c:ext xmlns:c16="http://schemas.microsoft.com/office/drawing/2014/chart" uri="{C3380CC4-5D6E-409C-BE32-E72D297353CC}">
                <c16:uniqueId val="{000001BD-250D-4CDE-89B3-5C7B988EF792}"/>
              </c:ext>
            </c:extLst>
          </c:dPt>
          <c:dPt>
            <c:idx val="222"/>
            <c:invertIfNegative val="1"/>
            <c:bubble3D val="0"/>
            <c:spPr>
              <a:solidFill>
                <a:srgbClr val="AEABAB"/>
              </a:solidFill>
            </c:spPr>
            <c:extLst>
              <c:ext xmlns:c16="http://schemas.microsoft.com/office/drawing/2014/chart" uri="{C3380CC4-5D6E-409C-BE32-E72D297353CC}">
                <c16:uniqueId val="{000001BF-250D-4CDE-89B3-5C7B988EF792}"/>
              </c:ext>
            </c:extLst>
          </c:dPt>
          <c:dPt>
            <c:idx val="223"/>
            <c:invertIfNegative val="1"/>
            <c:bubble3D val="0"/>
            <c:spPr>
              <a:solidFill>
                <a:srgbClr val="AEABAB"/>
              </a:solidFill>
            </c:spPr>
            <c:extLst>
              <c:ext xmlns:c16="http://schemas.microsoft.com/office/drawing/2014/chart" uri="{C3380CC4-5D6E-409C-BE32-E72D297353CC}">
                <c16:uniqueId val="{000001C1-250D-4CDE-89B3-5C7B988EF792}"/>
              </c:ext>
            </c:extLst>
          </c:dPt>
          <c:dPt>
            <c:idx val="224"/>
            <c:invertIfNegative val="1"/>
            <c:bubble3D val="0"/>
            <c:spPr>
              <a:solidFill>
                <a:srgbClr val="AEABAB"/>
              </a:solidFill>
            </c:spPr>
            <c:extLst>
              <c:ext xmlns:c16="http://schemas.microsoft.com/office/drawing/2014/chart" uri="{C3380CC4-5D6E-409C-BE32-E72D297353CC}">
                <c16:uniqueId val="{000001C3-250D-4CDE-89B3-5C7B988EF792}"/>
              </c:ext>
            </c:extLst>
          </c:dPt>
          <c:dPt>
            <c:idx val="225"/>
            <c:invertIfNegative val="1"/>
            <c:bubble3D val="0"/>
            <c:spPr>
              <a:solidFill>
                <a:srgbClr val="AEABAB"/>
              </a:solidFill>
            </c:spPr>
            <c:extLst>
              <c:ext xmlns:c16="http://schemas.microsoft.com/office/drawing/2014/chart" uri="{C3380CC4-5D6E-409C-BE32-E72D297353CC}">
                <c16:uniqueId val="{000001C5-250D-4CDE-89B3-5C7B988EF792}"/>
              </c:ext>
            </c:extLst>
          </c:dPt>
          <c:dPt>
            <c:idx val="226"/>
            <c:invertIfNegative val="1"/>
            <c:bubble3D val="0"/>
            <c:spPr>
              <a:solidFill>
                <a:srgbClr val="AEABAB"/>
              </a:solidFill>
            </c:spPr>
            <c:extLst>
              <c:ext xmlns:c16="http://schemas.microsoft.com/office/drawing/2014/chart" uri="{C3380CC4-5D6E-409C-BE32-E72D297353CC}">
                <c16:uniqueId val="{000001C7-250D-4CDE-89B3-5C7B988EF792}"/>
              </c:ext>
            </c:extLst>
          </c:dPt>
          <c:dPt>
            <c:idx val="227"/>
            <c:invertIfNegative val="1"/>
            <c:bubble3D val="0"/>
            <c:spPr>
              <a:solidFill>
                <a:srgbClr val="AEABAB"/>
              </a:solidFill>
            </c:spPr>
            <c:extLst>
              <c:ext xmlns:c16="http://schemas.microsoft.com/office/drawing/2014/chart" uri="{C3380CC4-5D6E-409C-BE32-E72D297353CC}">
                <c16:uniqueId val="{000001C9-250D-4CDE-89B3-5C7B988EF792}"/>
              </c:ext>
            </c:extLst>
          </c:dPt>
          <c:dPt>
            <c:idx val="228"/>
            <c:invertIfNegative val="1"/>
            <c:bubble3D val="0"/>
            <c:spPr>
              <a:solidFill>
                <a:srgbClr val="AEABAB"/>
              </a:solidFill>
            </c:spPr>
            <c:extLst>
              <c:ext xmlns:c16="http://schemas.microsoft.com/office/drawing/2014/chart" uri="{C3380CC4-5D6E-409C-BE32-E72D297353CC}">
                <c16:uniqueId val="{000001CB-250D-4CDE-89B3-5C7B988EF792}"/>
              </c:ext>
            </c:extLst>
          </c:dPt>
          <c:dPt>
            <c:idx val="229"/>
            <c:invertIfNegative val="1"/>
            <c:bubble3D val="0"/>
            <c:spPr>
              <a:solidFill>
                <a:srgbClr val="AEABAB"/>
              </a:solidFill>
            </c:spPr>
            <c:extLst>
              <c:ext xmlns:c16="http://schemas.microsoft.com/office/drawing/2014/chart" uri="{C3380CC4-5D6E-409C-BE32-E72D297353CC}">
                <c16:uniqueId val="{000001CD-250D-4CDE-89B3-5C7B988EF792}"/>
              </c:ext>
            </c:extLst>
          </c:dPt>
          <c:dPt>
            <c:idx val="230"/>
            <c:invertIfNegative val="1"/>
            <c:bubble3D val="0"/>
            <c:spPr>
              <a:solidFill>
                <a:srgbClr val="AEABAB"/>
              </a:solidFill>
            </c:spPr>
            <c:extLst>
              <c:ext xmlns:c16="http://schemas.microsoft.com/office/drawing/2014/chart" uri="{C3380CC4-5D6E-409C-BE32-E72D297353CC}">
                <c16:uniqueId val="{000001CF-250D-4CDE-89B3-5C7B988EF792}"/>
              </c:ext>
            </c:extLst>
          </c:dPt>
          <c:dPt>
            <c:idx val="231"/>
            <c:invertIfNegative val="1"/>
            <c:bubble3D val="0"/>
            <c:spPr>
              <a:solidFill>
                <a:srgbClr val="AEABAB"/>
              </a:solidFill>
            </c:spPr>
            <c:extLst>
              <c:ext xmlns:c16="http://schemas.microsoft.com/office/drawing/2014/chart" uri="{C3380CC4-5D6E-409C-BE32-E72D297353CC}">
                <c16:uniqueId val="{000001D1-250D-4CDE-89B3-5C7B988EF792}"/>
              </c:ext>
            </c:extLst>
          </c:dPt>
          <c:dPt>
            <c:idx val="232"/>
            <c:invertIfNegative val="1"/>
            <c:bubble3D val="0"/>
            <c:spPr>
              <a:solidFill>
                <a:srgbClr val="AEABAB"/>
              </a:solidFill>
            </c:spPr>
            <c:extLst>
              <c:ext xmlns:c16="http://schemas.microsoft.com/office/drawing/2014/chart" uri="{C3380CC4-5D6E-409C-BE32-E72D297353CC}">
                <c16:uniqueId val="{000001D3-250D-4CDE-89B3-5C7B988EF792}"/>
              </c:ext>
            </c:extLst>
          </c:dPt>
          <c:dPt>
            <c:idx val="233"/>
            <c:invertIfNegative val="1"/>
            <c:bubble3D val="0"/>
            <c:spPr>
              <a:solidFill>
                <a:srgbClr val="AEABAB"/>
              </a:solidFill>
            </c:spPr>
            <c:extLst>
              <c:ext xmlns:c16="http://schemas.microsoft.com/office/drawing/2014/chart" uri="{C3380CC4-5D6E-409C-BE32-E72D297353CC}">
                <c16:uniqueId val="{000001D5-250D-4CDE-89B3-5C7B988EF792}"/>
              </c:ext>
            </c:extLst>
          </c:dPt>
          <c:dPt>
            <c:idx val="234"/>
            <c:invertIfNegative val="1"/>
            <c:bubble3D val="0"/>
            <c:spPr>
              <a:solidFill>
                <a:srgbClr val="AEABAB"/>
              </a:solidFill>
            </c:spPr>
            <c:extLst>
              <c:ext xmlns:c16="http://schemas.microsoft.com/office/drawing/2014/chart" uri="{C3380CC4-5D6E-409C-BE32-E72D297353CC}">
                <c16:uniqueId val="{000001D7-250D-4CDE-89B3-5C7B988EF792}"/>
              </c:ext>
            </c:extLst>
          </c:dPt>
          <c:cat>
            <c:strRef>
              <c:f>Sheet1!$A$2:$A$236</c:f>
              <c:strCache>
                <c:ptCount val="235"/>
                <c:pt idx="0">
                  <c:v>Ruinart</c:v>
                </c:pt>
                <c:pt idx="1">
                  <c:v>Ruinart</c:v>
                </c:pt>
                <c:pt idx="2">
                  <c:v>Nicolas</c:v>
                </c:pt>
                <c:pt idx="3">
                  <c:v>Deutz</c:v>
                </c:pt>
                <c:pt idx="4">
                  <c:v>Heidsieck &amp;</c:v>
                </c:pt>
                <c:pt idx="5">
                  <c:v>Malard</c:v>
                </c:pt>
                <c:pt idx="6">
                  <c:v>De Bligny</c:v>
                </c:pt>
                <c:pt idx="7">
                  <c:v>Laurent Per</c:v>
                </c:pt>
                <c:pt idx="8">
                  <c:v>Ayala</c:v>
                </c:pt>
                <c:pt idx="9">
                  <c:v>Canard Duch</c:v>
                </c:pt>
                <c:pt idx="10">
                  <c:v>Nicolas Feu</c:v>
                </c:pt>
                <c:pt idx="11">
                  <c:v>Bollinger</c:v>
                </c:pt>
                <c:pt idx="12">
                  <c:v>Besserat De</c:v>
                </c:pt>
                <c:pt idx="13">
                  <c:v>Taittinger</c:v>
                </c:pt>
                <c:pt idx="14">
                  <c:v>Ruinart</c:v>
                </c:pt>
                <c:pt idx="15">
                  <c:v>Ruinart</c:v>
                </c:pt>
                <c:pt idx="16">
                  <c:v>Ruinart</c:v>
                </c:pt>
                <c:pt idx="17">
                  <c:v>Ruinart</c:v>
                </c:pt>
                <c:pt idx="18">
                  <c:v>Deutz</c:v>
                </c:pt>
                <c:pt idx="19">
                  <c:v>Demoiselle</c:v>
                </c:pt>
                <c:pt idx="20">
                  <c:v>Ruinart</c:v>
                </c:pt>
                <c:pt idx="21">
                  <c:v>Dom Perigno</c:v>
                </c:pt>
                <c:pt idx="22">
                  <c:v>All Others</c:v>
                </c:pt>
                <c:pt idx="23">
                  <c:v>Perrier Jou</c:v>
                </c:pt>
                <c:pt idx="24">
                  <c:v>Savian</c:v>
                </c:pt>
                <c:pt idx="25">
                  <c:v>Nicolas</c:v>
                </c:pt>
                <c:pt idx="26">
                  <c:v>Besserat De</c:v>
                </c:pt>
                <c:pt idx="27">
                  <c:v>Laurent Per</c:v>
                </c:pt>
                <c:pt idx="28">
                  <c:v>Dom Perigno</c:v>
                </c:pt>
                <c:pt idx="29">
                  <c:v>Moët &amp; Chan</c:v>
                </c:pt>
                <c:pt idx="30">
                  <c:v>Taittinger</c:v>
                </c:pt>
                <c:pt idx="31">
                  <c:v>Roederer</c:v>
                </c:pt>
                <c:pt idx="32">
                  <c:v>Laurent Per</c:v>
                </c:pt>
                <c:pt idx="33">
                  <c:v>Campari: Al</c:v>
                </c:pt>
                <c:pt idx="34">
                  <c:v>Demoiselle</c:v>
                </c:pt>
                <c:pt idx="35">
                  <c:v>Deutz</c:v>
                </c:pt>
                <c:pt idx="36">
                  <c:v>Roederer</c:v>
                </c:pt>
                <c:pt idx="37">
                  <c:v>Pommery</c:v>
                </c:pt>
                <c:pt idx="38">
                  <c:v>Malard</c:v>
                </c:pt>
                <c:pt idx="39">
                  <c:v>Veuve Clicq</c:v>
                </c:pt>
                <c:pt idx="40">
                  <c:v>Nicolas</c:v>
                </c:pt>
                <c:pt idx="41">
                  <c:v>Veuve Clicq</c:v>
                </c:pt>
                <c:pt idx="42">
                  <c:v>Nicolas</c:v>
                </c:pt>
                <c:pt idx="43">
                  <c:v>Roederer</c:v>
                </c:pt>
                <c:pt idx="44">
                  <c:v>All Others</c:v>
                </c:pt>
                <c:pt idx="45">
                  <c:v>Ruinart</c:v>
                </c:pt>
                <c:pt idx="46">
                  <c:v>Henriot</c:v>
                </c:pt>
                <c:pt idx="47">
                  <c:v>Moët &amp; Chan</c:v>
                </c:pt>
                <c:pt idx="48">
                  <c:v>Vesselle</c:v>
                </c:pt>
                <c:pt idx="49">
                  <c:v>Bollinger</c:v>
                </c:pt>
                <c:pt idx="50">
                  <c:v>Moët &amp; Chan</c:v>
                </c:pt>
                <c:pt idx="51">
                  <c:v>Nicolas</c:v>
                </c:pt>
                <c:pt idx="52">
                  <c:v>Malard</c:v>
                </c:pt>
                <c:pt idx="53">
                  <c:v>Ruinart</c:v>
                </c:pt>
                <c:pt idx="54">
                  <c:v>De Bligny</c:v>
                </c:pt>
                <c:pt idx="55">
                  <c:v>Campari: Al</c:v>
                </c:pt>
                <c:pt idx="56">
                  <c:v>Roederer</c:v>
                </c:pt>
                <c:pt idx="57">
                  <c:v>Nicolas Feu</c:v>
                </c:pt>
                <c:pt idx="58">
                  <c:v>Nicolas Feu</c:v>
                </c:pt>
                <c:pt idx="59">
                  <c:v>Besserat De</c:v>
                </c:pt>
                <c:pt idx="60">
                  <c:v>Ayala</c:v>
                </c:pt>
                <c:pt idx="61">
                  <c:v>Lanson</c:v>
                </c:pt>
                <c:pt idx="62">
                  <c:v>Pommery</c:v>
                </c:pt>
                <c:pt idx="63">
                  <c:v>Krug</c:v>
                </c:pt>
                <c:pt idx="64">
                  <c:v>Ruinart</c:v>
                </c:pt>
                <c:pt idx="65">
                  <c:v>Roederer</c:v>
                </c:pt>
                <c:pt idx="66">
                  <c:v>Veuve Clicq</c:v>
                </c:pt>
                <c:pt idx="67">
                  <c:v>Canard Duch</c:v>
                </c:pt>
                <c:pt idx="68">
                  <c:v>Malard</c:v>
                </c:pt>
                <c:pt idx="69">
                  <c:v>Delamotte</c:v>
                </c:pt>
                <c:pt idx="70">
                  <c:v>De Venoge</c:v>
                </c:pt>
                <c:pt idx="71">
                  <c:v>Ruinart</c:v>
                </c:pt>
                <c:pt idx="72">
                  <c:v>Louis Marti</c:v>
                </c:pt>
                <c:pt idx="73">
                  <c:v>Henriot</c:v>
                </c:pt>
                <c:pt idx="74">
                  <c:v>Vranken</c:v>
                </c:pt>
                <c:pt idx="75">
                  <c:v>Piper Heids</c:v>
                </c:pt>
                <c:pt idx="76">
                  <c:v>Deutz</c:v>
                </c:pt>
                <c:pt idx="77">
                  <c:v>Canard Duch</c:v>
                </c:pt>
                <c:pt idx="78">
                  <c:v>De Venoge</c:v>
                </c:pt>
                <c:pt idx="79">
                  <c:v>Nicolas Feu</c:v>
                </c:pt>
                <c:pt idx="80">
                  <c:v>Malard</c:v>
                </c:pt>
                <c:pt idx="81">
                  <c:v>Deutz</c:v>
                </c:pt>
                <c:pt idx="82">
                  <c:v>Vranken</c:v>
                </c:pt>
                <c:pt idx="83">
                  <c:v>Canard Duch</c:v>
                </c:pt>
                <c:pt idx="84">
                  <c:v>Ruinart</c:v>
                </c:pt>
                <c:pt idx="85">
                  <c:v>Roederer</c:v>
                </c:pt>
                <c:pt idx="86">
                  <c:v>De Venoge</c:v>
                </c:pt>
                <c:pt idx="87">
                  <c:v>Ruinart</c:v>
                </c:pt>
                <c:pt idx="88">
                  <c:v>Dom Perigno</c:v>
                </c:pt>
                <c:pt idx="89">
                  <c:v>Laurent Per</c:v>
                </c:pt>
                <c:pt idx="90">
                  <c:v>Nicolas</c:v>
                </c:pt>
                <c:pt idx="91">
                  <c:v>Canard Duch</c:v>
                </c:pt>
                <c:pt idx="92">
                  <c:v>Ruinart</c:v>
                </c:pt>
                <c:pt idx="93">
                  <c:v>Roederer</c:v>
                </c:pt>
                <c:pt idx="94">
                  <c:v>Nicolas</c:v>
                </c:pt>
                <c:pt idx="95">
                  <c:v>Pommery</c:v>
                </c:pt>
                <c:pt idx="96">
                  <c:v>All Others</c:v>
                </c:pt>
                <c:pt idx="97">
                  <c:v>Ruinart</c:v>
                </c:pt>
                <c:pt idx="98">
                  <c:v>Bollinger</c:v>
                </c:pt>
                <c:pt idx="99">
                  <c:v>All Others</c:v>
                </c:pt>
                <c:pt idx="100">
                  <c:v>Veuve Clicq</c:v>
                </c:pt>
                <c:pt idx="101">
                  <c:v>Henriot</c:v>
                </c:pt>
                <c:pt idx="102">
                  <c:v>Roederer</c:v>
                </c:pt>
                <c:pt idx="103">
                  <c:v>Nicolas</c:v>
                </c:pt>
                <c:pt idx="104">
                  <c:v>Laurent Per</c:v>
                </c:pt>
                <c:pt idx="105">
                  <c:v>Perrier Jou</c:v>
                </c:pt>
                <c:pt idx="106">
                  <c:v>Piper Heids</c:v>
                </c:pt>
                <c:pt idx="107">
                  <c:v>Nicolas</c:v>
                </c:pt>
                <c:pt idx="108">
                  <c:v>Nicolas</c:v>
                </c:pt>
                <c:pt idx="109">
                  <c:v>Canard Duch</c:v>
                </c:pt>
                <c:pt idx="110">
                  <c:v>Louis Marti</c:v>
                </c:pt>
                <c:pt idx="111">
                  <c:v>Deutz</c:v>
                </c:pt>
                <c:pt idx="112">
                  <c:v>Moët &amp; Chan</c:v>
                </c:pt>
                <c:pt idx="113">
                  <c:v>Moët &amp; Chan</c:v>
                </c:pt>
                <c:pt idx="114">
                  <c:v>All Others</c:v>
                </c:pt>
                <c:pt idx="115">
                  <c:v>Bollinger</c:v>
                </c:pt>
                <c:pt idx="116">
                  <c:v>Perrier Jou</c:v>
                </c:pt>
                <c:pt idx="117">
                  <c:v>Malard</c:v>
                </c:pt>
                <c:pt idx="118">
                  <c:v>Laurent Per</c:v>
                </c:pt>
                <c:pt idx="119">
                  <c:v>Deutz</c:v>
                </c:pt>
                <c:pt idx="120">
                  <c:v>Nicolas</c:v>
                </c:pt>
                <c:pt idx="121">
                  <c:v>Roederer</c:v>
                </c:pt>
                <c:pt idx="122">
                  <c:v>Ruinart</c:v>
                </c:pt>
                <c:pt idx="123">
                  <c:v>Nicolas</c:v>
                </c:pt>
                <c:pt idx="124">
                  <c:v>Nicolas</c:v>
                </c:pt>
                <c:pt idx="125">
                  <c:v>Ruinart</c:v>
                </c:pt>
                <c:pt idx="126">
                  <c:v>Henriot</c:v>
                </c:pt>
                <c:pt idx="127">
                  <c:v>Ruinart</c:v>
                </c:pt>
                <c:pt idx="128">
                  <c:v>Taittinger</c:v>
                </c:pt>
                <c:pt idx="129">
                  <c:v>Laurent Per</c:v>
                </c:pt>
                <c:pt idx="130">
                  <c:v>Ruinart</c:v>
                </c:pt>
                <c:pt idx="131">
                  <c:v>All Others</c:v>
                </c:pt>
                <c:pt idx="132">
                  <c:v>Besserat De</c:v>
                </c:pt>
                <c:pt idx="133">
                  <c:v>Demoiselle</c:v>
                </c:pt>
                <c:pt idx="134">
                  <c:v>Ayala</c:v>
                </c:pt>
                <c:pt idx="135">
                  <c:v>De Venoge</c:v>
                </c:pt>
                <c:pt idx="136">
                  <c:v>Nicolas</c:v>
                </c:pt>
                <c:pt idx="137">
                  <c:v>Vesselle</c:v>
                </c:pt>
                <c:pt idx="138">
                  <c:v>Ruinart</c:v>
                </c:pt>
                <c:pt idx="139">
                  <c:v>Roederer</c:v>
                </c:pt>
                <c:pt idx="140">
                  <c:v>Delamotte</c:v>
                </c:pt>
                <c:pt idx="141">
                  <c:v>Taittinger</c:v>
                </c:pt>
                <c:pt idx="142">
                  <c:v>Nicolas</c:v>
                </c:pt>
                <c:pt idx="143">
                  <c:v>Bollinger</c:v>
                </c:pt>
                <c:pt idx="144">
                  <c:v>Nicolas</c:v>
                </c:pt>
                <c:pt idx="145">
                  <c:v>Moët &amp; Chan</c:v>
                </c:pt>
                <c:pt idx="146">
                  <c:v>Demoiselle</c:v>
                </c:pt>
                <c:pt idx="147">
                  <c:v>All Others</c:v>
                </c:pt>
                <c:pt idx="148">
                  <c:v>Nicolas</c:v>
                </c:pt>
                <c:pt idx="149">
                  <c:v>Lanson</c:v>
                </c:pt>
                <c:pt idx="150">
                  <c:v>De Venoge</c:v>
                </c:pt>
                <c:pt idx="151">
                  <c:v>Vesselle</c:v>
                </c:pt>
                <c:pt idx="152">
                  <c:v>Pommery</c:v>
                </c:pt>
                <c:pt idx="153">
                  <c:v>Pommery</c:v>
                </c:pt>
                <c:pt idx="154">
                  <c:v>Bollinger</c:v>
                </c:pt>
                <c:pt idx="155">
                  <c:v>All Others</c:v>
                </c:pt>
                <c:pt idx="156">
                  <c:v>Vranken</c:v>
                </c:pt>
                <c:pt idx="157">
                  <c:v>Pommery</c:v>
                </c:pt>
                <c:pt idx="158">
                  <c:v>De Venoge</c:v>
                </c:pt>
                <c:pt idx="159">
                  <c:v>Deutz</c:v>
                </c:pt>
                <c:pt idx="160">
                  <c:v>Deutz</c:v>
                </c:pt>
                <c:pt idx="161">
                  <c:v>Roederer</c:v>
                </c:pt>
                <c:pt idx="162">
                  <c:v>Deutz</c:v>
                </c:pt>
                <c:pt idx="163">
                  <c:v>Ruinart</c:v>
                </c:pt>
                <c:pt idx="164">
                  <c:v>Besserat De</c:v>
                </c:pt>
                <c:pt idx="165">
                  <c:v>Dom Perigno</c:v>
                </c:pt>
                <c:pt idx="166">
                  <c:v>Roederer</c:v>
                </c:pt>
                <c:pt idx="167">
                  <c:v>Pommery</c:v>
                </c:pt>
                <c:pt idx="168">
                  <c:v>Piper Heids</c:v>
                </c:pt>
                <c:pt idx="169">
                  <c:v>Taittinger</c:v>
                </c:pt>
                <c:pt idx="170">
                  <c:v>Canard Duch</c:v>
                </c:pt>
                <c:pt idx="171">
                  <c:v>Pommery</c:v>
                </c:pt>
                <c:pt idx="172">
                  <c:v>De Venoge</c:v>
                </c:pt>
                <c:pt idx="173">
                  <c:v>De Venoge</c:v>
                </c:pt>
                <c:pt idx="174">
                  <c:v>Demoiselle</c:v>
                </c:pt>
                <c:pt idx="175">
                  <c:v>Roederer</c:v>
                </c:pt>
                <c:pt idx="176">
                  <c:v>Roederer</c:v>
                </c:pt>
                <c:pt idx="177">
                  <c:v>Laurent Per</c:v>
                </c:pt>
                <c:pt idx="178">
                  <c:v>Roederer</c:v>
                </c:pt>
                <c:pt idx="179">
                  <c:v>All Others</c:v>
                </c:pt>
                <c:pt idx="180">
                  <c:v>Roederer</c:v>
                </c:pt>
                <c:pt idx="181">
                  <c:v>Laurent Per</c:v>
                </c:pt>
                <c:pt idx="182">
                  <c:v>Moët &amp; Chan</c:v>
                </c:pt>
                <c:pt idx="183">
                  <c:v>All Others</c:v>
                </c:pt>
                <c:pt idx="184">
                  <c:v>Henriot</c:v>
                </c:pt>
                <c:pt idx="185">
                  <c:v>Piper Heids</c:v>
                </c:pt>
                <c:pt idx="186">
                  <c:v>Pommery</c:v>
                </c:pt>
                <c:pt idx="187">
                  <c:v>Nicolas</c:v>
                </c:pt>
                <c:pt idx="188">
                  <c:v>All Others</c:v>
                </c:pt>
                <c:pt idx="189">
                  <c:v>Martel</c:v>
                </c:pt>
                <c:pt idx="190">
                  <c:v>Roederer</c:v>
                </c:pt>
                <c:pt idx="191">
                  <c:v>Nicolas</c:v>
                </c:pt>
                <c:pt idx="192">
                  <c:v>Ruinart</c:v>
                </c:pt>
                <c:pt idx="193">
                  <c:v>Canard Duch</c:v>
                </c:pt>
                <c:pt idx="194">
                  <c:v>Perrier Jou</c:v>
                </c:pt>
                <c:pt idx="195">
                  <c:v>Ruinart</c:v>
                </c:pt>
                <c:pt idx="196">
                  <c:v>Nicolas Feu</c:v>
                </c:pt>
                <c:pt idx="197">
                  <c:v>Roederer</c:v>
                </c:pt>
                <c:pt idx="198">
                  <c:v>Deutz</c:v>
                </c:pt>
                <c:pt idx="199">
                  <c:v>Henriot</c:v>
                </c:pt>
                <c:pt idx="200">
                  <c:v>Canard Duch</c:v>
                </c:pt>
                <c:pt idx="201">
                  <c:v>Ruinart</c:v>
                </c:pt>
                <c:pt idx="202">
                  <c:v>Henriot</c:v>
                </c:pt>
                <c:pt idx="203">
                  <c:v>Nicolas</c:v>
                </c:pt>
                <c:pt idx="204">
                  <c:v>De Bligny</c:v>
                </c:pt>
                <c:pt idx="205">
                  <c:v>All Others</c:v>
                </c:pt>
                <c:pt idx="206">
                  <c:v>Nicolas Feu</c:v>
                </c:pt>
                <c:pt idx="207">
                  <c:v>All Others</c:v>
                </c:pt>
                <c:pt idx="208">
                  <c:v>Pommery</c:v>
                </c:pt>
                <c:pt idx="209">
                  <c:v>Bollinger</c:v>
                </c:pt>
                <c:pt idx="210">
                  <c:v>Demoiselle</c:v>
                </c:pt>
                <c:pt idx="211">
                  <c:v>Piper Heids</c:v>
                </c:pt>
                <c:pt idx="212">
                  <c:v>Laurent Per</c:v>
                </c:pt>
                <c:pt idx="213">
                  <c:v>Laurent Per</c:v>
                </c:pt>
                <c:pt idx="214">
                  <c:v>Laurent Per</c:v>
                </c:pt>
                <c:pt idx="215">
                  <c:v>Perrier Jou</c:v>
                </c:pt>
                <c:pt idx="216">
                  <c:v>Roederer</c:v>
                </c:pt>
                <c:pt idx="217">
                  <c:v>Malard</c:v>
                </c:pt>
                <c:pt idx="218">
                  <c:v>Besserat De</c:v>
                </c:pt>
                <c:pt idx="219">
                  <c:v>Demoiselle</c:v>
                </c:pt>
                <c:pt idx="220">
                  <c:v>Ayala</c:v>
                </c:pt>
                <c:pt idx="221">
                  <c:v>Nicolas Feu</c:v>
                </c:pt>
                <c:pt idx="222">
                  <c:v>Roederer</c:v>
                </c:pt>
                <c:pt idx="223">
                  <c:v>Laurent Per</c:v>
                </c:pt>
                <c:pt idx="224">
                  <c:v>Roederer</c:v>
                </c:pt>
                <c:pt idx="225">
                  <c:v>Roederer</c:v>
                </c:pt>
                <c:pt idx="226">
                  <c:v>Besserat De</c:v>
                </c:pt>
                <c:pt idx="227">
                  <c:v>Malard</c:v>
                </c:pt>
                <c:pt idx="228">
                  <c:v>Pommery</c:v>
                </c:pt>
                <c:pt idx="229">
                  <c:v>Roederer</c:v>
                </c:pt>
                <c:pt idx="230">
                  <c:v>Vesselle</c:v>
                </c:pt>
                <c:pt idx="231">
                  <c:v>Pommery</c:v>
                </c:pt>
                <c:pt idx="232">
                  <c:v>Besserat De</c:v>
                </c:pt>
                <c:pt idx="233">
                  <c:v>Vranken</c:v>
                </c:pt>
                <c:pt idx="234">
                  <c:v>Vesselle</c:v>
                </c:pt>
              </c:strCache>
            </c:strRef>
          </c:cat>
          <c:val>
            <c:numRef>
              <c:f>Sheet1!$C$2:$C$236</c:f>
              <c:numCache>
                <c:formatCode>General</c:formatCode>
                <c:ptCount val="235"/>
                <c:pt idx="0">
                  <c:v>0.12035405769338932</c:v>
                </c:pt>
                <c:pt idx="1">
                  <c:v>0.19896659421081014</c:v>
                </c:pt>
                <c:pt idx="2">
                  <c:v>0.2746184487829732</c:v>
                </c:pt>
                <c:pt idx="3">
                  <c:v>0.33384325383040037</c:v>
                </c:pt>
                <c:pt idx="4">
                  <c:v>0.37295328747770906</c:v>
                </c:pt>
                <c:pt idx="5">
                  <c:v>0.40093894849678913</c:v>
                </c:pt>
                <c:pt idx="6">
                  <c:v>0.42591554095410139</c:v>
                </c:pt>
                <c:pt idx="7">
                  <c:v>0.44863326418596344</c:v>
                </c:pt>
                <c:pt idx="8">
                  <c:v>0.47093535878882925</c:v>
                </c:pt>
                <c:pt idx="9">
                  <c:v>0.4927693025379401</c:v>
                </c:pt>
                <c:pt idx="10">
                  <c:v>0.51090518539104657</c:v>
                </c:pt>
                <c:pt idx="11">
                  <c:v>0.52862957522340559</c:v>
                </c:pt>
                <c:pt idx="12">
                  <c:v>0.54585397001849445</c:v>
                </c:pt>
                <c:pt idx="13">
                  <c:v>0.56280872315576691</c:v>
                </c:pt>
                <c:pt idx="14">
                  <c:v>0.57924156253205106</c:v>
                </c:pt>
                <c:pt idx="15">
                  <c:v>0.59529020390202914</c:v>
                </c:pt>
                <c:pt idx="16">
                  <c:v>0.61084050447803662</c:v>
                </c:pt>
                <c:pt idx="17">
                  <c:v>0.62591769147039067</c:v>
                </c:pt>
                <c:pt idx="18">
                  <c:v>0.64098081739469914</c:v>
                </c:pt>
                <c:pt idx="19">
                  <c:v>0.65512004843624383</c:v>
                </c:pt>
                <c:pt idx="20">
                  <c:v>0.66840899842185186</c:v>
                </c:pt>
                <c:pt idx="21">
                  <c:v>0.67920707155925664</c:v>
                </c:pt>
                <c:pt idx="22">
                  <c:v>0.68972020128832467</c:v>
                </c:pt>
                <c:pt idx="23">
                  <c:v>0.69962498304400622</c:v>
                </c:pt>
                <c:pt idx="24">
                  <c:v>0.70873572801593376</c:v>
                </c:pt>
                <c:pt idx="25">
                  <c:v>0.71781256100022173</c:v>
                </c:pt>
                <c:pt idx="26">
                  <c:v>0.72657343351430759</c:v>
                </c:pt>
                <c:pt idx="27">
                  <c:v>0.73524539045104598</c:v>
                </c:pt>
                <c:pt idx="28">
                  <c:v>0.74331602994842072</c:v>
                </c:pt>
                <c:pt idx="29">
                  <c:v>0.75092720336936281</c:v>
                </c:pt>
                <c:pt idx="30">
                  <c:v>0.75841141361706921</c:v>
                </c:pt>
                <c:pt idx="31">
                  <c:v>0.76551597502754321</c:v>
                </c:pt>
                <c:pt idx="32">
                  <c:v>0.77243815611424871</c:v>
                </c:pt>
                <c:pt idx="33">
                  <c:v>0.77929209966485036</c:v>
                </c:pt>
                <c:pt idx="34">
                  <c:v>0.78587309307103659</c:v>
                </c:pt>
                <c:pt idx="35">
                  <c:v>0.79239370659679154</c:v>
                </c:pt>
                <c:pt idx="36">
                  <c:v>0.79881754688952644</c:v>
                </c:pt>
                <c:pt idx="37">
                  <c:v>0.80463841549959814</c:v>
                </c:pt>
                <c:pt idx="38">
                  <c:v>0.81035754814675132</c:v>
                </c:pt>
                <c:pt idx="39">
                  <c:v>0.81522515905549331</c:v>
                </c:pt>
                <c:pt idx="40">
                  <c:v>0.8199393388982078</c:v>
                </c:pt>
                <c:pt idx="41">
                  <c:v>0.82458569476564336</c:v>
                </c:pt>
                <c:pt idx="42">
                  <c:v>0.82901906680826987</c:v>
                </c:pt>
                <c:pt idx="43">
                  <c:v>0.83333167909003381</c:v>
                </c:pt>
                <c:pt idx="44">
                  <c:v>0.83735149030778844</c:v>
                </c:pt>
                <c:pt idx="45">
                  <c:v>0.84126708419767537</c:v>
                </c:pt>
                <c:pt idx="46">
                  <c:v>0.84513056942362852</c:v>
                </c:pt>
                <c:pt idx="47">
                  <c:v>0.84887825761861746</c:v>
                </c:pt>
                <c:pt idx="48">
                  <c:v>0.85259037958266748</c:v>
                </c:pt>
                <c:pt idx="49">
                  <c:v>0.85620159270544871</c:v>
                </c:pt>
                <c:pt idx="50">
                  <c:v>0.85980205324678327</c:v>
                </c:pt>
                <c:pt idx="51">
                  <c:v>0.86336694755717891</c:v>
                </c:pt>
                <c:pt idx="52">
                  <c:v>0.86688552305518884</c:v>
                </c:pt>
                <c:pt idx="53">
                  <c:v>0.87033586101709492</c:v>
                </c:pt>
                <c:pt idx="54">
                  <c:v>0.87365427307586685</c:v>
                </c:pt>
                <c:pt idx="55">
                  <c:v>0.87681470489953772</c:v>
                </c:pt>
                <c:pt idx="56">
                  <c:v>0.87990896699122911</c:v>
                </c:pt>
                <c:pt idx="57">
                  <c:v>0.88295029329733687</c:v>
                </c:pt>
                <c:pt idx="58">
                  <c:v>0.88585886657866075</c:v>
                </c:pt>
                <c:pt idx="59">
                  <c:v>0.88863055122695211</c:v>
                </c:pt>
                <c:pt idx="60">
                  <c:v>0.89139934094946938</c:v>
                </c:pt>
                <c:pt idx="61">
                  <c:v>0.89415696452971505</c:v>
                </c:pt>
                <c:pt idx="62">
                  <c:v>0.89684552345220714</c:v>
                </c:pt>
                <c:pt idx="63">
                  <c:v>0.89926898988595638</c:v>
                </c:pt>
                <c:pt idx="64">
                  <c:v>0.90159940513410941</c:v>
                </c:pt>
                <c:pt idx="65">
                  <c:v>0.90391989492246549</c:v>
                </c:pt>
                <c:pt idx="66">
                  <c:v>0.90621846598710343</c:v>
                </c:pt>
                <c:pt idx="67">
                  <c:v>0.90850132174039622</c:v>
                </c:pt>
                <c:pt idx="68">
                  <c:v>0.91078045544626518</c:v>
                </c:pt>
                <c:pt idx="69">
                  <c:v>0.91303146701604276</c:v>
                </c:pt>
                <c:pt idx="70">
                  <c:v>0.91523491909096011</c:v>
                </c:pt>
                <c:pt idx="71">
                  <c:v>0.91736020816997665</c:v>
                </c:pt>
                <c:pt idx="72">
                  <c:v>0.91943876487578269</c:v>
                </c:pt>
                <c:pt idx="73">
                  <c:v>0.92142137547021852</c:v>
                </c:pt>
                <c:pt idx="74">
                  <c:v>0.92338744363165948</c:v>
                </c:pt>
                <c:pt idx="75">
                  <c:v>0.9253266303394837</c:v>
                </c:pt>
                <c:pt idx="76">
                  <c:v>0.92714257592149607</c:v>
                </c:pt>
                <c:pt idx="77">
                  <c:v>0.92892212815091979</c:v>
                </c:pt>
                <c:pt idx="78">
                  <c:v>0.93062227670196807</c:v>
                </c:pt>
                <c:pt idx="79">
                  <c:v>0.93224260801381609</c:v>
                </c:pt>
                <c:pt idx="80">
                  <c:v>0.93384763757514389</c:v>
                </c:pt>
                <c:pt idx="81">
                  <c:v>0.93544315523749955</c:v>
                </c:pt>
                <c:pt idx="82">
                  <c:v>0.93701344568953804</c:v>
                </c:pt>
                <c:pt idx="83">
                  <c:v>0.93855933605290909</c:v>
                </c:pt>
                <c:pt idx="84">
                  <c:v>0.94008248057091226</c:v>
                </c:pt>
                <c:pt idx="85">
                  <c:v>0.94151464170744359</c:v>
                </c:pt>
                <c:pt idx="86">
                  <c:v>0.94293439601922879</c:v>
                </c:pt>
                <c:pt idx="87">
                  <c:v>0.94435001472276525</c:v>
                </c:pt>
                <c:pt idx="88">
                  <c:v>0.94575529440567985</c:v>
                </c:pt>
                <c:pt idx="89">
                  <c:v>0.94714816726384832</c:v>
                </c:pt>
                <c:pt idx="90">
                  <c:v>0.94849761623540529</c:v>
                </c:pt>
                <c:pt idx="91">
                  <c:v>0.9498421024770638</c:v>
                </c:pt>
                <c:pt idx="92">
                  <c:v>0.95118328023212328</c:v>
                </c:pt>
                <c:pt idx="93">
                  <c:v>0.95249592229026658</c:v>
                </c:pt>
                <c:pt idx="94">
                  <c:v>0.95376100485354964</c:v>
                </c:pt>
                <c:pt idx="95">
                  <c:v>0.95495536851577967</c:v>
                </c:pt>
                <c:pt idx="96">
                  <c:v>0.95611251170377121</c:v>
                </c:pt>
                <c:pt idx="97">
                  <c:v>0.95718363424018937</c:v>
                </c:pt>
                <c:pt idx="98">
                  <c:v>0.95822125834979288</c:v>
                </c:pt>
                <c:pt idx="99">
                  <c:v>0.95925805533774666</c:v>
                </c:pt>
                <c:pt idx="100">
                  <c:v>0.96028451330507869</c:v>
                </c:pt>
                <c:pt idx="101">
                  <c:v>0.96129360171776612</c:v>
                </c:pt>
                <c:pt idx="102">
                  <c:v>0.9622696052644637</c:v>
                </c:pt>
                <c:pt idx="103">
                  <c:v>0.96324147320291265</c:v>
                </c:pt>
                <c:pt idx="104">
                  <c:v>0.96421044621558749</c:v>
                </c:pt>
                <c:pt idx="105">
                  <c:v>0.96512855124680308</c:v>
                </c:pt>
                <c:pt idx="106">
                  <c:v>0.96604045286564555</c:v>
                </c:pt>
                <c:pt idx="107">
                  <c:v>0.9669345713690185</c:v>
                </c:pt>
                <c:pt idx="108">
                  <c:v>0.96781049319609713</c:v>
                </c:pt>
                <c:pt idx="109">
                  <c:v>0.96863471992006678</c:v>
                </c:pt>
                <c:pt idx="110">
                  <c:v>0.96944447201516593</c:v>
                </c:pt>
                <c:pt idx="111">
                  <c:v>0.97022941046077271</c:v>
                </c:pt>
                <c:pt idx="112">
                  <c:v>0.97099946071668419</c:v>
                </c:pt>
                <c:pt idx="113">
                  <c:v>0.97174221595815413</c:v>
                </c:pt>
                <c:pt idx="114">
                  <c:v>0.97248414407797423</c:v>
                </c:pt>
                <c:pt idx="115">
                  <c:v>0.97319919074417771</c:v>
                </c:pt>
                <c:pt idx="116">
                  <c:v>0.97391092892378217</c:v>
                </c:pt>
                <c:pt idx="117">
                  <c:v>0.97460405686626739</c:v>
                </c:pt>
                <c:pt idx="118">
                  <c:v>0.9752967712479278</c:v>
                </c:pt>
                <c:pt idx="119">
                  <c:v>0.97596963470999432</c:v>
                </c:pt>
                <c:pt idx="120">
                  <c:v>0.97663215915143908</c:v>
                </c:pt>
                <c:pt idx="121">
                  <c:v>0.97728558525473663</c:v>
                </c:pt>
                <c:pt idx="122">
                  <c:v>0.97792660453328806</c:v>
                </c:pt>
                <c:pt idx="123">
                  <c:v>0.97855521698709336</c:v>
                </c:pt>
                <c:pt idx="124">
                  <c:v>0.97918217519759909</c:v>
                </c:pt>
                <c:pt idx="125">
                  <c:v>0.97977770278541465</c:v>
                </c:pt>
                <c:pt idx="126">
                  <c:v>0.98036371847425807</c:v>
                </c:pt>
                <c:pt idx="127">
                  <c:v>0.98093856802083002</c:v>
                </c:pt>
                <c:pt idx="128">
                  <c:v>0.98151176332410239</c:v>
                </c:pt>
                <c:pt idx="129">
                  <c:v>0.9820481517139612</c:v>
                </c:pt>
                <c:pt idx="130">
                  <c:v>0.98258288586052056</c:v>
                </c:pt>
                <c:pt idx="131">
                  <c:v>0.98307585036376788</c:v>
                </c:pt>
                <c:pt idx="132">
                  <c:v>0.98352042825050512</c:v>
                </c:pt>
                <c:pt idx="133">
                  <c:v>0.98395880272486935</c:v>
                </c:pt>
                <c:pt idx="134">
                  <c:v>0.98437815340128942</c:v>
                </c:pt>
                <c:pt idx="135">
                  <c:v>0.98479502271276032</c:v>
                </c:pt>
                <c:pt idx="136">
                  <c:v>0.98520362080773372</c:v>
                </c:pt>
                <c:pt idx="137">
                  <c:v>0.98561056465940766</c:v>
                </c:pt>
                <c:pt idx="138">
                  <c:v>0.98601420002448259</c:v>
                </c:pt>
                <c:pt idx="139">
                  <c:v>0.98640666924728604</c:v>
                </c:pt>
                <c:pt idx="140">
                  <c:v>0.98679252149689145</c:v>
                </c:pt>
                <c:pt idx="141">
                  <c:v>0.98717299745577358</c:v>
                </c:pt>
                <c:pt idx="142">
                  <c:v>0.98753651742083592</c:v>
                </c:pt>
                <c:pt idx="143">
                  <c:v>0.98789548821682471</c:v>
                </c:pt>
                <c:pt idx="144">
                  <c:v>0.98824453355301656</c:v>
                </c:pt>
                <c:pt idx="145">
                  <c:v>0.98859109752425922</c:v>
                </c:pt>
                <c:pt idx="146">
                  <c:v>0.98893145808312877</c:v>
                </c:pt>
                <c:pt idx="147">
                  <c:v>0.98924411006673185</c:v>
                </c:pt>
                <c:pt idx="148">
                  <c:v>0.9895555213678604</c:v>
                </c:pt>
                <c:pt idx="149">
                  <c:v>0.98985535296589255</c:v>
                </c:pt>
                <c:pt idx="150">
                  <c:v>0.99014898115155159</c:v>
                </c:pt>
                <c:pt idx="151">
                  <c:v>0.99044054153308625</c:v>
                </c:pt>
                <c:pt idx="152">
                  <c:v>0.99072631206307271</c:v>
                </c:pt>
                <c:pt idx="153">
                  <c:v>0.99099595372088922</c:v>
                </c:pt>
                <c:pt idx="154">
                  <c:v>0.99126394113540617</c:v>
                </c:pt>
                <c:pt idx="155">
                  <c:v>0.99153068786744858</c:v>
                </c:pt>
                <c:pt idx="156">
                  <c:v>0.99179660747784115</c:v>
                </c:pt>
                <c:pt idx="157">
                  <c:v>0.99205715079751045</c:v>
                </c:pt>
                <c:pt idx="158">
                  <c:v>0.99231645343470509</c:v>
                </c:pt>
                <c:pt idx="159">
                  <c:v>0.99257286114612564</c:v>
                </c:pt>
                <c:pt idx="160">
                  <c:v>0.99282926885754619</c:v>
                </c:pt>
                <c:pt idx="161">
                  <c:v>0.99308484944731701</c:v>
                </c:pt>
                <c:pt idx="162">
                  <c:v>0.99333918935461318</c:v>
                </c:pt>
                <c:pt idx="163">
                  <c:v>0.99359146145778499</c:v>
                </c:pt>
                <c:pt idx="164">
                  <c:v>0.99384249287848225</c:v>
                </c:pt>
                <c:pt idx="165">
                  <c:v>0.99406995133216181</c:v>
                </c:pt>
                <c:pt idx="166">
                  <c:v>0.99428789788686933</c:v>
                </c:pt>
                <c:pt idx="167">
                  <c:v>0.99450253595497784</c:v>
                </c:pt>
                <c:pt idx="168">
                  <c:v>0.99470931636741378</c:v>
                </c:pt>
                <c:pt idx="169">
                  <c:v>0.99490038146850457</c:v>
                </c:pt>
                <c:pt idx="170">
                  <c:v>0.99507200921082639</c:v>
                </c:pt>
                <c:pt idx="171">
                  <c:v>0.9952432233923233</c:v>
                </c:pt>
                <c:pt idx="172">
                  <c:v>0.99540451211402337</c:v>
                </c:pt>
                <c:pt idx="173">
                  <c:v>0.99556580083572344</c:v>
                </c:pt>
                <c:pt idx="174">
                  <c:v>0.99572667599659859</c:v>
                </c:pt>
                <c:pt idx="175">
                  <c:v>0.99588631047499909</c:v>
                </c:pt>
                <c:pt idx="176">
                  <c:v>0.99603932798020167</c:v>
                </c:pt>
                <c:pt idx="177">
                  <c:v>0.99619151836375452</c:v>
                </c:pt>
                <c:pt idx="178">
                  <c:v>0.99634205450400792</c:v>
                </c:pt>
                <c:pt idx="179">
                  <c:v>0.9964892821576623</c:v>
                </c:pt>
                <c:pt idx="180">
                  <c:v>0.99663568268966696</c:v>
                </c:pt>
                <c:pt idx="181">
                  <c:v>0.99678208322167161</c:v>
                </c:pt>
                <c:pt idx="182">
                  <c:v>0.99692352102377779</c:v>
                </c:pt>
                <c:pt idx="183">
                  <c:v>0.99706454526505905</c:v>
                </c:pt>
                <c:pt idx="184">
                  <c:v>0.99720350170221606</c:v>
                </c:pt>
                <c:pt idx="185">
                  <c:v>0.99733418692287557</c:v>
                </c:pt>
                <c:pt idx="186">
                  <c:v>0.99746445858271016</c:v>
                </c:pt>
                <c:pt idx="187">
                  <c:v>0.99759224887759557</c:v>
                </c:pt>
                <c:pt idx="188">
                  <c:v>0.99771631712505715</c:v>
                </c:pt>
                <c:pt idx="189">
                  <c:v>0.99783914469004409</c:v>
                </c:pt>
                <c:pt idx="190">
                  <c:v>0.9979611451333813</c:v>
                </c:pt>
                <c:pt idx="191">
                  <c:v>0.99807528792104594</c:v>
                </c:pt>
                <c:pt idx="192">
                  <c:v>0.9981869493437614</c:v>
                </c:pt>
                <c:pt idx="193">
                  <c:v>0.99828413613760625</c:v>
                </c:pt>
                <c:pt idx="194">
                  <c:v>0.99837387883660345</c:v>
                </c:pt>
                <c:pt idx="195">
                  <c:v>0.99846320797477572</c:v>
                </c:pt>
                <c:pt idx="196">
                  <c:v>0.998546333700575</c:v>
                </c:pt>
                <c:pt idx="197">
                  <c:v>0.9986249102573006</c:v>
                </c:pt>
                <c:pt idx="198">
                  <c:v>0.99870348681402621</c:v>
                </c:pt>
                <c:pt idx="199">
                  <c:v>0.99877379215425444</c:v>
                </c:pt>
                <c:pt idx="200">
                  <c:v>0.99884327037283294</c:v>
                </c:pt>
                <c:pt idx="201">
                  <c:v>0.99891192146976171</c:v>
                </c:pt>
                <c:pt idx="202">
                  <c:v>0.99897726408009146</c:v>
                </c:pt>
                <c:pt idx="203">
                  <c:v>0.99904012532547204</c:v>
                </c:pt>
                <c:pt idx="204">
                  <c:v>0.99909802384095414</c:v>
                </c:pt>
                <c:pt idx="205">
                  <c:v>0.99915385455231187</c:v>
                </c:pt>
                <c:pt idx="206">
                  <c:v>0.99920803102037004</c:v>
                </c:pt>
                <c:pt idx="207">
                  <c:v>0.99926179392760339</c:v>
                </c:pt>
                <c:pt idx="208">
                  <c:v>0.99931555683483675</c:v>
                </c:pt>
                <c:pt idx="209">
                  <c:v>0.99936766549877065</c:v>
                </c:pt>
                <c:pt idx="210">
                  <c:v>0.99941563855445581</c:v>
                </c:pt>
                <c:pt idx="211">
                  <c:v>0.99946113024519168</c:v>
                </c:pt>
                <c:pt idx="212">
                  <c:v>0.99950620837510273</c:v>
                </c:pt>
                <c:pt idx="213">
                  <c:v>0.99954963226171423</c:v>
                </c:pt>
                <c:pt idx="214">
                  <c:v>0.99959098834420146</c:v>
                </c:pt>
                <c:pt idx="215">
                  <c:v>0.99963027662256432</c:v>
                </c:pt>
                <c:pt idx="216">
                  <c:v>0.99966418861020379</c:v>
                </c:pt>
                <c:pt idx="217">
                  <c:v>0.9996935514287697</c:v>
                </c:pt>
                <c:pt idx="218">
                  <c:v>0.9997225006865107</c:v>
                </c:pt>
                <c:pt idx="219">
                  <c:v>0.99974979570095224</c:v>
                </c:pt>
                <c:pt idx="220">
                  <c:v>0.99977378222879476</c:v>
                </c:pt>
                <c:pt idx="221">
                  <c:v>0.99979735519581248</c:v>
                </c:pt>
                <c:pt idx="222">
                  <c:v>0.99982051460200527</c:v>
                </c:pt>
                <c:pt idx="223">
                  <c:v>0.99984119264324889</c:v>
                </c:pt>
                <c:pt idx="224">
                  <c:v>0.99986021644119294</c:v>
                </c:pt>
                <c:pt idx="225">
                  <c:v>0.99987924023913699</c:v>
                </c:pt>
                <c:pt idx="226">
                  <c:v>0.99989743691543131</c:v>
                </c:pt>
                <c:pt idx="227">
                  <c:v>0.99991315222677646</c:v>
                </c:pt>
                <c:pt idx="228">
                  <c:v>0.99992845397729668</c:v>
                </c:pt>
                <c:pt idx="229">
                  <c:v>0.99994292860616718</c:v>
                </c:pt>
                <c:pt idx="230">
                  <c:v>0.99995574899173822</c:v>
                </c:pt>
                <c:pt idx="231">
                  <c:v>0.99996815581648435</c:v>
                </c:pt>
                <c:pt idx="232">
                  <c:v>0.99998056264123047</c:v>
                </c:pt>
                <c:pt idx="233">
                  <c:v>0.99999048810102742</c:v>
                </c:pt>
                <c:pt idx="234">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4</c:f>
              <c:strCache>
                <c:ptCount val="203"/>
                <c:pt idx="0">
                  <c:v>Ruinart</c:v>
                </c:pt>
                <c:pt idx="1">
                  <c:v>Nicolas</c:v>
                </c:pt>
                <c:pt idx="2">
                  <c:v>Deutz</c:v>
                </c:pt>
                <c:pt idx="3">
                  <c:v>Ruinart</c:v>
                </c:pt>
                <c:pt idx="4">
                  <c:v>Heidsieck &amp;</c:v>
                </c:pt>
                <c:pt idx="5">
                  <c:v>De Bligny</c:v>
                </c:pt>
                <c:pt idx="6">
                  <c:v>Laurent Per</c:v>
                </c:pt>
                <c:pt idx="7">
                  <c:v>Malard</c:v>
                </c:pt>
                <c:pt idx="8">
                  <c:v>Ayala</c:v>
                </c:pt>
                <c:pt idx="9">
                  <c:v>Canard Duch</c:v>
                </c:pt>
                <c:pt idx="10">
                  <c:v>Nicolas Feu</c:v>
                </c:pt>
                <c:pt idx="11">
                  <c:v>Bollinger</c:v>
                </c:pt>
                <c:pt idx="12">
                  <c:v>Taittinger</c:v>
                </c:pt>
                <c:pt idx="13">
                  <c:v>Ruinart</c:v>
                </c:pt>
                <c:pt idx="14">
                  <c:v>Ruinart</c:v>
                </c:pt>
                <c:pt idx="15">
                  <c:v>Ruinart</c:v>
                </c:pt>
                <c:pt idx="16">
                  <c:v>Besserat De</c:v>
                </c:pt>
                <c:pt idx="17">
                  <c:v>Ruinart</c:v>
                </c:pt>
                <c:pt idx="18">
                  <c:v>Demoiselle</c:v>
                </c:pt>
                <c:pt idx="19">
                  <c:v>Deutz</c:v>
                </c:pt>
                <c:pt idx="20">
                  <c:v>Malard</c:v>
                </c:pt>
                <c:pt idx="21">
                  <c:v>Laurent Per</c:v>
                </c:pt>
                <c:pt idx="22">
                  <c:v>Pommery</c:v>
                </c:pt>
                <c:pt idx="23">
                  <c:v>Savian</c:v>
                </c:pt>
                <c:pt idx="24">
                  <c:v>All Others</c:v>
                </c:pt>
                <c:pt idx="25">
                  <c:v>Deutz</c:v>
                </c:pt>
                <c:pt idx="26">
                  <c:v>Roederer</c:v>
                </c:pt>
                <c:pt idx="27">
                  <c:v>Laurent Per</c:v>
                </c:pt>
                <c:pt idx="28">
                  <c:v>Besserat De</c:v>
                </c:pt>
                <c:pt idx="29">
                  <c:v>Ruinart</c:v>
                </c:pt>
                <c:pt idx="30">
                  <c:v>Campari: Al</c:v>
                </c:pt>
                <c:pt idx="31">
                  <c:v>Dom Perigno</c:v>
                </c:pt>
                <c:pt idx="32">
                  <c:v>Perrier Jou</c:v>
                </c:pt>
                <c:pt idx="33">
                  <c:v>Vesselle</c:v>
                </c:pt>
                <c:pt idx="34">
                  <c:v>Taittinger</c:v>
                </c:pt>
                <c:pt idx="35">
                  <c:v>Demoiselle</c:v>
                </c:pt>
                <c:pt idx="36">
                  <c:v>Veuve Clicq</c:v>
                </c:pt>
                <c:pt idx="37">
                  <c:v>Veuve Clicq</c:v>
                </c:pt>
                <c:pt idx="38">
                  <c:v>Nicolas</c:v>
                </c:pt>
                <c:pt idx="39">
                  <c:v>Henriot</c:v>
                </c:pt>
                <c:pt idx="40">
                  <c:v>Veuve Clicq</c:v>
                </c:pt>
                <c:pt idx="41">
                  <c:v>Dom Perigno</c:v>
                </c:pt>
                <c:pt idx="42">
                  <c:v>Laurent Per</c:v>
                </c:pt>
                <c:pt idx="43">
                  <c:v>Moët &amp; Chan</c:v>
                </c:pt>
                <c:pt idx="44">
                  <c:v>Roederer</c:v>
                </c:pt>
                <c:pt idx="45">
                  <c:v>Ruinart</c:v>
                </c:pt>
                <c:pt idx="46">
                  <c:v>Moët &amp; Chan</c:v>
                </c:pt>
                <c:pt idx="47">
                  <c:v>Nicolas</c:v>
                </c:pt>
                <c:pt idx="48">
                  <c:v>All Others</c:v>
                </c:pt>
                <c:pt idx="49">
                  <c:v>Nicolas Feu</c:v>
                </c:pt>
                <c:pt idx="50">
                  <c:v>Malard</c:v>
                </c:pt>
                <c:pt idx="51">
                  <c:v>All Others</c:v>
                </c:pt>
                <c:pt idx="52">
                  <c:v>Deutz</c:v>
                </c:pt>
                <c:pt idx="53">
                  <c:v>De Venoge</c:v>
                </c:pt>
                <c:pt idx="54">
                  <c:v>Canard Duch</c:v>
                </c:pt>
                <c:pt idx="55">
                  <c:v>Nicolas</c:v>
                </c:pt>
                <c:pt idx="56">
                  <c:v>Roederer</c:v>
                </c:pt>
                <c:pt idx="57">
                  <c:v>Bollinger</c:v>
                </c:pt>
                <c:pt idx="58">
                  <c:v>Ruinart</c:v>
                </c:pt>
                <c:pt idx="59">
                  <c:v>Malard</c:v>
                </c:pt>
                <c:pt idx="60">
                  <c:v>Malard</c:v>
                </c:pt>
                <c:pt idx="61">
                  <c:v>Roederer</c:v>
                </c:pt>
                <c:pt idx="62">
                  <c:v>Nicolas Feu</c:v>
                </c:pt>
                <c:pt idx="63">
                  <c:v>Lanson</c:v>
                </c:pt>
                <c:pt idx="64">
                  <c:v>Nicolas Feu</c:v>
                </c:pt>
                <c:pt idx="65">
                  <c:v>De Venoge</c:v>
                </c:pt>
                <c:pt idx="66">
                  <c:v>Besserat De</c:v>
                </c:pt>
                <c:pt idx="67">
                  <c:v>Piper Heids</c:v>
                </c:pt>
                <c:pt idx="68">
                  <c:v>Delamotte</c:v>
                </c:pt>
                <c:pt idx="69">
                  <c:v>De Bligny</c:v>
                </c:pt>
                <c:pt idx="70">
                  <c:v>Henriot</c:v>
                </c:pt>
                <c:pt idx="71">
                  <c:v>Louis Marti</c:v>
                </c:pt>
                <c:pt idx="72">
                  <c:v>Canard Duch</c:v>
                </c:pt>
                <c:pt idx="73">
                  <c:v>Campari: Al</c:v>
                </c:pt>
                <c:pt idx="74">
                  <c:v>Ayala</c:v>
                </c:pt>
                <c:pt idx="75">
                  <c:v>Ruinart</c:v>
                </c:pt>
                <c:pt idx="76">
                  <c:v>Ruinart</c:v>
                </c:pt>
                <c:pt idx="77">
                  <c:v>Moët &amp; Chan</c:v>
                </c:pt>
                <c:pt idx="78">
                  <c:v>Roederer</c:v>
                </c:pt>
                <c:pt idx="79">
                  <c:v>Nicolas</c:v>
                </c:pt>
                <c:pt idx="80">
                  <c:v>Pommery</c:v>
                </c:pt>
                <c:pt idx="81">
                  <c:v>Roederer</c:v>
                </c:pt>
                <c:pt idx="82">
                  <c:v>Canard Duch</c:v>
                </c:pt>
                <c:pt idx="83">
                  <c:v>Laurent Per</c:v>
                </c:pt>
                <c:pt idx="84">
                  <c:v>Krug</c:v>
                </c:pt>
                <c:pt idx="85">
                  <c:v>Ruinart</c:v>
                </c:pt>
                <c:pt idx="86">
                  <c:v>Deutz</c:v>
                </c:pt>
                <c:pt idx="87">
                  <c:v>Ruinart</c:v>
                </c:pt>
                <c:pt idx="88">
                  <c:v>Henriot</c:v>
                </c:pt>
                <c:pt idx="89">
                  <c:v>Vranken</c:v>
                </c:pt>
                <c:pt idx="90">
                  <c:v>Moët &amp; Chan</c:v>
                </c:pt>
                <c:pt idx="91">
                  <c:v>Nicolas</c:v>
                </c:pt>
                <c:pt idx="92">
                  <c:v>De Venoge</c:v>
                </c:pt>
                <c:pt idx="93">
                  <c:v>Dom Perigno</c:v>
                </c:pt>
                <c:pt idx="94">
                  <c:v>Henriot</c:v>
                </c:pt>
                <c:pt idx="95">
                  <c:v>All Others</c:v>
                </c:pt>
                <c:pt idx="96">
                  <c:v>Roederer</c:v>
                </c:pt>
                <c:pt idx="97">
                  <c:v>Canard Duch</c:v>
                </c:pt>
                <c:pt idx="98">
                  <c:v>Ruinart</c:v>
                </c:pt>
                <c:pt idx="99">
                  <c:v>Nicolas</c:v>
                </c:pt>
                <c:pt idx="100">
                  <c:v>De Venoge</c:v>
                </c:pt>
                <c:pt idx="101">
                  <c:v>Bollinger</c:v>
                </c:pt>
                <c:pt idx="102">
                  <c:v>Deutz</c:v>
                </c:pt>
                <c:pt idx="103">
                  <c:v>Roederer</c:v>
                </c:pt>
                <c:pt idx="104">
                  <c:v>Malard</c:v>
                </c:pt>
                <c:pt idx="105">
                  <c:v>All Others</c:v>
                </c:pt>
                <c:pt idx="106">
                  <c:v>Ruinart</c:v>
                </c:pt>
                <c:pt idx="107">
                  <c:v>Nicolas</c:v>
                </c:pt>
                <c:pt idx="108">
                  <c:v>Deutz</c:v>
                </c:pt>
                <c:pt idx="109">
                  <c:v>Roederer</c:v>
                </c:pt>
                <c:pt idx="110">
                  <c:v>Nicolas</c:v>
                </c:pt>
                <c:pt idx="111">
                  <c:v>Roederer</c:v>
                </c:pt>
                <c:pt idx="112">
                  <c:v>Pommery</c:v>
                </c:pt>
                <c:pt idx="113">
                  <c:v>Nicolas</c:v>
                </c:pt>
                <c:pt idx="114">
                  <c:v>Pommery</c:v>
                </c:pt>
                <c:pt idx="115">
                  <c:v>Deutz</c:v>
                </c:pt>
                <c:pt idx="116">
                  <c:v>Roederer</c:v>
                </c:pt>
                <c:pt idx="117">
                  <c:v>Louis Marti</c:v>
                </c:pt>
                <c:pt idx="118">
                  <c:v>Bollinger</c:v>
                </c:pt>
                <c:pt idx="119">
                  <c:v>Roederer</c:v>
                </c:pt>
                <c:pt idx="120">
                  <c:v>Roederer</c:v>
                </c:pt>
                <c:pt idx="121">
                  <c:v>Besserat De</c:v>
                </c:pt>
                <c:pt idx="122">
                  <c:v>Laurent Per</c:v>
                </c:pt>
                <c:pt idx="123">
                  <c:v>Nicolas</c:v>
                </c:pt>
                <c:pt idx="124">
                  <c:v>Vranken</c:v>
                </c:pt>
                <c:pt idx="125">
                  <c:v>Ruinart</c:v>
                </c:pt>
                <c:pt idx="126">
                  <c:v>Nicolas</c:v>
                </c:pt>
                <c:pt idx="127">
                  <c:v>Piper Heids</c:v>
                </c:pt>
                <c:pt idx="128">
                  <c:v>Laurent Per</c:v>
                </c:pt>
                <c:pt idx="129">
                  <c:v>Roederer</c:v>
                </c:pt>
                <c:pt idx="130">
                  <c:v>Canard Duch</c:v>
                </c:pt>
                <c:pt idx="131">
                  <c:v>Nicolas Feu</c:v>
                </c:pt>
                <c:pt idx="132">
                  <c:v>Veuve Clicq</c:v>
                </c:pt>
                <c:pt idx="133">
                  <c:v>All Others</c:v>
                </c:pt>
                <c:pt idx="134">
                  <c:v>Ruinart</c:v>
                </c:pt>
                <c:pt idx="135">
                  <c:v>Nicolas</c:v>
                </c:pt>
                <c:pt idx="136">
                  <c:v>Nicolas</c:v>
                </c:pt>
                <c:pt idx="137">
                  <c:v>Nicolas</c:v>
                </c:pt>
                <c:pt idx="138">
                  <c:v>Demoiselle</c:v>
                </c:pt>
                <c:pt idx="139">
                  <c:v>Nicolas</c:v>
                </c:pt>
                <c:pt idx="140">
                  <c:v>Moët &amp; Chan</c:v>
                </c:pt>
                <c:pt idx="141">
                  <c:v>Henriot</c:v>
                </c:pt>
                <c:pt idx="142">
                  <c:v>Pommery</c:v>
                </c:pt>
                <c:pt idx="143">
                  <c:v>Laurent Per</c:v>
                </c:pt>
                <c:pt idx="144">
                  <c:v>All Others</c:v>
                </c:pt>
                <c:pt idx="145">
                  <c:v>Henriot</c:v>
                </c:pt>
                <c:pt idx="146">
                  <c:v>Lanson</c:v>
                </c:pt>
                <c:pt idx="147">
                  <c:v>Besserat De</c:v>
                </c:pt>
                <c:pt idx="148">
                  <c:v>Canard Duch</c:v>
                </c:pt>
                <c:pt idx="149">
                  <c:v>All Others</c:v>
                </c:pt>
                <c:pt idx="150">
                  <c:v>Pommery</c:v>
                </c:pt>
                <c:pt idx="151">
                  <c:v>Dom Perigno</c:v>
                </c:pt>
                <c:pt idx="152">
                  <c:v>Demoiselle</c:v>
                </c:pt>
                <c:pt idx="153">
                  <c:v>Delamotte</c:v>
                </c:pt>
                <c:pt idx="154">
                  <c:v>Pommery</c:v>
                </c:pt>
                <c:pt idx="155">
                  <c:v>All Others</c:v>
                </c:pt>
                <c:pt idx="156">
                  <c:v>Nicolas</c:v>
                </c:pt>
                <c:pt idx="157">
                  <c:v>Roederer</c:v>
                </c:pt>
                <c:pt idx="158">
                  <c:v>Perrier Jou</c:v>
                </c:pt>
                <c:pt idx="159">
                  <c:v>Nicolas</c:v>
                </c:pt>
                <c:pt idx="160">
                  <c:v>Ruinart</c:v>
                </c:pt>
                <c:pt idx="161">
                  <c:v>Taittinger</c:v>
                </c:pt>
                <c:pt idx="162">
                  <c:v>Taittinger</c:v>
                </c:pt>
                <c:pt idx="163">
                  <c:v>Ruinart</c:v>
                </c:pt>
                <c:pt idx="164">
                  <c:v>Ruinart</c:v>
                </c:pt>
                <c:pt idx="165">
                  <c:v>Bollinger</c:v>
                </c:pt>
                <c:pt idx="166">
                  <c:v>Martel</c:v>
                </c:pt>
                <c:pt idx="167">
                  <c:v>Perrier Jou</c:v>
                </c:pt>
                <c:pt idx="168">
                  <c:v>Vesselle</c:v>
                </c:pt>
                <c:pt idx="169">
                  <c:v>Taittinger</c:v>
                </c:pt>
                <c:pt idx="170">
                  <c:v>Lanson</c:v>
                </c:pt>
                <c:pt idx="171">
                  <c:v>All Others</c:v>
                </c:pt>
                <c:pt idx="172">
                  <c:v>Roederer</c:v>
                </c:pt>
                <c:pt idx="173">
                  <c:v>Vesselle</c:v>
                </c:pt>
                <c:pt idx="174">
                  <c:v>All Others</c:v>
                </c:pt>
                <c:pt idx="175">
                  <c:v>Piper Heids</c:v>
                </c:pt>
                <c:pt idx="176">
                  <c:v>Pommery</c:v>
                </c:pt>
                <c:pt idx="177">
                  <c:v>All Others</c:v>
                </c:pt>
                <c:pt idx="178">
                  <c:v>De Venoge</c:v>
                </c:pt>
                <c:pt idx="179">
                  <c:v>Laurent Per</c:v>
                </c:pt>
                <c:pt idx="180">
                  <c:v>De Venoge</c:v>
                </c:pt>
                <c:pt idx="181">
                  <c:v>Moët &amp; Chan</c:v>
                </c:pt>
                <c:pt idx="182">
                  <c:v>Laurent Per</c:v>
                </c:pt>
                <c:pt idx="183">
                  <c:v>Vranken</c:v>
                </c:pt>
                <c:pt idx="184">
                  <c:v>Nicolas Feu</c:v>
                </c:pt>
                <c:pt idx="185">
                  <c:v>Nicolas</c:v>
                </c:pt>
                <c:pt idx="186">
                  <c:v>Roederer</c:v>
                </c:pt>
                <c:pt idx="187">
                  <c:v>Perrier Jou</c:v>
                </c:pt>
                <c:pt idx="188">
                  <c:v>Nicolas</c:v>
                </c:pt>
                <c:pt idx="189">
                  <c:v>Malard</c:v>
                </c:pt>
                <c:pt idx="190">
                  <c:v>De Venoge</c:v>
                </c:pt>
                <c:pt idx="191">
                  <c:v>Nicolas</c:v>
                </c:pt>
                <c:pt idx="192">
                  <c:v>Ayala</c:v>
                </c:pt>
                <c:pt idx="193">
                  <c:v>Ayala</c:v>
                </c:pt>
                <c:pt idx="194">
                  <c:v>Laurent Per</c:v>
                </c:pt>
                <c:pt idx="195">
                  <c:v>Canard Duch</c:v>
                </c:pt>
                <c:pt idx="196">
                  <c:v>Bollinger</c:v>
                </c:pt>
                <c:pt idx="197">
                  <c:v>Nicolas</c:v>
                </c:pt>
                <c:pt idx="198">
                  <c:v>All Others</c:v>
                </c:pt>
                <c:pt idx="199">
                  <c:v>Vranken</c:v>
                </c:pt>
                <c:pt idx="200">
                  <c:v>All Others</c:v>
                </c:pt>
                <c:pt idx="201">
                  <c:v>Bollinger</c:v>
                </c:pt>
                <c:pt idx="202">
                  <c:v>All Others</c:v>
                </c:pt>
              </c:strCache>
            </c:strRef>
          </c:cat>
          <c:val>
            <c:numRef>
              <c:f>Sheet1!$B$2:$B$204</c:f>
              <c:numCache>
                <c:formatCode>General</c:formatCode>
                <c:ptCount val="203"/>
                <c:pt idx="0">
                  <c:v>1</c:v>
                </c:pt>
                <c:pt idx="1">
                  <c:v>1</c:v>
                </c:pt>
                <c:pt idx="2">
                  <c:v>1</c:v>
                </c:pt>
                <c:pt idx="3">
                  <c:v>0.97</c:v>
                </c:pt>
                <c:pt idx="4">
                  <c:v>1</c:v>
                </c:pt>
                <c:pt idx="5">
                  <c:v>1</c:v>
                </c:pt>
                <c:pt idx="6">
                  <c:v>0.98</c:v>
                </c:pt>
                <c:pt idx="7">
                  <c:v>1</c:v>
                </c:pt>
                <c:pt idx="8">
                  <c:v>1</c:v>
                </c:pt>
                <c:pt idx="9">
                  <c:v>1</c:v>
                </c:pt>
                <c:pt idx="10">
                  <c:v>1</c:v>
                </c:pt>
                <c:pt idx="11">
                  <c:v>0.96</c:v>
                </c:pt>
                <c:pt idx="12">
                  <c:v>0.9</c:v>
                </c:pt>
                <c:pt idx="13">
                  <c:v>0.79</c:v>
                </c:pt>
                <c:pt idx="14">
                  <c:v>0.73</c:v>
                </c:pt>
                <c:pt idx="15">
                  <c:v>0.73</c:v>
                </c:pt>
                <c:pt idx="16">
                  <c:v>0.92</c:v>
                </c:pt>
                <c:pt idx="17">
                  <c:v>0.84</c:v>
                </c:pt>
                <c:pt idx="18">
                  <c:v>0.91</c:v>
                </c:pt>
                <c:pt idx="19">
                  <c:v>0.81</c:v>
                </c:pt>
                <c:pt idx="20">
                  <c:v>0.73</c:v>
                </c:pt>
                <c:pt idx="21">
                  <c:v>0.69</c:v>
                </c:pt>
                <c:pt idx="22">
                  <c:v>0.84</c:v>
                </c:pt>
                <c:pt idx="23">
                  <c:v>0.79</c:v>
                </c:pt>
                <c:pt idx="24">
                  <c:v>0.65</c:v>
                </c:pt>
                <c:pt idx="25">
                  <c:v>0.74</c:v>
                </c:pt>
                <c:pt idx="26">
                  <c:v>0.84</c:v>
                </c:pt>
                <c:pt idx="27">
                  <c:v>0.62</c:v>
                </c:pt>
                <c:pt idx="28">
                  <c:v>0.56999999999999995</c:v>
                </c:pt>
                <c:pt idx="29">
                  <c:v>0.42</c:v>
                </c:pt>
                <c:pt idx="30">
                  <c:v>0.65</c:v>
                </c:pt>
                <c:pt idx="31">
                  <c:v>0.52</c:v>
                </c:pt>
                <c:pt idx="32">
                  <c:v>0.86</c:v>
                </c:pt>
                <c:pt idx="33">
                  <c:v>0.84</c:v>
                </c:pt>
                <c:pt idx="34">
                  <c:v>0.44</c:v>
                </c:pt>
                <c:pt idx="35">
                  <c:v>0.98</c:v>
                </c:pt>
                <c:pt idx="36">
                  <c:v>0.64</c:v>
                </c:pt>
                <c:pt idx="37">
                  <c:v>0.72</c:v>
                </c:pt>
                <c:pt idx="38">
                  <c:v>0.67</c:v>
                </c:pt>
                <c:pt idx="39">
                  <c:v>0.81</c:v>
                </c:pt>
                <c:pt idx="40">
                  <c:v>0.72</c:v>
                </c:pt>
                <c:pt idx="41">
                  <c:v>0.3</c:v>
                </c:pt>
                <c:pt idx="42">
                  <c:v>0.66</c:v>
                </c:pt>
                <c:pt idx="43">
                  <c:v>0.54</c:v>
                </c:pt>
                <c:pt idx="44">
                  <c:v>0.47</c:v>
                </c:pt>
                <c:pt idx="45">
                  <c:v>0.56999999999999995</c:v>
                </c:pt>
                <c:pt idx="46">
                  <c:v>0.56999999999999995</c:v>
                </c:pt>
                <c:pt idx="47">
                  <c:v>0.9</c:v>
                </c:pt>
                <c:pt idx="48">
                  <c:v>0.75</c:v>
                </c:pt>
                <c:pt idx="49">
                  <c:v>0.6</c:v>
                </c:pt>
                <c:pt idx="50">
                  <c:v>0.63</c:v>
                </c:pt>
                <c:pt idx="51">
                  <c:v>0.52</c:v>
                </c:pt>
                <c:pt idx="52">
                  <c:v>0.83</c:v>
                </c:pt>
                <c:pt idx="53">
                  <c:v>0.62</c:v>
                </c:pt>
                <c:pt idx="54">
                  <c:v>0.66</c:v>
                </c:pt>
                <c:pt idx="55">
                  <c:v>0.68</c:v>
                </c:pt>
                <c:pt idx="56">
                  <c:v>0.37</c:v>
                </c:pt>
                <c:pt idx="57">
                  <c:v>0.3</c:v>
                </c:pt>
                <c:pt idx="58">
                  <c:v>0.38</c:v>
                </c:pt>
                <c:pt idx="59">
                  <c:v>0.46</c:v>
                </c:pt>
                <c:pt idx="60">
                  <c:v>0.76</c:v>
                </c:pt>
                <c:pt idx="61">
                  <c:v>0.4</c:v>
                </c:pt>
                <c:pt idx="62">
                  <c:v>0.51</c:v>
                </c:pt>
                <c:pt idx="63">
                  <c:v>0.61</c:v>
                </c:pt>
                <c:pt idx="64">
                  <c:v>0.56000000000000005</c:v>
                </c:pt>
                <c:pt idx="65">
                  <c:v>0.55000000000000004</c:v>
                </c:pt>
                <c:pt idx="66">
                  <c:v>0.45</c:v>
                </c:pt>
                <c:pt idx="67">
                  <c:v>0.54</c:v>
                </c:pt>
                <c:pt idx="68">
                  <c:v>0.32</c:v>
                </c:pt>
                <c:pt idx="69">
                  <c:v>0.67</c:v>
                </c:pt>
                <c:pt idx="70">
                  <c:v>0.72</c:v>
                </c:pt>
                <c:pt idx="71">
                  <c:v>0.5</c:v>
                </c:pt>
                <c:pt idx="72">
                  <c:v>0.47</c:v>
                </c:pt>
                <c:pt idx="73">
                  <c:v>0.41</c:v>
                </c:pt>
                <c:pt idx="74">
                  <c:v>0.62</c:v>
                </c:pt>
                <c:pt idx="75">
                  <c:v>0.62</c:v>
                </c:pt>
                <c:pt idx="76">
                  <c:v>0.38</c:v>
                </c:pt>
                <c:pt idx="77">
                  <c:v>0.61</c:v>
                </c:pt>
                <c:pt idx="78">
                  <c:v>0.19</c:v>
                </c:pt>
                <c:pt idx="79">
                  <c:v>0.61</c:v>
                </c:pt>
                <c:pt idx="80">
                  <c:v>0.6</c:v>
                </c:pt>
                <c:pt idx="81">
                  <c:v>0.3</c:v>
                </c:pt>
                <c:pt idx="82">
                  <c:v>0.34</c:v>
                </c:pt>
                <c:pt idx="83">
                  <c:v>0.23</c:v>
                </c:pt>
                <c:pt idx="84">
                  <c:v>0.19</c:v>
                </c:pt>
                <c:pt idx="85">
                  <c:v>0.23</c:v>
                </c:pt>
                <c:pt idx="86">
                  <c:v>0.23</c:v>
                </c:pt>
                <c:pt idx="87">
                  <c:v>0.34</c:v>
                </c:pt>
                <c:pt idx="88">
                  <c:v>0.47</c:v>
                </c:pt>
                <c:pt idx="89">
                  <c:v>0.51</c:v>
                </c:pt>
                <c:pt idx="90">
                  <c:v>0.38</c:v>
                </c:pt>
                <c:pt idx="91">
                  <c:v>0.52</c:v>
                </c:pt>
                <c:pt idx="92">
                  <c:v>0.4</c:v>
                </c:pt>
                <c:pt idx="93">
                  <c:v>0.12</c:v>
                </c:pt>
                <c:pt idx="94">
                  <c:v>0.37</c:v>
                </c:pt>
                <c:pt idx="95">
                  <c:v>0.3</c:v>
                </c:pt>
                <c:pt idx="96">
                  <c:v>0.23</c:v>
                </c:pt>
                <c:pt idx="97">
                  <c:v>0.41</c:v>
                </c:pt>
                <c:pt idx="98">
                  <c:v>0.21</c:v>
                </c:pt>
                <c:pt idx="99">
                  <c:v>0.34</c:v>
                </c:pt>
                <c:pt idx="100">
                  <c:v>0.23</c:v>
                </c:pt>
                <c:pt idx="101">
                  <c:v>0.27</c:v>
                </c:pt>
                <c:pt idx="102">
                  <c:v>0.28000000000000003</c:v>
                </c:pt>
                <c:pt idx="103">
                  <c:v>0.2</c:v>
                </c:pt>
                <c:pt idx="104">
                  <c:v>0.3</c:v>
                </c:pt>
                <c:pt idx="105">
                  <c:v>0.28000000000000003</c:v>
                </c:pt>
                <c:pt idx="106">
                  <c:v>0.25</c:v>
                </c:pt>
                <c:pt idx="107">
                  <c:v>0.38</c:v>
                </c:pt>
                <c:pt idx="108">
                  <c:v>0.48</c:v>
                </c:pt>
                <c:pt idx="109">
                  <c:v>0.3</c:v>
                </c:pt>
                <c:pt idx="110">
                  <c:v>0.3</c:v>
                </c:pt>
                <c:pt idx="111">
                  <c:v>0.33</c:v>
                </c:pt>
                <c:pt idx="112">
                  <c:v>0.28000000000000003</c:v>
                </c:pt>
                <c:pt idx="113">
                  <c:v>0.65</c:v>
                </c:pt>
                <c:pt idx="114">
                  <c:v>0.38</c:v>
                </c:pt>
                <c:pt idx="115">
                  <c:v>0.1</c:v>
                </c:pt>
                <c:pt idx="116">
                  <c:v>0.25</c:v>
                </c:pt>
                <c:pt idx="117">
                  <c:v>0.16</c:v>
                </c:pt>
                <c:pt idx="118">
                  <c:v>0.15</c:v>
                </c:pt>
                <c:pt idx="119">
                  <c:v>0.18</c:v>
                </c:pt>
                <c:pt idx="120">
                  <c:v>0.16</c:v>
                </c:pt>
                <c:pt idx="121">
                  <c:v>0.45</c:v>
                </c:pt>
                <c:pt idx="122">
                  <c:v>0.18</c:v>
                </c:pt>
                <c:pt idx="123">
                  <c:v>0.22</c:v>
                </c:pt>
                <c:pt idx="124">
                  <c:v>0.28000000000000003</c:v>
                </c:pt>
                <c:pt idx="125">
                  <c:v>0.19</c:v>
                </c:pt>
                <c:pt idx="126">
                  <c:v>0.28000000000000003</c:v>
                </c:pt>
                <c:pt idx="127">
                  <c:v>0.18</c:v>
                </c:pt>
                <c:pt idx="128">
                  <c:v>0.31</c:v>
                </c:pt>
                <c:pt idx="129">
                  <c:v>0.13</c:v>
                </c:pt>
                <c:pt idx="130">
                  <c:v>0.39</c:v>
                </c:pt>
                <c:pt idx="131">
                  <c:v>0.17</c:v>
                </c:pt>
                <c:pt idx="132">
                  <c:v>0.17</c:v>
                </c:pt>
                <c:pt idx="133">
                  <c:v>0.26</c:v>
                </c:pt>
                <c:pt idx="134">
                  <c:v>0.14000000000000001</c:v>
                </c:pt>
                <c:pt idx="135">
                  <c:v>0.3</c:v>
                </c:pt>
                <c:pt idx="136">
                  <c:v>0.15</c:v>
                </c:pt>
                <c:pt idx="137">
                  <c:v>0.36</c:v>
                </c:pt>
                <c:pt idx="138">
                  <c:v>0.24</c:v>
                </c:pt>
                <c:pt idx="139">
                  <c:v>0.35</c:v>
                </c:pt>
                <c:pt idx="140">
                  <c:v>0.17</c:v>
                </c:pt>
                <c:pt idx="141">
                  <c:v>0.12</c:v>
                </c:pt>
                <c:pt idx="142">
                  <c:v>0.1</c:v>
                </c:pt>
                <c:pt idx="143">
                  <c:v>0.12</c:v>
                </c:pt>
                <c:pt idx="144">
                  <c:v>0.22</c:v>
                </c:pt>
                <c:pt idx="145">
                  <c:v>0.16</c:v>
                </c:pt>
                <c:pt idx="146">
                  <c:v>7.0000000000000007E-2</c:v>
                </c:pt>
                <c:pt idx="147">
                  <c:v>0.23</c:v>
                </c:pt>
                <c:pt idx="148">
                  <c:v>0.13</c:v>
                </c:pt>
                <c:pt idx="149">
                  <c:v>0.12</c:v>
                </c:pt>
                <c:pt idx="150">
                  <c:v>0.16</c:v>
                </c:pt>
                <c:pt idx="151">
                  <c:v>7.0000000000000007E-2</c:v>
                </c:pt>
                <c:pt idx="152">
                  <c:v>0.13</c:v>
                </c:pt>
                <c:pt idx="153">
                  <c:v>0.2</c:v>
                </c:pt>
                <c:pt idx="154">
                  <c:v>0.12</c:v>
                </c:pt>
                <c:pt idx="155">
                  <c:v>0.27</c:v>
                </c:pt>
                <c:pt idx="156">
                  <c:v>0.12</c:v>
                </c:pt>
                <c:pt idx="157">
                  <c:v>0.14000000000000001</c:v>
                </c:pt>
                <c:pt idx="158">
                  <c:v>0.11</c:v>
                </c:pt>
                <c:pt idx="159">
                  <c:v>0.22</c:v>
                </c:pt>
                <c:pt idx="160">
                  <c:v>0.12</c:v>
                </c:pt>
                <c:pt idx="161">
                  <c:v>0.19</c:v>
                </c:pt>
                <c:pt idx="162">
                  <c:v>0.09</c:v>
                </c:pt>
                <c:pt idx="163">
                  <c:v>0.12</c:v>
                </c:pt>
                <c:pt idx="164">
                  <c:v>0.12</c:v>
                </c:pt>
                <c:pt idx="165">
                  <c:v>0.17</c:v>
                </c:pt>
                <c:pt idx="166">
                  <c:v>0.14000000000000001</c:v>
                </c:pt>
                <c:pt idx="167">
                  <c:v>0.09</c:v>
                </c:pt>
                <c:pt idx="168">
                  <c:v>0.08</c:v>
                </c:pt>
                <c:pt idx="169">
                  <c:v>0.11</c:v>
                </c:pt>
                <c:pt idx="170">
                  <c:v>0.12</c:v>
                </c:pt>
                <c:pt idx="171">
                  <c:v>0.1</c:v>
                </c:pt>
                <c:pt idx="172">
                  <c:v>0.05</c:v>
                </c:pt>
                <c:pt idx="173">
                  <c:v>0.08</c:v>
                </c:pt>
                <c:pt idx="174">
                  <c:v>0.21</c:v>
                </c:pt>
                <c:pt idx="175">
                  <c:v>0.12</c:v>
                </c:pt>
                <c:pt idx="176">
                  <c:v>0.14000000000000001</c:v>
                </c:pt>
                <c:pt idx="177">
                  <c:v>0.14000000000000001</c:v>
                </c:pt>
                <c:pt idx="178">
                  <c:v>0.05</c:v>
                </c:pt>
                <c:pt idx="179">
                  <c:v>0.03</c:v>
                </c:pt>
                <c:pt idx="180">
                  <c:v>0.06</c:v>
                </c:pt>
                <c:pt idx="181">
                  <c:v>0.06</c:v>
                </c:pt>
                <c:pt idx="182">
                  <c:v>0.1</c:v>
                </c:pt>
                <c:pt idx="183">
                  <c:v>0.11</c:v>
                </c:pt>
                <c:pt idx="184">
                  <c:v>0.15</c:v>
                </c:pt>
                <c:pt idx="185">
                  <c:v>0.2</c:v>
                </c:pt>
                <c:pt idx="186">
                  <c:v>0.1</c:v>
                </c:pt>
                <c:pt idx="187">
                  <c:v>0.08</c:v>
                </c:pt>
                <c:pt idx="188">
                  <c:v>0.03</c:v>
                </c:pt>
                <c:pt idx="189">
                  <c:v>0.14000000000000001</c:v>
                </c:pt>
                <c:pt idx="190">
                  <c:v>0.06</c:v>
                </c:pt>
                <c:pt idx="191">
                  <c:v>0.03</c:v>
                </c:pt>
                <c:pt idx="192">
                  <c:v>0.02</c:v>
                </c:pt>
                <c:pt idx="193">
                  <c:v>0.15</c:v>
                </c:pt>
                <c:pt idx="194">
                  <c:v>0.03</c:v>
                </c:pt>
                <c:pt idx="195">
                  <c:v>7.0000000000000007E-2</c:v>
                </c:pt>
                <c:pt idx="196">
                  <c:v>0.13</c:v>
                </c:pt>
                <c:pt idx="197">
                  <c:v>7.0000000000000007E-2</c:v>
                </c:pt>
                <c:pt idx="198">
                  <c:v>0.13</c:v>
                </c:pt>
                <c:pt idx="199">
                  <c:v>0.09</c:v>
                </c:pt>
                <c:pt idx="200">
                  <c:v>0.09</c:v>
                </c:pt>
                <c:pt idx="201">
                  <c:v>0.06</c:v>
                </c:pt>
                <c:pt idx="202">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4</c:f>
              <c:strCache>
                <c:ptCount val="203"/>
                <c:pt idx="0">
                  <c:v>Ruinart</c:v>
                </c:pt>
                <c:pt idx="1">
                  <c:v>Nicolas</c:v>
                </c:pt>
                <c:pt idx="2">
                  <c:v>Deutz</c:v>
                </c:pt>
                <c:pt idx="3">
                  <c:v>Ruinart</c:v>
                </c:pt>
                <c:pt idx="4">
                  <c:v>Heidsieck &amp;</c:v>
                </c:pt>
                <c:pt idx="5">
                  <c:v>De Bligny</c:v>
                </c:pt>
                <c:pt idx="6">
                  <c:v>Laurent Per</c:v>
                </c:pt>
                <c:pt idx="7">
                  <c:v>Malard</c:v>
                </c:pt>
                <c:pt idx="8">
                  <c:v>Ayala</c:v>
                </c:pt>
                <c:pt idx="9">
                  <c:v>Canard Duch</c:v>
                </c:pt>
                <c:pt idx="10">
                  <c:v>Nicolas Feu</c:v>
                </c:pt>
                <c:pt idx="11">
                  <c:v>Bollinger</c:v>
                </c:pt>
                <c:pt idx="12">
                  <c:v>Taittinger</c:v>
                </c:pt>
                <c:pt idx="13">
                  <c:v>Ruinart</c:v>
                </c:pt>
                <c:pt idx="14">
                  <c:v>Ruinart</c:v>
                </c:pt>
                <c:pt idx="15">
                  <c:v>Ruinart</c:v>
                </c:pt>
                <c:pt idx="16">
                  <c:v>Besserat De</c:v>
                </c:pt>
                <c:pt idx="17">
                  <c:v>Ruinart</c:v>
                </c:pt>
                <c:pt idx="18">
                  <c:v>Demoiselle</c:v>
                </c:pt>
                <c:pt idx="19">
                  <c:v>Deutz</c:v>
                </c:pt>
                <c:pt idx="20">
                  <c:v>Malard</c:v>
                </c:pt>
                <c:pt idx="21">
                  <c:v>Laurent Per</c:v>
                </c:pt>
                <c:pt idx="22">
                  <c:v>Pommery</c:v>
                </c:pt>
                <c:pt idx="23">
                  <c:v>Savian</c:v>
                </c:pt>
                <c:pt idx="24">
                  <c:v>All Others</c:v>
                </c:pt>
                <c:pt idx="25">
                  <c:v>Deutz</c:v>
                </c:pt>
                <c:pt idx="26">
                  <c:v>Roederer</c:v>
                </c:pt>
                <c:pt idx="27">
                  <c:v>Laurent Per</c:v>
                </c:pt>
                <c:pt idx="28">
                  <c:v>Besserat De</c:v>
                </c:pt>
                <c:pt idx="29">
                  <c:v>Ruinart</c:v>
                </c:pt>
                <c:pt idx="30">
                  <c:v>Campari: Al</c:v>
                </c:pt>
                <c:pt idx="31">
                  <c:v>Dom Perigno</c:v>
                </c:pt>
                <c:pt idx="32">
                  <c:v>Perrier Jou</c:v>
                </c:pt>
                <c:pt idx="33">
                  <c:v>Vesselle</c:v>
                </c:pt>
                <c:pt idx="34">
                  <c:v>Taittinger</c:v>
                </c:pt>
                <c:pt idx="35">
                  <c:v>Demoiselle</c:v>
                </c:pt>
                <c:pt idx="36">
                  <c:v>Veuve Clicq</c:v>
                </c:pt>
                <c:pt idx="37">
                  <c:v>Veuve Clicq</c:v>
                </c:pt>
                <c:pt idx="38">
                  <c:v>Nicolas</c:v>
                </c:pt>
                <c:pt idx="39">
                  <c:v>Henriot</c:v>
                </c:pt>
                <c:pt idx="40">
                  <c:v>Veuve Clicq</c:v>
                </c:pt>
                <c:pt idx="41">
                  <c:v>Dom Perigno</c:v>
                </c:pt>
                <c:pt idx="42">
                  <c:v>Laurent Per</c:v>
                </c:pt>
                <c:pt idx="43">
                  <c:v>Moët &amp; Chan</c:v>
                </c:pt>
                <c:pt idx="44">
                  <c:v>Roederer</c:v>
                </c:pt>
                <c:pt idx="45">
                  <c:v>Ruinart</c:v>
                </c:pt>
                <c:pt idx="46">
                  <c:v>Moët &amp; Chan</c:v>
                </c:pt>
                <c:pt idx="47">
                  <c:v>Nicolas</c:v>
                </c:pt>
                <c:pt idx="48">
                  <c:v>All Others</c:v>
                </c:pt>
                <c:pt idx="49">
                  <c:v>Nicolas Feu</c:v>
                </c:pt>
                <c:pt idx="50">
                  <c:v>Malard</c:v>
                </c:pt>
                <c:pt idx="51">
                  <c:v>All Others</c:v>
                </c:pt>
                <c:pt idx="52">
                  <c:v>Deutz</c:v>
                </c:pt>
                <c:pt idx="53">
                  <c:v>De Venoge</c:v>
                </c:pt>
                <c:pt idx="54">
                  <c:v>Canard Duch</c:v>
                </c:pt>
                <c:pt idx="55">
                  <c:v>Nicolas</c:v>
                </c:pt>
                <c:pt idx="56">
                  <c:v>Roederer</c:v>
                </c:pt>
                <c:pt idx="57">
                  <c:v>Bollinger</c:v>
                </c:pt>
                <c:pt idx="58">
                  <c:v>Ruinart</c:v>
                </c:pt>
                <c:pt idx="59">
                  <c:v>Malard</c:v>
                </c:pt>
                <c:pt idx="60">
                  <c:v>Malard</c:v>
                </c:pt>
                <c:pt idx="61">
                  <c:v>Roederer</c:v>
                </c:pt>
                <c:pt idx="62">
                  <c:v>Nicolas Feu</c:v>
                </c:pt>
                <c:pt idx="63">
                  <c:v>Lanson</c:v>
                </c:pt>
                <c:pt idx="64">
                  <c:v>Nicolas Feu</c:v>
                </c:pt>
                <c:pt idx="65">
                  <c:v>De Venoge</c:v>
                </c:pt>
                <c:pt idx="66">
                  <c:v>Besserat De</c:v>
                </c:pt>
                <c:pt idx="67">
                  <c:v>Piper Heids</c:v>
                </c:pt>
                <c:pt idx="68">
                  <c:v>Delamotte</c:v>
                </c:pt>
                <c:pt idx="69">
                  <c:v>De Bligny</c:v>
                </c:pt>
                <c:pt idx="70">
                  <c:v>Henriot</c:v>
                </c:pt>
                <c:pt idx="71">
                  <c:v>Louis Marti</c:v>
                </c:pt>
                <c:pt idx="72">
                  <c:v>Canard Duch</c:v>
                </c:pt>
                <c:pt idx="73">
                  <c:v>Campari: Al</c:v>
                </c:pt>
                <c:pt idx="74">
                  <c:v>Ayala</c:v>
                </c:pt>
                <c:pt idx="75">
                  <c:v>Ruinart</c:v>
                </c:pt>
                <c:pt idx="76">
                  <c:v>Ruinart</c:v>
                </c:pt>
                <c:pt idx="77">
                  <c:v>Moët &amp; Chan</c:v>
                </c:pt>
                <c:pt idx="78">
                  <c:v>Roederer</c:v>
                </c:pt>
                <c:pt idx="79">
                  <c:v>Nicolas</c:v>
                </c:pt>
                <c:pt idx="80">
                  <c:v>Pommery</c:v>
                </c:pt>
                <c:pt idx="81">
                  <c:v>Roederer</c:v>
                </c:pt>
                <c:pt idx="82">
                  <c:v>Canard Duch</c:v>
                </c:pt>
                <c:pt idx="83">
                  <c:v>Laurent Per</c:v>
                </c:pt>
                <c:pt idx="84">
                  <c:v>Krug</c:v>
                </c:pt>
                <c:pt idx="85">
                  <c:v>Ruinart</c:v>
                </c:pt>
                <c:pt idx="86">
                  <c:v>Deutz</c:v>
                </c:pt>
                <c:pt idx="87">
                  <c:v>Ruinart</c:v>
                </c:pt>
                <c:pt idx="88">
                  <c:v>Henriot</c:v>
                </c:pt>
                <c:pt idx="89">
                  <c:v>Vranken</c:v>
                </c:pt>
                <c:pt idx="90">
                  <c:v>Moët &amp; Chan</c:v>
                </c:pt>
                <c:pt idx="91">
                  <c:v>Nicolas</c:v>
                </c:pt>
                <c:pt idx="92">
                  <c:v>De Venoge</c:v>
                </c:pt>
                <c:pt idx="93">
                  <c:v>Dom Perigno</c:v>
                </c:pt>
                <c:pt idx="94">
                  <c:v>Henriot</c:v>
                </c:pt>
                <c:pt idx="95">
                  <c:v>All Others</c:v>
                </c:pt>
                <c:pt idx="96">
                  <c:v>Roederer</c:v>
                </c:pt>
                <c:pt idx="97">
                  <c:v>Canard Duch</c:v>
                </c:pt>
                <c:pt idx="98">
                  <c:v>Ruinart</c:v>
                </c:pt>
                <c:pt idx="99">
                  <c:v>Nicolas</c:v>
                </c:pt>
                <c:pt idx="100">
                  <c:v>De Venoge</c:v>
                </c:pt>
                <c:pt idx="101">
                  <c:v>Bollinger</c:v>
                </c:pt>
                <c:pt idx="102">
                  <c:v>Deutz</c:v>
                </c:pt>
                <c:pt idx="103">
                  <c:v>Roederer</c:v>
                </c:pt>
                <c:pt idx="104">
                  <c:v>Malard</c:v>
                </c:pt>
                <c:pt idx="105">
                  <c:v>All Others</c:v>
                </c:pt>
                <c:pt idx="106">
                  <c:v>Ruinart</c:v>
                </c:pt>
                <c:pt idx="107">
                  <c:v>Nicolas</c:v>
                </c:pt>
                <c:pt idx="108">
                  <c:v>Deutz</c:v>
                </c:pt>
                <c:pt idx="109">
                  <c:v>Roederer</c:v>
                </c:pt>
                <c:pt idx="110">
                  <c:v>Nicolas</c:v>
                </c:pt>
                <c:pt idx="111">
                  <c:v>Roederer</c:v>
                </c:pt>
                <c:pt idx="112">
                  <c:v>Pommery</c:v>
                </c:pt>
                <c:pt idx="113">
                  <c:v>Nicolas</c:v>
                </c:pt>
                <c:pt idx="114">
                  <c:v>Pommery</c:v>
                </c:pt>
                <c:pt idx="115">
                  <c:v>Deutz</c:v>
                </c:pt>
                <c:pt idx="116">
                  <c:v>Roederer</c:v>
                </c:pt>
                <c:pt idx="117">
                  <c:v>Louis Marti</c:v>
                </c:pt>
                <c:pt idx="118">
                  <c:v>Bollinger</c:v>
                </c:pt>
                <c:pt idx="119">
                  <c:v>Roederer</c:v>
                </c:pt>
                <c:pt idx="120">
                  <c:v>Roederer</c:v>
                </c:pt>
                <c:pt idx="121">
                  <c:v>Besserat De</c:v>
                </c:pt>
                <c:pt idx="122">
                  <c:v>Laurent Per</c:v>
                </c:pt>
                <c:pt idx="123">
                  <c:v>Nicolas</c:v>
                </c:pt>
                <c:pt idx="124">
                  <c:v>Vranken</c:v>
                </c:pt>
                <c:pt idx="125">
                  <c:v>Ruinart</c:v>
                </c:pt>
                <c:pt idx="126">
                  <c:v>Nicolas</c:v>
                </c:pt>
                <c:pt idx="127">
                  <c:v>Piper Heids</c:v>
                </c:pt>
                <c:pt idx="128">
                  <c:v>Laurent Per</c:v>
                </c:pt>
                <c:pt idx="129">
                  <c:v>Roederer</c:v>
                </c:pt>
                <c:pt idx="130">
                  <c:v>Canard Duch</c:v>
                </c:pt>
                <c:pt idx="131">
                  <c:v>Nicolas Feu</c:v>
                </c:pt>
                <c:pt idx="132">
                  <c:v>Veuve Clicq</c:v>
                </c:pt>
                <c:pt idx="133">
                  <c:v>All Others</c:v>
                </c:pt>
                <c:pt idx="134">
                  <c:v>Ruinart</c:v>
                </c:pt>
                <c:pt idx="135">
                  <c:v>Nicolas</c:v>
                </c:pt>
                <c:pt idx="136">
                  <c:v>Nicolas</c:v>
                </c:pt>
                <c:pt idx="137">
                  <c:v>Nicolas</c:v>
                </c:pt>
                <c:pt idx="138">
                  <c:v>Demoiselle</c:v>
                </c:pt>
                <c:pt idx="139">
                  <c:v>Nicolas</c:v>
                </c:pt>
                <c:pt idx="140">
                  <c:v>Moët &amp; Chan</c:v>
                </c:pt>
                <c:pt idx="141">
                  <c:v>Henriot</c:v>
                </c:pt>
                <c:pt idx="142">
                  <c:v>Pommery</c:v>
                </c:pt>
                <c:pt idx="143">
                  <c:v>Laurent Per</c:v>
                </c:pt>
                <c:pt idx="144">
                  <c:v>All Others</c:v>
                </c:pt>
                <c:pt idx="145">
                  <c:v>Henriot</c:v>
                </c:pt>
                <c:pt idx="146">
                  <c:v>Lanson</c:v>
                </c:pt>
                <c:pt idx="147">
                  <c:v>Besserat De</c:v>
                </c:pt>
                <c:pt idx="148">
                  <c:v>Canard Duch</c:v>
                </c:pt>
                <c:pt idx="149">
                  <c:v>All Others</c:v>
                </c:pt>
                <c:pt idx="150">
                  <c:v>Pommery</c:v>
                </c:pt>
                <c:pt idx="151">
                  <c:v>Dom Perigno</c:v>
                </c:pt>
                <c:pt idx="152">
                  <c:v>Demoiselle</c:v>
                </c:pt>
                <c:pt idx="153">
                  <c:v>Delamotte</c:v>
                </c:pt>
                <c:pt idx="154">
                  <c:v>Pommery</c:v>
                </c:pt>
                <c:pt idx="155">
                  <c:v>All Others</c:v>
                </c:pt>
                <c:pt idx="156">
                  <c:v>Nicolas</c:v>
                </c:pt>
                <c:pt idx="157">
                  <c:v>Roederer</c:v>
                </c:pt>
                <c:pt idx="158">
                  <c:v>Perrier Jou</c:v>
                </c:pt>
                <c:pt idx="159">
                  <c:v>Nicolas</c:v>
                </c:pt>
                <c:pt idx="160">
                  <c:v>Ruinart</c:v>
                </c:pt>
                <c:pt idx="161">
                  <c:v>Taittinger</c:v>
                </c:pt>
                <c:pt idx="162">
                  <c:v>Taittinger</c:v>
                </c:pt>
                <c:pt idx="163">
                  <c:v>Ruinart</c:v>
                </c:pt>
                <c:pt idx="164">
                  <c:v>Ruinart</c:v>
                </c:pt>
                <c:pt idx="165">
                  <c:v>Bollinger</c:v>
                </c:pt>
                <c:pt idx="166">
                  <c:v>Martel</c:v>
                </c:pt>
                <c:pt idx="167">
                  <c:v>Perrier Jou</c:v>
                </c:pt>
                <c:pt idx="168">
                  <c:v>Vesselle</c:v>
                </c:pt>
                <c:pt idx="169">
                  <c:v>Taittinger</c:v>
                </c:pt>
                <c:pt idx="170">
                  <c:v>Lanson</c:v>
                </c:pt>
                <c:pt idx="171">
                  <c:v>All Others</c:v>
                </c:pt>
                <c:pt idx="172">
                  <c:v>Roederer</c:v>
                </c:pt>
                <c:pt idx="173">
                  <c:v>Vesselle</c:v>
                </c:pt>
                <c:pt idx="174">
                  <c:v>All Others</c:v>
                </c:pt>
                <c:pt idx="175">
                  <c:v>Piper Heids</c:v>
                </c:pt>
                <c:pt idx="176">
                  <c:v>Pommery</c:v>
                </c:pt>
                <c:pt idx="177">
                  <c:v>All Others</c:v>
                </c:pt>
                <c:pt idx="178">
                  <c:v>De Venoge</c:v>
                </c:pt>
                <c:pt idx="179">
                  <c:v>Laurent Per</c:v>
                </c:pt>
                <c:pt idx="180">
                  <c:v>De Venoge</c:v>
                </c:pt>
                <c:pt idx="181">
                  <c:v>Moët &amp; Chan</c:v>
                </c:pt>
                <c:pt idx="182">
                  <c:v>Laurent Per</c:v>
                </c:pt>
                <c:pt idx="183">
                  <c:v>Vranken</c:v>
                </c:pt>
                <c:pt idx="184">
                  <c:v>Nicolas Feu</c:v>
                </c:pt>
                <c:pt idx="185">
                  <c:v>Nicolas</c:v>
                </c:pt>
                <c:pt idx="186">
                  <c:v>Roederer</c:v>
                </c:pt>
                <c:pt idx="187">
                  <c:v>Perrier Jou</c:v>
                </c:pt>
                <c:pt idx="188">
                  <c:v>Nicolas</c:v>
                </c:pt>
                <c:pt idx="189">
                  <c:v>Malard</c:v>
                </c:pt>
                <c:pt idx="190">
                  <c:v>De Venoge</c:v>
                </c:pt>
                <c:pt idx="191">
                  <c:v>Nicolas</c:v>
                </c:pt>
                <c:pt idx="192">
                  <c:v>Ayala</c:v>
                </c:pt>
                <c:pt idx="193">
                  <c:v>Ayala</c:v>
                </c:pt>
                <c:pt idx="194">
                  <c:v>Laurent Per</c:v>
                </c:pt>
                <c:pt idx="195">
                  <c:v>Canard Duch</c:v>
                </c:pt>
                <c:pt idx="196">
                  <c:v>Bollinger</c:v>
                </c:pt>
                <c:pt idx="197">
                  <c:v>Nicolas</c:v>
                </c:pt>
                <c:pt idx="198">
                  <c:v>All Others</c:v>
                </c:pt>
                <c:pt idx="199">
                  <c:v>Vranken</c:v>
                </c:pt>
                <c:pt idx="200">
                  <c:v>All Others</c:v>
                </c:pt>
                <c:pt idx="201">
                  <c:v>Bollinger</c:v>
                </c:pt>
                <c:pt idx="202">
                  <c:v>All Others</c:v>
                </c:pt>
              </c:strCache>
            </c:strRef>
          </c:cat>
          <c:val>
            <c:numRef>
              <c:f>Sheet1!$C$2:$C$204</c:f>
              <c:numCache>
                <c:formatCode>General</c:formatCode>
                <c:ptCount val="203"/>
                <c:pt idx="0">
                  <c:v>0.11875652780273019</c:v>
                </c:pt>
                <c:pt idx="1">
                  <c:v>0.19156265320353347</c:v>
                </c:pt>
                <c:pt idx="2">
                  <c:v>0.24486682521170636</c:v>
                </c:pt>
                <c:pt idx="3">
                  <c:v>0.2920839639101957</c:v>
                </c:pt>
                <c:pt idx="4">
                  <c:v>0.33377435650709647</c:v>
                </c:pt>
                <c:pt idx="5">
                  <c:v>0.36867050544605257</c:v>
                </c:pt>
                <c:pt idx="6">
                  <c:v>0.39995828296331032</c:v>
                </c:pt>
                <c:pt idx="7">
                  <c:v>0.42896608739871439</c:v>
                </c:pt>
                <c:pt idx="8">
                  <c:v>0.45345657621885305</c:v>
                </c:pt>
                <c:pt idx="9">
                  <c:v>0.47778948426171503</c:v>
                </c:pt>
                <c:pt idx="10">
                  <c:v>0.5015012043129935</c:v>
                </c:pt>
                <c:pt idx="11">
                  <c:v>0.52067733851396003</c:v>
                </c:pt>
                <c:pt idx="12">
                  <c:v>0.53846797989056139</c:v>
                </c:pt>
                <c:pt idx="13">
                  <c:v>0.55623730599294174</c:v>
                </c:pt>
                <c:pt idx="14">
                  <c:v>0.57162769524029944</c:v>
                </c:pt>
                <c:pt idx="15">
                  <c:v>0.586591779003237</c:v>
                </c:pt>
                <c:pt idx="16">
                  <c:v>0.60151323221773256</c:v>
                </c:pt>
                <c:pt idx="17">
                  <c:v>0.61621848765084375</c:v>
                </c:pt>
                <c:pt idx="18">
                  <c:v>0.63045556831088645</c:v>
                </c:pt>
                <c:pt idx="19">
                  <c:v>0.6441681409731338</c:v>
                </c:pt>
                <c:pt idx="20">
                  <c:v>0.65404548679518781</c:v>
                </c:pt>
                <c:pt idx="21">
                  <c:v>0.66350490099055148</c:v>
                </c:pt>
                <c:pt idx="22">
                  <c:v>0.67243143333039002</c:v>
                </c:pt>
                <c:pt idx="23">
                  <c:v>0.68085172790747972</c:v>
                </c:pt>
                <c:pt idx="24">
                  <c:v>0.68906419856091472</c:v>
                </c:pt>
                <c:pt idx="25">
                  <c:v>0.69716476402468941</c:v>
                </c:pt>
                <c:pt idx="26">
                  <c:v>0.70522726649878376</c:v>
                </c:pt>
                <c:pt idx="27">
                  <c:v>0.71315578724920325</c:v>
                </c:pt>
                <c:pt idx="28">
                  <c:v>0.72093510108007564</c:v>
                </c:pt>
                <c:pt idx="29">
                  <c:v>0.72854389271718001</c:v>
                </c:pt>
                <c:pt idx="30">
                  <c:v>0.73585427051519037</c:v>
                </c:pt>
                <c:pt idx="31">
                  <c:v>0.74297737840397338</c:v>
                </c:pt>
                <c:pt idx="32">
                  <c:v>0.75004110802885504</c:v>
                </c:pt>
                <c:pt idx="33">
                  <c:v>0.75681860397134038</c:v>
                </c:pt>
                <c:pt idx="34">
                  <c:v>0.76332204638812706</c:v>
                </c:pt>
                <c:pt idx="35">
                  <c:v>0.76954610646065991</c:v>
                </c:pt>
                <c:pt idx="36">
                  <c:v>0.77571231078887859</c:v>
                </c:pt>
                <c:pt idx="37">
                  <c:v>0.78174986221197762</c:v>
                </c:pt>
                <c:pt idx="38">
                  <c:v>0.7877775172577598</c:v>
                </c:pt>
                <c:pt idx="39">
                  <c:v>0.79366129420255016</c:v>
                </c:pt>
                <c:pt idx="40">
                  <c:v>0.79951690453497704</c:v>
                </c:pt>
                <c:pt idx="41">
                  <c:v>0.80533978069627887</c:v>
                </c:pt>
                <c:pt idx="42">
                  <c:v>0.81112916142666192</c:v>
                </c:pt>
                <c:pt idx="43">
                  <c:v>0.81649375919221212</c:v>
                </c:pt>
                <c:pt idx="44">
                  <c:v>0.82162541146091861</c:v>
                </c:pt>
                <c:pt idx="45">
                  <c:v>0.8265583749234936</c:v>
                </c:pt>
                <c:pt idx="46">
                  <c:v>0.8312804694232393</c:v>
                </c:pt>
                <c:pt idx="47">
                  <c:v>0.8358891362137375</c:v>
                </c:pt>
                <c:pt idx="48">
                  <c:v>0.84042167702487502</c:v>
                </c:pt>
                <c:pt idx="49">
                  <c:v>0.84489331705252402</c:v>
                </c:pt>
                <c:pt idx="50">
                  <c:v>0.84932232653173101</c:v>
                </c:pt>
                <c:pt idx="51">
                  <c:v>0.85336689981516634</c:v>
                </c:pt>
                <c:pt idx="52">
                  <c:v>0.85726074365946736</c:v>
                </c:pt>
                <c:pt idx="53">
                  <c:v>0.86098482656979403</c:v>
                </c:pt>
                <c:pt idx="54">
                  <c:v>0.86461146822653889</c:v>
                </c:pt>
                <c:pt idx="55">
                  <c:v>0.8681855829575249</c:v>
                </c:pt>
                <c:pt idx="56">
                  <c:v>0.87156177014217306</c:v>
                </c:pt>
                <c:pt idx="57">
                  <c:v>0.87486563764642855</c:v>
                </c:pt>
                <c:pt idx="58">
                  <c:v>0.87806292877957903</c:v>
                </c:pt>
                <c:pt idx="59">
                  <c:v>0.88120540920758972</c:v>
                </c:pt>
                <c:pt idx="60">
                  <c:v>0.88434712837580687</c:v>
                </c:pt>
                <c:pt idx="61">
                  <c:v>0.88743327557909069</c:v>
                </c:pt>
                <c:pt idx="62">
                  <c:v>0.89047831475351968</c:v>
                </c:pt>
                <c:pt idx="63">
                  <c:v>0.89351802510939338</c:v>
                </c:pt>
                <c:pt idx="64">
                  <c:v>0.89649378964260407</c:v>
                </c:pt>
                <c:pt idx="65">
                  <c:v>0.89944823890159376</c:v>
                </c:pt>
                <c:pt idx="66">
                  <c:v>0.90228393163278076</c:v>
                </c:pt>
                <c:pt idx="67">
                  <c:v>0.90505111098254309</c:v>
                </c:pt>
                <c:pt idx="68">
                  <c:v>0.90767669601069445</c:v>
                </c:pt>
                <c:pt idx="69">
                  <c:v>0.91026345678937182</c:v>
                </c:pt>
                <c:pt idx="70">
                  <c:v>0.91280606450002</c:v>
                </c:pt>
                <c:pt idx="71">
                  <c:v>0.91533953709314486</c:v>
                </c:pt>
                <c:pt idx="72">
                  <c:v>0.91787224842647619</c:v>
                </c:pt>
                <c:pt idx="73">
                  <c:v>0.92040115346083951</c:v>
                </c:pt>
                <c:pt idx="74">
                  <c:v>0.92283413976120821</c:v>
                </c:pt>
                <c:pt idx="75">
                  <c:v>0.9251818649646929</c:v>
                </c:pt>
                <c:pt idx="76">
                  <c:v>0.92752654512900323</c:v>
                </c:pt>
                <c:pt idx="77">
                  <c:v>0.92986513521496472</c:v>
                </c:pt>
                <c:pt idx="78">
                  <c:v>0.93200351397520742</c:v>
                </c:pt>
                <c:pt idx="79">
                  <c:v>0.93411905494164194</c:v>
                </c:pt>
                <c:pt idx="80">
                  <c:v>0.93620795181530025</c:v>
                </c:pt>
                <c:pt idx="81">
                  <c:v>0.93828162349308641</c:v>
                </c:pt>
                <c:pt idx="82">
                  <c:v>0.94024491250079945</c:v>
                </c:pt>
                <c:pt idx="83">
                  <c:v>0.94219526009202126</c:v>
                </c:pt>
                <c:pt idx="84">
                  <c:v>0.94410221587500742</c:v>
                </c:pt>
                <c:pt idx="85">
                  <c:v>0.94599470772191507</c:v>
                </c:pt>
                <c:pt idx="86">
                  <c:v>0.94774865028638622</c:v>
                </c:pt>
                <c:pt idx="87">
                  <c:v>0.94939830025913308</c:v>
                </c:pt>
                <c:pt idx="88">
                  <c:v>0.95093452252263244</c:v>
                </c:pt>
                <c:pt idx="89">
                  <c:v>0.95244942951191081</c:v>
                </c:pt>
                <c:pt idx="90">
                  <c:v>0.95395291760428513</c:v>
                </c:pt>
                <c:pt idx="91">
                  <c:v>0.95540844632966215</c:v>
                </c:pt>
                <c:pt idx="92">
                  <c:v>0.95678023647774246</c:v>
                </c:pt>
                <c:pt idx="93">
                  <c:v>0.95814974284644194</c:v>
                </c:pt>
                <c:pt idx="94">
                  <c:v>0.95950630779865009</c:v>
                </c:pt>
                <c:pt idx="95">
                  <c:v>0.96079816566840159</c:v>
                </c:pt>
                <c:pt idx="96">
                  <c:v>0.96204282543094943</c:v>
                </c:pt>
                <c:pt idx="97">
                  <c:v>0.9631938502388836</c:v>
                </c:pt>
                <c:pt idx="98">
                  <c:v>0.96429919945920128</c:v>
                </c:pt>
                <c:pt idx="99">
                  <c:v>0.96540074238055096</c:v>
                </c:pt>
                <c:pt idx="100">
                  <c:v>0.9664680286111883</c:v>
                </c:pt>
                <c:pt idx="101">
                  <c:v>0.96747898161709878</c:v>
                </c:pt>
                <c:pt idx="102">
                  <c:v>0.96848993462300925</c:v>
                </c:pt>
                <c:pt idx="103">
                  <c:v>0.96948946873201558</c:v>
                </c:pt>
                <c:pt idx="104">
                  <c:v>0.97037405261218723</c:v>
                </c:pt>
                <c:pt idx="105">
                  <c:v>0.97121296090474241</c:v>
                </c:pt>
                <c:pt idx="106">
                  <c:v>0.97204577911894874</c:v>
                </c:pt>
                <c:pt idx="107">
                  <c:v>0.97284662442182357</c:v>
                </c:pt>
                <c:pt idx="108">
                  <c:v>0.97364061838655591</c:v>
                </c:pt>
                <c:pt idx="109">
                  <c:v>0.97441558085644808</c:v>
                </c:pt>
                <c:pt idx="110">
                  <c:v>0.97515476411604074</c:v>
                </c:pt>
                <c:pt idx="111">
                  <c:v>0.97589014107666539</c:v>
                </c:pt>
                <c:pt idx="112">
                  <c:v>0.97661790543935389</c:v>
                </c:pt>
                <c:pt idx="113">
                  <c:v>0.97734490854224887</c:v>
                </c:pt>
                <c:pt idx="114">
                  <c:v>0.97805744770906522</c:v>
                </c:pt>
                <c:pt idx="115">
                  <c:v>0.97876541931711991</c:v>
                </c:pt>
                <c:pt idx="116">
                  <c:v>0.97942695407776459</c:v>
                </c:pt>
                <c:pt idx="117">
                  <c:v>0.9800801149806796</c:v>
                </c:pt>
                <c:pt idx="118">
                  <c:v>0.98073023084442024</c:v>
                </c:pt>
                <c:pt idx="119">
                  <c:v>0.98134456749786125</c:v>
                </c:pt>
                <c:pt idx="120">
                  <c:v>0.98193911139666856</c:v>
                </c:pt>
                <c:pt idx="121">
                  <c:v>0.98252680395733338</c:v>
                </c:pt>
                <c:pt idx="122">
                  <c:v>0.9831144965179982</c:v>
                </c:pt>
                <c:pt idx="123">
                  <c:v>0.98369381522093335</c:v>
                </c:pt>
                <c:pt idx="124">
                  <c:v>0.98426628258572602</c:v>
                </c:pt>
                <c:pt idx="125">
                  <c:v>0.98482961483299536</c:v>
                </c:pt>
                <c:pt idx="126">
                  <c:v>0.98538914078129669</c:v>
                </c:pt>
                <c:pt idx="127">
                  <c:v>0.98594866672959802</c:v>
                </c:pt>
                <c:pt idx="128">
                  <c:v>0.98650590889851852</c:v>
                </c:pt>
                <c:pt idx="129">
                  <c:v>0.98705401594991571</c:v>
                </c:pt>
                <c:pt idx="130">
                  <c:v>0.98757471764874305</c:v>
                </c:pt>
                <c:pt idx="131">
                  <c:v>0.98805126627954121</c:v>
                </c:pt>
                <c:pt idx="132">
                  <c:v>0.98851715727322886</c:v>
                </c:pt>
                <c:pt idx="133">
                  <c:v>0.9889525978751722</c:v>
                </c:pt>
                <c:pt idx="134">
                  <c:v>0.98937585832041786</c:v>
                </c:pt>
                <c:pt idx="135">
                  <c:v>0.98977323593268085</c:v>
                </c:pt>
                <c:pt idx="136">
                  <c:v>0.990164523466595</c:v>
                </c:pt>
                <c:pt idx="137">
                  <c:v>0.99055581100050916</c:v>
                </c:pt>
                <c:pt idx="138">
                  <c:v>0.99093720215710634</c:v>
                </c:pt>
                <c:pt idx="139">
                  <c:v>0.9913056518972122</c:v>
                </c:pt>
                <c:pt idx="140">
                  <c:v>0.99164821880433551</c:v>
                </c:pt>
                <c:pt idx="141">
                  <c:v>0.99195196146198483</c:v>
                </c:pt>
                <c:pt idx="142">
                  <c:v>0.99225037530107885</c:v>
                </c:pt>
                <c:pt idx="143">
                  <c:v>0.99251300992987335</c:v>
                </c:pt>
                <c:pt idx="144">
                  <c:v>0.9927748832988742</c:v>
                </c:pt>
                <c:pt idx="145">
                  <c:v>0.99303142784931986</c:v>
                </c:pt>
                <c:pt idx="146">
                  <c:v>0.99328264358121021</c:v>
                </c:pt>
                <c:pt idx="147">
                  <c:v>0.99352853049454537</c:v>
                </c:pt>
                <c:pt idx="148">
                  <c:v>0.99375919221200837</c:v>
                </c:pt>
                <c:pt idx="149">
                  <c:v>0.99398757015009054</c:v>
                </c:pt>
                <c:pt idx="150">
                  <c:v>0.99420452919126856</c:v>
                </c:pt>
                <c:pt idx="151">
                  <c:v>0.99441387563451056</c:v>
                </c:pt>
                <c:pt idx="152">
                  <c:v>0.99462322207775256</c:v>
                </c:pt>
                <c:pt idx="153">
                  <c:v>0.99483256852099455</c:v>
                </c:pt>
                <c:pt idx="154">
                  <c:v>0.99504191496423655</c:v>
                </c:pt>
                <c:pt idx="155">
                  <c:v>0.99523375243222556</c:v>
                </c:pt>
                <c:pt idx="156">
                  <c:v>0.99542330612083374</c:v>
                </c:pt>
                <c:pt idx="157">
                  <c:v>0.99561057603006109</c:v>
                </c:pt>
                <c:pt idx="158">
                  <c:v>0.9957970846794949</c:v>
                </c:pt>
                <c:pt idx="159">
                  <c:v>0.99597674199078623</c:v>
                </c:pt>
                <c:pt idx="160">
                  <c:v>0.99615563804228391</c:v>
                </c:pt>
                <c:pt idx="161">
                  <c:v>0.99633148905460722</c:v>
                </c:pt>
                <c:pt idx="162">
                  <c:v>0.99650734006693054</c:v>
                </c:pt>
                <c:pt idx="163">
                  <c:v>0.9966717721823497</c:v>
                </c:pt>
                <c:pt idx="164">
                  <c:v>0.99683544303797522</c:v>
                </c:pt>
                <c:pt idx="165">
                  <c:v>0.99699530759463273</c:v>
                </c:pt>
                <c:pt idx="166">
                  <c:v>0.99714527577397338</c:v>
                </c:pt>
                <c:pt idx="167">
                  <c:v>0.99728991513475873</c:v>
                </c:pt>
                <c:pt idx="168">
                  <c:v>0.99743227071616325</c:v>
                </c:pt>
                <c:pt idx="169">
                  <c:v>0.99757234251818694</c:v>
                </c:pt>
                <c:pt idx="170">
                  <c:v>0.99770860802124262</c:v>
                </c:pt>
                <c:pt idx="171">
                  <c:v>0.99784411226450476</c:v>
                </c:pt>
                <c:pt idx="172">
                  <c:v>0.9979780939881796</c:v>
                </c:pt>
                <c:pt idx="173">
                  <c:v>0.99811131445206092</c:v>
                </c:pt>
                <c:pt idx="174">
                  <c:v>0.99824377365614858</c:v>
                </c:pt>
                <c:pt idx="175">
                  <c:v>0.9983754716004426</c:v>
                </c:pt>
                <c:pt idx="176">
                  <c:v>0.99850640828494308</c:v>
                </c:pt>
                <c:pt idx="177">
                  <c:v>0.99863582244985627</c:v>
                </c:pt>
                <c:pt idx="178">
                  <c:v>0.99873478622302525</c:v>
                </c:pt>
                <c:pt idx="179">
                  <c:v>0.99883298873640058</c:v>
                </c:pt>
                <c:pt idx="180">
                  <c:v>0.99893042998998227</c:v>
                </c:pt>
                <c:pt idx="181">
                  <c:v>0.99900655596934296</c:v>
                </c:pt>
                <c:pt idx="182">
                  <c:v>0.99908192068891011</c:v>
                </c:pt>
                <c:pt idx="183">
                  <c:v>0.99915576288888996</c:v>
                </c:pt>
                <c:pt idx="184">
                  <c:v>0.99922275375072744</c:v>
                </c:pt>
                <c:pt idx="185">
                  <c:v>0.99928517705380326</c:v>
                </c:pt>
                <c:pt idx="186">
                  <c:v>0.99934760035687908</c:v>
                </c:pt>
                <c:pt idx="187">
                  <c:v>0.99940850114036761</c:v>
                </c:pt>
                <c:pt idx="188">
                  <c:v>0.99946787940426896</c:v>
                </c:pt>
                <c:pt idx="189">
                  <c:v>0.99952573514858312</c:v>
                </c:pt>
                <c:pt idx="190">
                  <c:v>0.99958282963310363</c:v>
                </c:pt>
                <c:pt idx="191">
                  <c:v>0.99963992411762415</c:v>
                </c:pt>
                <c:pt idx="192">
                  <c:v>0.99969168978358947</c:v>
                </c:pt>
                <c:pt idx="193">
                  <c:v>0.99973355907223782</c:v>
                </c:pt>
                <c:pt idx="194">
                  <c:v>0.99977162206191816</c:v>
                </c:pt>
                <c:pt idx="195">
                  <c:v>0.99980359497324967</c:v>
                </c:pt>
                <c:pt idx="196">
                  <c:v>0.99983556788458117</c:v>
                </c:pt>
                <c:pt idx="197">
                  <c:v>0.99986677953611902</c:v>
                </c:pt>
                <c:pt idx="198">
                  <c:v>0.99989799118765688</c:v>
                </c:pt>
                <c:pt idx="199">
                  <c:v>0.99992768031960755</c:v>
                </c:pt>
                <c:pt idx="200">
                  <c:v>0.99995356315259021</c:v>
                </c:pt>
                <c:pt idx="201">
                  <c:v>0.99997792346598569</c:v>
                </c:pt>
                <c:pt idx="20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De Bligny</c:v>
                </c:pt>
                <c:pt idx="5">
                  <c:v>Nicolas Feuillatte</c:v>
                </c:pt>
                <c:pt idx="6">
                  <c:v>Laurent Perrier</c:v>
                </c:pt>
                <c:pt idx="7">
                  <c:v>Heidsieck &amp; Co Monopole</c:v>
                </c:pt>
                <c:pt idx="8">
                  <c:v>Canard Duchêne</c:v>
                </c:pt>
                <c:pt idx="9">
                  <c:v>Others</c:v>
                </c:pt>
              </c:strCache>
            </c:strRef>
          </c:cat>
          <c:val>
            <c:numRef>
              <c:f>Sheet1!$B$2:$B$11</c:f>
              <c:numCache>
                <c:formatCode>General</c:formatCode>
                <c:ptCount val="10"/>
                <c:pt idx="0">
                  <c:v>0.24682558992704559</c:v>
                </c:pt>
                <c:pt idx="1">
                  <c:v>0.11008359913473564</c:v>
                </c:pt>
                <c:pt idx="2">
                  <c:v>6.9386521492847117E-2</c:v>
                </c:pt>
                <c:pt idx="3">
                  <c:v>5.4970517904052982E-2</c:v>
                </c:pt>
                <c:pt idx="4">
                  <c:v>4.9363027056618547E-2</c:v>
                </c:pt>
                <c:pt idx="5">
                  <c:v>4.5013895172235509E-2</c:v>
                </c:pt>
                <c:pt idx="6">
                  <c:v>4.2990446356271458E-2</c:v>
                </c:pt>
                <c:pt idx="7">
                  <c:v>4.2784204743747174E-2</c:v>
                </c:pt>
                <c:pt idx="8">
                  <c:v>3.7228987116076959E-2</c:v>
                </c:pt>
                <c:pt idx="9">
                  <c:v>0.301353211096369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De Bligny</c:v>
                </c:pt>
                <c:pt idx="5">
                  <c:v>Nicolas Feuillatte</c:v>
                </c:pt>
                <c:pt idx="6">
                  <c:v>Laurent Perrier</c:v>
                </c:pt>
                <c:pt idx="7">
                  <c:v>Heidsieck &amp; Co Monopole</c:v>
                </c:pt>
                <c:pt idx="8">
                  <c:v>Canard Duchêne</c:v>
                </c:pt>
                <c:pt idx="9">
                  <c:v>Others</c:v>
                </c:pt>
              </c:strCache>
            </c:strRef>
          </c:cat>
          <c:val>
            <c:numRef>
              <c:f>Sheet1!$C$2:$C$11</c:f>
              <c:numCache>
                <c:formatCode>General</c:formatCode>
                <c:ptCount val="10"/>
                <c:pt idx="0">
                  <c:v>0.1214466835713332</c:v>
                </c:pt>
                <c:pt idx="1">
                  <c:v>9.1819031095689313E-2</c:v>
                </c:pt>
                <c:pt idx="2">
                  <c:v>5.6853062858668084E-2</c:v>
                </c:pt>
                <c:pt idx="3">
                  <c:v>5.19151207793941E-2</c:v>
                </c:pt>
                <c:pt idx="4">
                  <c:v>2.2687841985853462E-2</c:v>
                </c:pt>
                <c:pt idx="5">
                  <c:v>3.5499799813158942E-2</c:v>
                </c:pt>
                <c:pt idx="6">
                  <c:v>4.9779794474843181E-2</c:v>
                </c:pt>
                <c:pt idx="7">
                  <c:v>1.3345789403443213E-2</c:v>
                </c:pt>
                <c:pt idx="8">
                  <c:v>4.7110636594154542E-2</c:v>
                </c:pt>
                <c:pt idx="9">
                  <c:v>0.509542239423461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De Bligny</c:v>
                </c:pt>
                <c:pt idx="5">
                  <c:v>Nicolas Feuillatte</c:v>
                </c:pt>
                <c:pt idx="6">
                  <c:v>Laurent Perrier</c:v>
                </c:pt>
                <c:pt idx="7">
                  <c:v>Heidsieck &amp; Co Monopole</c:v>
                </c:pt>
                <c:pt idx="8">
                  <c:v>Canard Duchêne</c:v>
                </c:pt>
                <c:pt idx="9">
                  <c:v>Others</c:v>
                </c:pt>
              </c:strCache>
            </c:strRef>
          </c:cat>
          <c:val>
            <c:numRef>
              <c:f>Sheet1!$D$2:$D$11</c:f>
              <c:numCache>
                <c:formatCode>General</c:formatCode>
                <c:ptCount val="10"/>
                <c:pt idx="0">
                  <c:v>49.203441023772811</c:v>
                </c:pt>
                <c:pt idx="1">
                  <c:v>83.408456679644331</c:v>
                </c:pt>
                <c:pt idx="2">
                  <c:v>81.936753184159727</c:v>
                </c:pt>
                <c:pt idx="3">
                  <c:v>94.441753068450524</c:v>
                </c:pt>
                <c:pt idx="4">
                  <c:v>45.961204850405338</c:v>
                </c:pt>
                <c:pt idx="5">
                  <c:v>78.864092248242386</c:v>
                </c:pt>
                <c:pt idx="6">
                  <c:v>115.79269045570469</c:v>
                </c:pt>
                <c:pt idx="7">
                  <c:v>31.193262755207979</c:v>
                </c:pt>
                <c:pt idx="8">
                  <c:v>126.54289102001997</c:v>
                </c:pt>
                <c:pt idx="9">
                  <c:v>169.0847220673937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7</c:f>
              <c:strCache>
                <c:ptCount val="206"/>
                <c:pt idx="0">
                  <c:v>Ruinart</c:v>
                </c:pt>
                <c:pt idx="1">
                  <c:v>Ruinart</c:v>
                </c:pt>
                <c:pt idx="2">
                  <c:v>Nicolas</c:v>
                </c:pt>
                <c:pt idx="3">
                  <c:v>Deutz</c:v>
                </c:pt>
                <c:pt idx="4">
                  <c:v>Ruinart</c:v>
                </c:pt>
                <c:pt idx="5">
                  <c:v>Heidsieck &amp;</c:v>
                </c:pt>
                <c:pt idx="6">
                  <c:v>De Bligny</c:v>
                </c:pt>
                <c:pt idx="7">
                  <c:v>Ayala</c:v>
                </c:pt>
                <c:pt idx="8">
                  <c:v>Laurent Per</c:v>
                </c:pt>
                <c:pt idx="9">
                  <c:v>Canard Duch</c:v>
                </c:pt>
                <c:pt idx="10">
                  <c:v>Nicolas Feu</c:v>
                </c:pt>
                <c:pt idx="11">
                  <c:v>Ruinart</c:v>
                </c:pt>
                <c:pt idx="12">
                  <c:v>Taittinger</c:v>
                </c:pt>
                <c:pt idx="13">
                  <c:v>Ruinart</c:v>
                </c:pt>
                <c:pt idx="14">
                  <c:v>Demoiselle</c:v>
                </c:pt>
                <c:pt idx="15">
                  <c:v>Bollinger</c:v>
                </c:pt>
                <c:pt idx="16">
                  <c:v>Malard</c:v>
                </c:pt>
                <c:pt idx="17">
                  <c:v>Dom Perigno</c:v>
                </c:pt>
                <c:pt idx="18">
                  <c:v>Ruinart</c:v>
                </c:pt>
                <c:pt idx="19">
                  <c:v>Deutz</c:v>
                </c:pt>
                <c:pt idx="20">
                  <c:v>Ruinart</c:v>
                </c:pt>
                <c:pt idx="21">
                  <c:v>Perrier Jou</c:v>
                </c:pt>
                <c:pt idx="22">
                  <c:v>Vesselle</c:v>
                </c:pt>
                <c:pt idx="23">
                  <c:v>Ruinart</c:v>
                </c:pt>
                <c:pt idx="24">
                  <c:v>Deutz</c:v>
                </c:pt>
                <c:pt idx="25">
                  <c:v>Savian</c:v>
                </c:pt>
                <c:pt idx="26">
                  <c:v>Laurent Per</c:v>
                </c:pt>
                <c:pt idx="27">
                  <c:v>Pommery</c:v>
                </c:pt>
                <c:pt idx="28">
                  <c:v>Moët &amp; Chan</c:v>
                </c:pt>
                <c:pt idx="29">
                  <c:v>Taittinger</c:v>
                </c:pt>
                <c:pt idx="30">
                  <c:v>Dom Perigno</c:v>
                </c:pt>
                <c:pt idx="31">
                  <c:v>Besserat De</c:v>
                </c:pt>
                <c:pt idx="32">
                  <c:v>Laurent Per</c:v>
                </c:pt>
                <c:pt idx="33">
                  <c:v>Malard</c:v>
                </c:pt>
                <c:pt idx="34">
                  <c:v>Krug</c:v>
                </c:pt>
                <c:pt idx="35">
                  <c:v>All Others</c:v>
                </c:pt>
                <c:pt idx="36">
                  <c:v>Nicolas</c:v>
                </c:pt>
                <c:pt idx="37">
                  <c:v>Roederer</c:v>
                </c:pt>
                <c:pt idx="38">
                  <c:v>Campari: Al</c:v>
                </c:pt>
                <c:pt idx="39">
                  <c:v>Ruinart</c:v>
                </c:pt>
                <c:pt idx="40">
                  <c:v>Veuve Clicq</c:v>
                </c:pt>
                <c:pt idx="41">
                  <c:v>Dom Perigno</c:v>
                </c:pt>
                <c:pt idx="42">
                  <c:v>Demoiselle</c:v>
                </c:pt>
                <c:pt idx="43">
                  <c:v>Malard</c:v>
                </c:pt>
                <c:pt idx="44">
                  <c:v>Besserat De</c:v>
                </c:pt>
                <c:pt idx="45">
                  <c:v>Henriot</c:v>
                </c:pt>
                <c:pt idx="46">
                  <c:v>Ayala</c:v>
                </c:pt>
                <c:pt idx="47">
                  <c:v>De Bligny</c:v>
                </c:pt>
                <c:pt idx="48">
                  <c:v>Nicolas</c:v>
                </c:pt>
                <c:pt idx="49">
                  <c:v>Bollinger</c:v>
                </c:pt>
                <c:pt idx="50">
                  <c:v>Moët &amp; Chan</c:v>
                </c:pt>
                <c:pt idx="51">
                  <c:v>Roederer</c:v>
                </c:pt>
                <c:pt idx="52">
                  <c:v>Demoiselle</c:v>
                </c:pt>
                <c:pt idx="53">
                  <c:v>Veuve Clicq</c:v>
                </c:pt>
                <c:pt idx="54">
                  <c:v>Ruinart</c:v>
                </c:pt>
                <c:pt idx="55">
                  <c:v>Roederer</c:v>
                </c:pt>
                <c:pt idx="56">
                  <c:v>Ruinart</c:v>
                </c:pt>
                <c:pt idx="57">
                  <c:v>Roederer</c:v>
                </c:pt>
                <c:pt idx="58">
                  <c:v>Pommery</c:v>
                </c:pt>
                <c:pt idx="59">
                  <c:v>Deutz</c:v>
                </c:pt>
                <c:pt idx="60">
                  <c:v>Nicolas Feu</c:v>
                </c:pt>
                <c:pt idx="61">
                  <c:v>Piper Heids</c:v>
                </c:pt>
                <c:pt idx="62">
                  <c:v>Nicolas Feu</c:v>
                </c:pt>
                <c:pt idx="63">
                  <c:v>Veuve Clicq</c:v>
                </c:pt>
                <c:pt idx="64">
                  <c:v>Campari: Al</c:v>
                </c:pt>
                <c:pt idx="65">
                  <c:v>Moët &amp; Chan</c:v>
                </c:pt>
                <c:pt idx="66">
                  <c:v>Nicolas Feu</c:v>
                </c:pt>
                <c:pt idx="67">
                  <c:v>De Venoge</c:v>
                </c:pt>
                <c:pt idx="68">
                  <c:v>Malard</c:v>
                </c:pt>
                <c:pt idx="69">
                  <c:v>Roederer</c:v>
                </c:pt>
                <c:pt idx="70">
                  <c:v>Malard</c:v>
                </c:pt>
                <c:pt idx="71">
                  <c:v>Lanson</c:v>
                </c:pt>
                <c:pt idx="72">
                  <c:v>Louis Marti</c:v>
                </c:pt>
                <c:pt idx="73">
                  <c:v>All Others</c:v>
                </c:pt>
                <c:pt idx="74">
                  <c:v>De Venoge</c:v>
                </c:pt>
                <c:pt idx="75">
                  <c:v>Besserat De</c:v>
                </c:pt>
                <c:pt idx="76">
                  <c:v>Henriot</c:v>
                </c:pt>
                <c:pt idx="77">
                  <c:v>Malard</c:v>
                </c:pt>
                <c:pt idx="78">
                  <c:v>Perrier Jou</c:v>
                </c:pt>
                <c:pt idx="79">
                  <c:v>Veuve Clicq</c:v>
                </c:pt>
                <c:pt idx="80">
                  <c:v>Ruinart</c:v>
                </c:pt>
                <c:pt idx="81">
                  <c:v>Canard Duch</c:v>
                </c:pt>
                <c:pt idx="82">
                  <c:v>Roederer</c:v>
                </c:pt>
                <c:pt idx="83">
                  <c:v>Ruinart</c:v>
                </c:pt>
                <c:pt idx="84">
                  <c:v>Canard Duch</c:v>
                </c:pt>
                <c:pt idx="85">
                  <c:v>Delamotte</c:v>
                </c:pt>
                <c:pt idx="86">
                  <c:v>Nicolas</c:v>
                </c:pt>
                <c:pt idx="87">
                  <c:v>Nicolas</c:v>
                </c:pt>
                <c:pt idx="88">
                  <c:v>Laurent Per</c:v>
                </c:pt>
                <c:pt idx="89">
                  <c:v>Laurent Per</c:v>
                </c:pt>
                <c:pt idx="90">
                  <c:v>Dom Perigno</c:v>
                </c:pt>
                <c:pt idx="91">
                  <c:v>Roederer</c:v>
                </c:pt>
                <c:pt idx="92">
                  <c:v>Deutz</c:v>
                </c:pt>
                <c:pt idx="93">
                  <c:v>All Others</c:v>
                </c:pt>
                <c:pt idx="94">
                  <c:v>Deutz</c:v>
                </c:pt>
                <c:pt idx="95">
                  <c:v>Nicolas</c:v>
                </c:pt>
                <c:pt idx="96">
                  <c:v>Taittinger</c:v>
                </c:pt>
                <c:pt idx="97">
                  <c:v>Canard Duch</c:v>
                </c:pt>
                <c:pt idx="98">
                  <c:v>All Others</c:v>
                </c:pt>
                <c:pt idx="99">
                  <c:v>Nicolas</c:v>
                </c:pt>
                <c:pt idx="100">
                  <c:v>Roederer</c:v>
                </c:pt>
                <c:pt idx="101">
                  <c:v>Henriot</c:v>
                </c:pt>
                <c:pt idx="102">
                  <c:v>Pommery</c:v>
                </c:pt>
                <c:pt idx="103">
                  <c:v>Nicolas</c:v>
                </c:pt>
                <c:pt idx="104">
                  <c:v>Ruinart</c:v>
                </c:pt>
                <c:pt idx="105">
                  <c:v>Delamotte</c:v>
                </c:pt>
                <c:pt idx="106">
                  <c:v>Ruinart</c:v>
                </c:pt>
                <c:pt idx="107">
                  <c:v>Moët &amp; Chan</c:v>
                </c:pt>
                <c:pt idx="108">
                  <c:v>Canard Duch</c:v>
                </c:pt>
                <c:pt idx="109">
                  <c:v>Perrier Jou</c:v>
                </c:pt>
                <c:pt idx="110">
                  <c:v>Veuve Clicq</c:v>
                </c:pt>
                <c:pt idx="111">
                  <c:v>All Others</c:v>
                </c:pt>
                <c:pt idx="112">
                  <c:v>Nicolas</c:v>
                </c:pt>
                <c:pt idx="113">
                  <c:v>Bollinger</c:v>
                </c:pt>
                <c:pt idx="114">
                  <c:v>Lanson</c:v>
                </c:pt>
                <c:pt idx="115">
                  <c:v>Deutz</c:v>
                </c:pt>
                <c:pt idx="116">
                  <c:v>De Venoge</c:v>
                </c:pt>
                <c:pt idx="117">
                  <c:v>Henriot</c:v>
                </c:pt>
                <c:pt idx="118">
                  <c:v>Roederer</c:v>
                </c:pt>
                <c:pt idx="119">
                  <c:v>Ruinart</c:v>
                </c:pt>
                <c:pt idx="120">
                  <c:v>Vesselle</c:v>
                </c:pt>
                <c:pt idx="121">
                  <c:v>Laurent Per</c:v>
                </c:pt>
                <c:pt idx="122">
                  <c:v>Dom Perigno</c:v>
                </c:pt>
                <c:pt idx="123">
                  <c:v>Vranken</c:v>
                </c:pt>
                <c:pt idx="124">
                  <c:v>Nicolas Feu</c:v>
                </c:pt>
                <c:pt idx="125">
                  <c:v>Dom Perigno</c:v>
                </c:pt>
                <c:pt idx="126">
                  <c:v>Demoiselle</c:v>
                </c:pt>
                <c:pt idx="127">
                  <c:v>De Venoge</c:v>
                </c:pt>
                <c:pt idx="128">
                  <c:v>All Others</c:v>
                </c:pt>
                <c:pt idx="129">
                  <c:v>Vranken</c:v>
                </c:pt>
                <c:pt idx="130">
                  <c:v>Roederer</c:v>
                </c:pt>
                <c:pt idx="131">
                  <c:v>Deutz</c:v>
                </c:pt>
                <c:pt idx="132">
                  <c:v>All Others</c:v>
                </c:pt>
                <c:pt idx="133">
                  <c:v>Nicolas</c:v>
                </c:pt>
                <c:pt idx="134">
                  <c:v>Nicolas</c:v>
                </c:pt>
                <c:pt idx="135">
                  <c:v>Nicolas</c:v>
                </c:pt>
                <c:pt idx="136">
                  <c:v>Nicolas</c:v>
                </c:pt>
                <c:pt idx="137">
                  <c:v>Pommery</c:v>
                </c:pt>
                <c:pt idx="138">
                  <c:v>Besserat De</c:v>
                </c:pt>
                <c:pt idx="139">
                  <c:v>Nicolas</c:v>
                </c:pt>
                <c:pt idx="140">
                  <c:v>Perrier Jou</c:v>
                </c:pt>
                <c:pt idx="141">
                  <c:v>Nicolas</c:v>
                </c:pt>
                <c:pt idx="142">
                  <c:v>Roederer</c:v>
                </c:pt>
                <c:pt idx="143">
                  <c:v>Laurent Per</c:v>
                </c:pt>
                <c:pt idx="144">
                  <c:v>Nicolas</c:v>
                </c:pt>
                <c:pt idx="145">
                  <c:v>Demoiselle</c:v>
                </c:pt>
                <c:pt idx="146">
                  <c:v>Dom Perigno</c:v>
                </c:pt>
                <c:pt idx="147">
                  <c:v>Pommery</c:v>
                </c:pt>
                <c:pt idx="148">
                  <c:v>Pommery</c:v>
                </c:pt>
                <c:pt idx="149">
                  <c:v>Roederer</c:v>
                </c:pt>
                <c:pt idx="150">
                  <c:v>Roederer</c:v>
                </c:pt>
                <c:pt idx="151">
                  <c:v>Louis Marti</c:v>
                </c:pt>
                <c:pt idx="152">
                  <c:v>Moët &amp; Chan</c:v>
                </c:pt>
                <c:pt idx="153">
                  <c:v>Besserat De</c:v>
                </c:pt>
                <c:pt idx="154">
                  <c:v>Ruinart</c:v>
                </c:pt>
                <c:pt idx="155">
                  <c:v>Ayala</c:v>
                </c:pt>
                <c:pt idx="156">
                  <c:v>Bollinger</c:v>
                </c:pt>
                <c:pt idx="157">
                  <c:v>All Others</c:v>
                </c:pt>
                <c:pt idx="158">
                  <c:v>Bollinger</c:v>
                </c:pt>
                <c:pt idx="159">
                  <c:v>Dom Perigno</c:v>
                </c:pt>
                <c:pt idx="160">
                  <c:v>Laurent Per</c:v>
                </c:pt>
                <c:pt idx="161">
                  <c:v>Roederer</c:v>
                </c:pt>
                <c:pt idx="162">
                  <c:v>Moët &amp; Chan</c:v>
                </c:pt>
                <c:pt idx="163">
                  <c:v>Canard Duch</c:v>
                </c:pt>
                <c:pt idx="164">
                  <c:v>Roederer</c:v>
                </c:pt>
                <c:pt idx="165">
                  <c:v>All Others</c:v>
                </c:pt>
                <c:pt idx="166">
                  <c:v>Nicolas Feu</c:v>
                </c:pt>
                <c:pt idx="167">
                  <c:v>Moët &amp; Chan</c:v>
                </c:pt>
                <c:pt idx="168">
                  <c:v>Ruinart</c:v>
                </c:pt>
                <c:pt idx="169">
                  <c:v>Vesselle</c:v>
                </c:pt>
                <c:pt idx="170">
                  <c:v>Dom Perigno</c:v>
                </c:pt>
                <c:pt idx="171">
                  <c:v>Piper Heids</c:v>
                </c:pt>
                <c:pt idx="172">
                  <c:v>Veuve Clicq</c:v>
                </c:pt>
                <c:pt idx="173">
                  <c:v>Taittinger</c:v>
                </c:pt>
                <c:pt idx="174">
                  <c:v>Henriot</c:v>
                </c:pt>
                <c:pt idx="175">
                  <c:v>Canard Duch</c:v>
                </c:pt>
                <c:pt idx="176">
                  <c:v>Bollinger</c:v>
                </c:pt>
                <c:pt idx="177">
                  <c:v>Pommery</c:v>
                </c:pt>
                <c:pt idx="178">
                  <c:v>Nicolas</c:v>
                </c:pt>
                <c:pt idx="179">
                  <c:v>Perrier Jou</c:v>
                </c:pt>
                <c:pt idx="180">
                  <c:v>Laurent Per</c:v>
                </c:pt>
                <c:pt idx="181">
                  <c:v>Moët &amp; Chan</c:v>
                </c:pt>
                <c:pt idx="182">
                  <c:v>Taittinger</c:v>
                </c:pt>
                <c:pt idx="183">
                  <c:v>Piper Heids</c:v>
                </c:pt>
                <c:pt idx="184">
                  <c:v>Veuve Clicq</c:v>
                </c:pt>
                <c:pt idx="185">
                  <c:v>Pommery</c:v>
                </c:pt>
                <c:pt idx="186">
                  <c:v>Nicolas</c:v>
                </c:pt>
                <c:pt idx="187">
                  <c:v>All Others</c:v>
                </c:pt>
                <c:pt idx="188">
                  <c:v>Nicolas</c:v>
                </c:pt>
                <c:pt idx="189">
                  <c:v>All Others</c:v>
                </c:pt>
                <c:pt idx="190">
                  <c:v>Laurent Per</c:v>
                </c:pt>
                <c:pt idx="191">
                  <c:v>Canard Duch</c:v>
                </c:pt>
                <c:pt idx="192">
                  <c:v>Roederer</c:v>
                </c:pt>
                <c:pt idx="193">
                  <c:v>De Venoge</c:v>
                </c:pt>
                <c:pt idx="194">
                  <c:v>All Others</c:v>
                </c:pt>
                <c:pt idx="195">
                  <c:v>Henriot</c:v>
                </c:pt>
                <c:pt idx="196">
                  <c:v>All Others</c:v>
                </c:pt>
                <c:pt idx="197">
                  <c:v>De Bligny</c:v>
                </c:pt>
                <c:pt idx="198">
                  <c:v>Piper Heids</c:v>
                </c:pt>
                <c:pt idx="199">
                  <c:v>Piper Heids</c:v>
                </c:pt>
                <c:pt idx="200">
                  <c:v>Ayala</c:v>
                </c:pt>
                <c:pt idx="201">
                  <c:v>Martel</c:v>
                </c:pt>
                <c:pt idx="202">
                  <c:v>Demoiselle</c:v>
                </c:pt>
                <c:pt idx="203">
                  <c:v>Malard</c:v>
                </c:pt>
                <c:pt idx="204">
                  <c:v>Roederer</c:v>
                </c:pt>
                <c:pt idx="205">
                  <c:v>Vranken</c:v>
                </c:pt>
              </c:strCache>
            </c:strRef>
          </c:cat>
          <c:val>
            <c:numRef>
              <c:f>Sheet1!$B$2:$B$207</c:f>
              <c:numCache>
                <c:formatCode>General</c:formatCode>
                <c:ptCount val="206"/>
                <c:pt idx="0">
                  <c:v>1</c:v>
                </c:pt>
                <c:pt idx="1">
                  <c:v>0.94</c:v>
                </c:pt>
                <c:pt idx="2">
                  <c:v>1</c:v>
                </c:pt>
                <c:pt idx="3">
                  <c:v>1</c:v>
                </c:pt>
                <c:pt idx="4">
                  <c:v>0.87</c:v>
                </c:pt>
                <c:pt idx="5">
                  <c:v>1</c:v>
                </c:pt>
                <c:pt idx="6">
                  <c:v>0.98</c:v>
                </c:pt>
                <c:pt idx="7">
                  <c:v>1</c:v>
                </c:pt>
                <c:pt idx="8">
                  <c:v>1</c:v>
                </c:pt>
                <c:pt idx="9">
                  <c:v>1</c:v>
                </c:pt>
                <c:pt idx="10">
                  <c:v>0.82</c:v>
                </c:pt>
                <c:pt idx="11">
                  <c:v>0.89</c:v>
                </c:pt>
                <c:pt idx="12">
                  <c:v>0.97</c:v>
                </c:pt>
                <c:pt idx="13">
                  <c:v>0.7</c:v>
                </c:pt>
                <c:pt idx="14">
                  <c:v>0.97</c:v>
                </c:pt>
                <c:pt idx="15">
                  <c:v>0.9</c:v>
                </c:pt>
                <c:pt idx="16">
                  <c:v>1</c:v>
                </c:pt>
                <c:pt idx="17">
                  <c:v>0.69</c:v>
                </c:pt>
                <c:pt idx="18">
                  <c:v>0.65</c:v>
                </c:pt>
                <c:pt idx="19">
                  <c:v>0.84</c:v>
                </c:pt>
                <c:pt idx="20">
                  <c:v>0.89</c:v>
                </c:pt>
                <c:pt idx="21">
                  <c:v>0.9</c:v>
                </c:pt>
                <c:pt idx="22">
                  <c:v>0.77</c:v>
                </c:pt>
                <c:pt idx="23">
                  <c:v>0.65</c:v>
                </c:pt>
                <c:pt idx="24">
                  <c:v>0.85</c:v>
                </c:pt>
                <c:pt idx="25">
                  <c:v>0.92</c:v>
                </c:pt>
                <c:pt idx="26">
                  <c:v>0.75</c:v>
                </c:pt>
                <c:pt idx="27">
                  <c:v>1</c:v>
                </c:pt>
                <c:pt idx="28">
                  <c:v>0.95</c:v>
                </c:pt>
                <c:pt idx="29">
                  <c:v>0.62</c:v>
                </c:pt>
                <c:pt idx="30">
                  <c:v>0.49</c:v>
                </c:pt>
                <c:pt idx="31">
                  <c:v>0.78</c:v>
                </c:pt>
                <c:pt idx="32">
                  <c:v>0.77</c:v>
                </c:pt>
                <c:pt idx="33">
                  <c:v>0.85</c:v>
                </c:pt>
                <c:pt idx="34">
                  <c:v>0.49</c:v>
                </c:pt>
                <c:pt idx="35">
                  <c:v>0.72</c:v>
                </c:pt>
                <c:pt idx="36">
                  <c:v>0.87</c:v>
                </c:pt>
                <c:pt idx="37">
                  <c:v>0.7</c:v>
                </c:pt>
                <c:pt idx="38">
                  <c:v>0.52</c:v>
                </c:pt>
                <c:pt idx="39">
                  <c:v>0.62</c:v>
                </c:pt>
                <c:pt idx="40">
                  <c:v>0.78</c:v>
                </c:pt>
                <c:pt idx="41">
                  <c:v>0.61</c:v>
                </c:pt>
                <c:pt idx="42">
                  <c:v>0.75</c:v>
                </c:pt>
                <c:pt idx="43">
                  <c:v>0.9</c:v>
                </c:pt>
                <c:pt idx="44">
                  <c:v>0.65</c:v>
                </c:pt>
                <c:pt idx="45">
                  <c:v>0.71</c:v>
                </c:pt>
                <c:pt idx="46">
                  <c:v>0.62</c:v>
                </c:pt>
                <c:pt idx="47">
                  <c:v>0.8</c:v>
                </c:pt>
                <c:pt idx="48">
                  <c:v>0.84</c:v>
                </c:pt>
                <c:pt idx="49">
                  <c:v>0.76</c:v>
                </c:pt>
                <c:pt idx="50">
                  <c:v>0.8</c:v>
                </c:pt>
                <c:pt idx="51">
                  <c:v>0.74</c:v>
                </c:pt>
                <c:pt idx="52">
                  <c:v>0.62</c:v>
                </c:pt>
                <c:pt idx="53">
                  <c:v>0.64</c:v>
                </c:pt>
                <c:pt idx="54">
                  <c:v>0.92</c:v>
                </c:pt>
                <c:pt idx="55">
                  <c:v>0.49</c:v>
                </c:pt>
                <c:pt idx="56">
                  <c:v>0.62</c:v>
                </c:pt>
                <c:pt idx="57">
                  <c:v>0.28000000000000003</c:v>
                </c:pt>
                <c:pt idx="58">
                  <c:v>0.78</c:v>
                </c:pt>
                <c:pt idx="59">
                  <c:v>0.8</c:v>
                </c:pt>
                <c:pt idx="60">
                  <c:v>0.48</c:v>
                </c:pt>
                <c:pt idx="61">
                  <c:v>0.81</c:v>
                </c:pt>
                <c:pt idx="62">
                  <c:v>0.47</c:v>
                </c:pt>
                <c:pt idx="63">
                  <c:v>0.56999999999999995</c:v>
                </c:pt>
                <c:pt idx="64">
                  <c:v>0.56000000000000005</c:v>
                </c:pt>
                <c:pt idx="65">
                  <c:v>0.63</c:v>
                </c:pt>
                <c:pt idx="66">
                  <c:v>0.53</c:v>
                </c:pt>
                <c:pt idx="67">
                  <c:v>0.53</c:v>
                </c:pt>
                <c:pt idx="68">
                  <c:v>0.53</c:v>
                </c:pt>
                <c:pt idx="69">
                  <c:v>0.62</c:v>
                </c:pt>
                <c:pt idx="70">
                  <c:v>0.56000000000000005</c:v>
                </c:pt>
                <c:pt idx="71">
                  <c:v>0.51</c:v>
                </c:pt>
                <c:pt idx="72">
                  <c:v>0.47</c:v>
                </c:pt>
                <c:pt idx="73">
                  <c:v>0.64</c:v>
                </c:pt>
                <c:pt idx="74">
                  <c:v>0.51</c:v>
                </c:pt>
                <c:pt idx="75">
                  <c:v>0.7</c:v>
                </c:pt>
                <c:pt idx="76">
                  <c:v>0.67</c:v>
                </c:pt>
                <c:pt idx="77">
                  <c:v>0.62</c:v>
                </c:pt>
                <c:pt idx="78">
                  <c:v>0.56999999999999995</c:v>
                </c:pt>
                <c:pt idx="79">
                  <c:v>0.37</c:v>
                </c:pt>
                <c:pt idx="80">
                  <c:v>0.44</c:v>
                </c:pt>
                <c:pt idx="81">
                  <c:v>0.53</c:v>
                </c:pt>
                <c:pt idx="82">
                  <c:v>0.62</c:v>
                </c:pt>
                <c:pt idx="83">
                  <c:v>0.56999999999999995</c:v>
                </c:pt>
                <c:pt idx="84">
                  <c:v>0.71</c:v>
                </c:pt>
                <c:pt idx="85">
                  <c:v>0.56000000000000005</c:v>
                </c:pt>
                <c:pt idx="86">
                  <c:v>0.63</c:v>
                </c:pt>
                <c:pt idx="87">
                  <c:v>0.54</c:v>
                </c:pt>
                <c:pt idx="88">
                  <c:v>0.48</c:v>
                </c:pt>
                <c:pt idx="89">
                  <c:v>0.65</c:v>
                </c:pt>
                <c:pt idx="90">
                  <c:v>0.13</c:v>
                </c:pt>
                <c:pt idx="91">
                  <c:v>0.37</c:v>
                </c:pt>
                <c:pt idx="92">
                  <c:v>0.77</c:v>
                </c:pt>
                <c:pt idx="93">
                  <c:v>0.6</c:v>
                </c:pt>
                <c:pt idx="94">
                  <c:v>0.47</c:v>
                </c:pt>
                <c:pt idx="95">
                  <c:v>0.62</c:v>
                </c:pt>
                <c:pt idx="96">
                  <c:v>0.23</c:v>
                </c:pt>
                <c:pt idx="97">
                  <c:v>0.33</c:v>
                </c:pt>
                <c:pt idx="98">
                  <c:v>0.36</c:v>
                </c:pt>
                <c:pt idx="99">
                  <c:v>0.47</c:v>
                </c:pt>
                <c:pt idx="100">
                  <c:v>0.48</c:v>
                </c:pt>
                <c:pt idx="101">
                  <c:v>0.59</c:v>
                </c:pt>
                <c:pt idx="102">
                  <c:v>0.28000000000000003</c:v>
                </c:pt>
                <c:pt idx="103">
                  <c:v>0.62</c:v>
                </c:pt>
                <c:pt idx="104">
                  <c:v>0.51</c:v>
                </c:pt>
                <c:pt idx="105">
                  <c:v>0.49</c:v>
                </c:pt>
                <c:pt idx="106">
                  <c:v>0.62</c:v>
                </c:pt>
                <c:pt idx="107">
                  <c:v>0.51</c:v>
                </c:pt>
                <c:pt idx="108">
                  <c:v>0.34</c:v>
                </c:pt>
                <c:pt idx="109">
                  <c:v>0.59</c:v>
                </c:pt>
                <c:pt idx="110">
                  <c:v>0.14000000000000001</c:v>
                </c:pt>
                <c:pt idx="111">
                  <c:v>0.32</c:v>
                </c:pt>
                <c:pt idx="112">
                  <c:v>0.41</c:v>
                </c:pt>
                <c:pt idx="113">
                  <c:v>0.53</c:v>
                </c:pt>
                <c:pt idx="114">
                  <c:v>0.62</c:v>
                </c:pt>
                <c:pt idx="115">
                  <c:v>0.36</c:v>
                </c:pt>
                <c:pt idx="116">
                  <c:v>0.28000000000000003</c:v>
                </c:pt>
                <c:pt idx="117">
                  <c:v>0.25</c:v>
                </c:pt>
                <c:pt idx="118">
                  <c:v>0.51</c:v>
                </c:pt>
                <c:pt idx="119">
                  <c:v>0.24</c:v>
                </c:pt>
                <c:pt idx="120">
                  <c:v>0.21</c:v>
                </c:pt>
                <c:pt idx="121">
                  <c:v>0.41</c:v>
                </c:pt>
                <c:pt idx="122">
                  <c:v>0.1</c:v>
                </c:pt>
                <c:pt idx="123">
                  <c:v>0.37</c:v>
                </c:pt>
                <c:pt idx="124">
                  <c:v>0.39</c:v>
                </c:pt>
                <c:pt idx="125">
                  <c:v>0.13</c:v>
                </c:pt>
                <c:pt idx="126">
                  <c:v>0.56999999999999995</c:v>
                </c:pt>
                <c:pt idx="127">
                  <c:v>0.43</c:v>
                </c:pt>
                <c:pt idx="128">
                  <c:v>0.32</c:v>
                </c:pt>
                <c:pt idx="129">
                  <c:v>0.72</c:v>
                </c:pt>
                <c:pt idx="130">
                  <c:v>0.56999999999999995</c:v>
                </c:pt>
                <c:pt idx="131">
                  <c:v>0.36</c:v>
                </c:pt>
                <c:pt idx="132">
                  <c:v>0.48</c:v>
                </c:pt>
                <c:pt idx="133">
                  <c:v>0.34</c:v>
                </c:pt>
                <c:pt idx="134">
                  <c:v>0.49</c:v>
                </c:pt>
                <c:pt idx="135">
                  <c:v>0.33</c:v>
                </c:pt>
                <c:pt idx="136">
                  <c:v>0.19</c:v>
                </c:pt>
                <c:pt idx="137">
                  <c:v>0.62</c:v>
                </c:pt>
                <c:pt idx="138">
                  <c:v>0.28000000000000003</c:v>
                </c:pt>
                <c:pt idx="139">
                  <c:v>0.62</c:v>
                </c:pt>
                <c:pt idx="140">
                  <c:v>0.47</c:v>
                </c:pt>
                <c:pt idx="141">
                  <c:v>0.36</c:v>
                </c:pt>
                <c:pt idx="142">
                  <c:v>0.37</c:v>
                </c:pt>
                <c:pt idx="143">
                  <c:v>0.19</c:v>
                </c:pt>
                <c:pt idx="144">
                  <c:v>0.28000000000000003</c:v>
                </c:pt>
                <c:pt idx="145">
                  <c:v>0.34</c:v>
                </c:pt>
                <c:pt idx="146">
                  <c:v>0.24</c:v>
                </c:pt>
                <c:pt idx="147">
                  <c:v>0.62</c:v>
                </c:pt>
                <c:pt idx="148">
                  <c:v>0.36</c:v>
                </c:pt>
                <c:pt idx="149">
                  <c:v>0.62</c:v>
                </c:pt>
                <c:pt idx="150">
                  <c:v>0.24</c:v>
                </c:pt>
                <c:pt idx="151">
                  <c:v>0.3</c:v>
                </c:pt>
                <c:pt idx="152">
                  <c:v>0.1</c:v>
                </c:pt>
                <c:pt idx="153">
                  <c:v>0.35</c:v>
                </c:pt>
                <c:pt idx="154">
                  <c:v>0.37</c:v>
                </c:pt>
                <c:pt idx="155">
                  <c:v>0.36</c:v>
                </c:pt>
                <c:pt idx="156">
                  <c:v>0.06</c:v>
                </c:pt>
                <c:pt idx="157">
                  <c:v>0.34</c:v>
                </c:pt>
                <c:pt idx="158">
                  <c:v>0.14000000000000001</c:v>
                </c:pt>
                <c:pt idx="159">
                  <c:v>0.14000000000000001</c:v>
                </c:pt>
                <c:pt idx="160">
                  <c:v>0.51</c:v>
                </c:pt>
                <c:pt idx="161">
                  <c:v>0.2</c:v>
                </c:pt>
                <c:pt idx="162">
                  <c:v>0.51</c:v>
                </c:pt>
                <c:pt idx="163">
                  <c:v>0.19</c:v>
                </c:pt>
                <c:pt idx="164">
                  <c:v>0.1</c:v>
                </c:pt>
                <c:pt idx="165">
                  <c:v>0.49</c:v>
                </c:pt>
                <c:pt idx="166">
                  <c:v>0.49</c:v>
                </c:pt>
                <c:pt idx="167">
                  <c:v>0.22</c:v>
                </c:pt>
                <c:pt idx="168">
                  <c:v>0.23</c:v>
                </c:pt>
                <c:pt idx="169">
                  <c:v>0.36</c:v>
                </c:pt>
                <c:pt idx="170">
                  <c:v>0.15</c:v>
                </c:pt>
                <c:pt idx="171">
                  <c:v>0.22</c:v>
                </c:pt>
                <c:pt idx="172">
                  <c:v>0.08</c:v>
                </c:pt>
                <c:pt idx="173">
                  <c:v>0.12</c:v>
                </c:pt>
                <c:pt idx="174">
                  <c:v>0.47</c:v>
                </c:pt>
                <c:pt idx="175">
                  <c:v>0.28000000000000003</c:v>
                </c:pt>
                <c:pt idx="176">
                  <c:v>0.36</c:v>
                </c:pt>
                <c:pt idx="177">
                  <c:v>7.0000000000000007E-2</c:v>
                </c:pt>
                <c:pt idx="178">
                  <c:v>0.08</c:v>
                </c:pt>
                <c:pt idx="179">
                  <c:v>0.11</c:v>
                </c:pt>
                <c:pt idx="180">
                  <c:v>0.37</c:v>
                </c:pt>
                <c:pt idx="181">
                  <c:v>0.18</c:v>
                </c:pt>
                <c:pt idx="182">
                  <c:v>0.14000000000000001</c:v>
                </c:pt>
                <c:pt idx="183">
                  <c:v>0.36</c:v>
                </c:pt>
                <c:pt idx="184">
                  <c:v>0.51</c:v>
                </c:pt>
                <c:pt idx="185">
                  <c:v>0.47</c:v>
                </c:pt>
                <c:pt idx="186">
                  <c:v>0.17</c:v>
                </c:pt>
                <c:pt idx="187">
                  <c:v>0.25</c:v>
                </c:pt>
                <c:pt idx="188">
                  <c:v>0.17</c:v>
                </c:pt>
                <c:pt idx="189">
                  <c:v>0.49</c:v>
                </c:pt>
                <c:pt idx="190">
                  <c:v>0.05</c:v>
                </c:pt>
                <c:pt idx="191">
                  <c:v>0.09</c:v>
                </c:pt>
                <c:pt idx="192">
                  <c:v>0.18</c:v>
                </c:pt>
                <c:pt idx="193">
                  <c:v>0.13</c:v>
                </c:pt>
                <c:pt idx="194">
                  <c:v>0.47</c:v>
                </c:pt>
                <c:pt idx="195">
                  <c:v>0.28000000000000003</c:v>
                </c:pt>
                <c:pt idx="196">
                  <c:v>0.32</c:v>
                </c:pt>
                <c:pt idx="197">
                  <c:v>0.11</c:v>
                </c:pt>
                <c:pt idx="198">
                  <c:v>0.22</c:v>
                </c:pt>
                <c:pt idx="199">
                  <c:v>0.32</c:v>
                </c:pt>
                <c:pt idx="200">
                  <c:v>7.0000000000000007E-2</c:v>
                </c:pt>
                <c:pt idx="201">
                  <c:v>0.15</c:v>
                </c:pt>
                <c:pt idx="202">
                  <c:v>0.17</c:v>
                </c:pt>
                <c:pt idx="203">
                  <c:v>0.12</c:v>
                </c:pt>
                <c:pt idx="204">
                  <c:v>0.14000000000000001</c:v>
                </c:pt>
                <c:pt idx="205">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7</c:f>
              <c:strCache>
                <c:ptCount val="206"/>
                <c:pt idx="0">
                  <c:v>Ruinart</c:v>
                </c:pt>
                <c:pt idx="1">
                  <c:v>Ruinart</c:v>
                </c:pt>
                <c:pt idx="2">
                  <c:v>Nicolas</c:v>
                </c:pt>
                <c:pt idx="3">
                  <c:v>Deutz</c:v>
                </c:pt>
                <c:pt idx="4">
                  <c:v>Ruinart</c:v>
                </c:pt>
                <c:pt idx="5">
                  <c:v>Heidsieck &amp;</c:v>
                </c:pt>
                <c:pt idx="6">
                  <c:v>De Bligny</c:v>
                </c:pt>
                <c:pt idx="7">
                  <c:v>Ayala</c:v>
                </c:pt>
                <c:pt idx="8">
                  <c:v>Laurent Per</c:v>
                </c:pt>
                <c:pt idx="9">
                  <c:v>Canard Duch</c:v>
                </c:pt>
                <c:pt idx="10">
                  <c:v>Nicolas Feu</c:v>
                </c:pt>
                <c:pt idx="11">
                  <c:v>Ruinart</c:v>
                </c:pt>
                <c:pt idx="12">
                  <c:v>Taittinger</c:v>
                </c:pt>
                <c:pt idx="13">
                  <c:v>Ruinart</c:v>
                </c:pt>
                <c:pt idx="14">
                  <c:v>Demoiselle</c:v>
                </c:pt>
                <c:pt idx="15">
                  <c:v>Bollinger</c:v>
                </c:pt>
                <c:pt idx="16">
                  <c:v>Malard</c:v>
                </c:pt>
                <c:pt idx="17">
                  <c:v>Dom Perigno</c:v>
                </c:pt>
                <c:pt idx="18">
                  <c:v>Ruinart</c:v>
                </c:pt>
                <c:pt idx="19">
                  <c:v>Deutz</c:v>
                </c:pt>
                <c:pt idx="20">
                  <c:v>Ruinart</c:v>
                </c:pt>
                <c:pt idx="21">
                  <c:v>Perrier Jou</c:v>
                </c:pt>
                <c:pt idx="22">
                  <c:v>Vesselle</c:v>
                </c:pt>
                <c:pt idx="23">
                  <c:v>Ruinart</c:v>
                </c:pt>
                <c:pt idx="24">
                  <c:v>Deutz</c:v>
                </c:pt>
                <c:pt idx="25">
                  <c:v>Savian</c:v>
                </c:pt>
                <c:pt idx="26">
                  <c:v>Laurent Per</c:v>
                </c:pt>
                <c:pt idx="27">
                  <c:v>Pommery</c:v>
                </c:pt>
                <c:pt idx="28">
                  <c:v>Moët &amp; Chan</c:v>
                </c:pt>
                <c:pt idx="29">
                  <c:v>Taittinger</c:v>
                </c:pt>
                <c:pt idx="30">
                  <c:v>Dom Perigno</c:v>
                </c:pt>
                <c:pt idx="31">
                  <c:v>Besserat De</c:v>
                </c:pt>
                <c:pt idx="32">
                  <c:v>Laurent Per</c:v>
                </c:pt>
                <c:pt idx="33">
                  <c:v>Malard</c:v>
                </c:pt>
                <c:pt idx="34">
                  <c:v>Krug</c:v>
                </c:pt>
                <c:pt idx="35">
                  <c:v>All Others</c:v>
                </c:pt>
                <c:pt idx="36">
                  <c:v>Nicolas</c:v>
                </c:pt>
                <c:pt idx="37">
                  <c:v>Roederer</c:v>
                </c:pt>
                <c:pt idx="38">
                  <c:v>Campari: Al</c:v>
                </c:pt>
                <c:pt idx="39">
                  <c:v>Ruinart</c:v>
                </c:pt>
                <c:pt idx="40">
                  <c:v>Veuve Clicq</c:v>
                </c:pt>
                <c:pt idx="41">
                  <c:v>Dom Perigno</c:v>
                </c:pt>
                <c:pt idx="42">
                  <c:v>Demoiselle</c:v>
                </c:pt>
                <c:pt idx="43">
                  <c:v>Malard</c:v>
                </c:pt>
                <c:pt idx="44">
                  <c:v>Besserat De</c:v>
                </c:pt>
                <c:pt idx="45">
                  <c:v>Henriot</c:v>
                </c:pt>
                <c:pt idx="46">
                  <c:v>Ayala</c:v>
                </c:pt>
                <c:pt idx="47">
                  <c:v>De Bligny</c:v>
                </c:pt>
                <c:pt idx="48">
                  <c:v>Nicolas</c:v>
                </c:pt>
                <c:pt idx="49">
                  <c:v>Bollinger</c:v>
                </c:pt>
                <c:pt idx="50">
                  <c:v>Moët &amp; Chan</c:v>
                </c:pt>
                <c:pt idx="51">
                  <c:v>Roederer</c:v>
                </c:pt>
                <c:pt idx="52">
                  <c:v>Demoiselle</c:v>
                </c:pt>
                <c:pt idx="53">
                  <c:v>Veuve Clicq</c:v>
                </c:pt>
                <c:pt idx="54">
                  <c:v>Ruinart</c:v>
                </c:pt>
                <c:pt idx="55">
                  <c:v>Roederer</c:v>
                </c:pt>
                <c:pt idx="56">
                  <c:v>Ruinart</c:v>
                </c:pt>
                <c:pt idx="57">
                  <c:v>Roederer</c:v>
                </c:pt>
                <c:pt idx="58">
                  <c:v>Pommery</c:v>
                </c:pt>
                <c:pt idx="59">
                  <c:v>Deutz</c:v>
                </c:pt>
                <c:pt idx="60">
                  <c:v>Nicolas Feu</c:v>
                </c:pt>
                <c:pt idx="61">
                  <c:v>Piper Heids</c:v>
                </c:pt>
                <c:pt idx="62">
                  <c:v>Nicolas Feu</c:v>
                </c:pt>
                <c:pt idx="63">
                  <c:v>Veuve Clicq</c:v>
                </c:pt>
                <c:pt idx="64">
                  <c:v>Campari: Al</c:v>
                </c:pt>
                <c:pt idx="65">
                  <c:v>Moët &amp; Chan</c:v>
                </c:pt>
                <c:pt idx="66">
                  <c:v>Nicolas Feu</c:v>
                </c:pt>
                <c:pt idx="67">
                  <c:v>De Venoge</c:v>
                </c:pt>
                <c:pt idx="68">
                  <c:v>Malard</c:v>
                </c:pt>
                <c:pt idx="69">
                  <c:v>Roederer</c:v>
                </c:pt>
                <c:pt idx="70">
                  <c:v>Malard</c:v>
                </c:pt>
                <c:pt idx="71">
                  <c:v>Lanson</c:v>
                </c:pt>
                <c:pt idx="72">
                  <c:v>Louis Marti</c:v>
                </c:pt>
                <c:pt idx="73">
                  <c:v>All Others</c:v>
                </c:pt>
                <c:pt idx="74">
                  <c:v>De Venoge</c:v>
                </c:pt>
                <c:pt idx="75">
                  <c:v>Besserat De</c:v>
                </c:pt>
                <c:pt idx="76">
                  <c:v>Henriot</c:v>
                </c:pt>
                <c:pt idx="77">
                  <c:v>Malard</c:v>
                </c:pt>
                <c:pt idx="78">
                  <c:v>Perrier Jou</c:v>
                </c:pt>
                <c:pt idx="79">
                  <c:v>Veuve Clicq</c:v>
                </c:pt>
                <c:pt idx="80">
                  <c:v>Ruinart</c:v>
                </c:pt>
                <c:pt idx="81">
                  <c:v>Canard Duch</c:v>
                </c:pt>
                <c:pt idx="82">
                  <c:v>Roederer</c:v>
                </c:pt>
                <c:pt idx="83">
                  <c:v>Ruinart</c:v>
                </c:pt>
                <c:pt idx="84">
                  <c:v>Canard Duch</c:v>
                </c:pt>
                <c:pt idx="85">
                  <c:v>Delamotte</c:v>
                </c:pt>
                <c:pt idx="86">
                  <c:v>Nicolas</c:v>
                </c:pt>
                <c:pt idx="87">
                  <c:v>Nicolas</c:v>
                </c:pt>
                <c:pt idx="88">
                  <c:v>Laurent Per</c:v>
                </c:pt>
                <c:pt idx="89">
                  <c:v>Laurent Per</c:v>
                </c:pt>
                <c:pt idx="90">
                  <c:v>Dom Perigno</c:v>
                </c:pt>
                <c:pt idx="91">
                  <c:v>Roederer</c:v>
                </c:pt>
                <c:pt idx="92">
                  <c:v>Deutz</c:v>
                </c:pt>
                <c:pt idx="93">
                  <c:v>All Others</c:v>
                </c:pt>
                <c:pt idx="94">
                  <c:v>Deutz</c:v>
                </c:pt>
                <c:pt idx="95">
                  <c:v>Nicolas</c:v>
                </c:pt>
                <c:pt idx="96">
                  <c:v>Taittinger</c:v>
                </c:pt>
                <c:pt idx="97">
                  <c:v>Canard Duch</c:v>
                </c:pt>
                <c:pt idx="98">
                  <c:v>All Others</c:v>
                </c:pt>
                <c:pt idx="99">
                  <c:v>Nicolas</c:v>
                </c:pt>
                <c:pt idx="100">
                  <c:v>Roederer</c:v>
                </c:pt>
                <c:pt idx="101">
                  <c:v>Henriot</c:v>
                </c:pt>
                <c:pt idx="102">
                  <c:v>Pommery</c:v>
                </c:pt>
                <c:pt idx="103">
                  <c:v>Nicolas</c:v>
                </c:pt>
                <c:pt idx="104">
                  <c:v>Ruinart</c:v>
                </c:pt>
                <c:pt idx="105">
                  <c:v>Delamotte</c:v>
                </c:pt>
                <c:pt idx="106">
                  <c:v>Ruinart</c:v>
                </c:pt>
                <c:pt idx="107">
                  <c:v>Moët &amp; Chan</c:v>
                </c:pt>
                <c:pt idx="108">
                  <c:v>Canard Duch</c:v>
                </c:pt>
                <c:pt idx="109">
                  <c:v>Perrier Jou</c:v>
                </c:pt>
                <c:pt idx="110">
                  <c:v>Veuve Clicq</c:v>
                </c:pt>
                <c:pt idx="111">
                  <c:v>All Others</c:v>
                </c:pt>
                <c:pt idx="112">
                  <c:v>Nicolas</c:v>
                </c:pt>
                <c:pt idx="113">
                  <c:v>Bollinger</c:v>
                </c:pt>
                <c:pt idx="114">
                  <c:v>Lanson</c:v>
                </c:pt>
                <c:pt idx="115">
                  <c:v>Deutz</c:v>
                </c:pt>
                <c:pt idx="116">
                  <c:v>De Venoge</c:v>
                </c:pt>
                <c:pt idx="117">
                  <c:v>Henriot</c:v>
                </c:pt>
                <c:pt idx="118">
                  <c:v>Roederer</c:v>
                </c:pt>
                <c:pt idx="119">
                  <c:v>Ruinart</c:v>
                </c:pt>
                <c:pt idx="120">
                  <c:v>Vesselle</c:v>
                </c:pt>
                <c:pt idx="121">
                  <c:v>Laurent Per</c:v>
                </c:pt>
                <c:pt idx="122">
                  <c:v>Dom Perigno</c:v>
                </c:pt>
                <c:pt idx="123">
                  <c:v>Vranken</c:v>
                </c:pt>
                <c:pt idx="124">
                  <c:v>Nicolas Feu</c:v>
                </c:pt>
                <c:pt idx="125">
                  <c:v>Dom Perigno</c:v>
                </c:pt>
                <c:pt idx="126">
                  <c:v>Demoiselle</c:v>
                </c:pt>
                <c:pt idx="127">
                  <c:v>De Venoge</c:v>
                </c:pt>
                <c:pt idx="128">
                  <c:v>All Others</c:v>
                </c:pt>
                <c:pt idx="129">
                  <c:v>Vranken</c:v>
                </c:pt>
                <c:pt idx="130">
                  <c:v>Roederer</c:v>
                </c:pt>
                <c:pt idx="131">
                  <c:v>Deutz</c:v>
                </c:pt>
                <c:pt idx="132">
                  <c:v>All Others</c:v>
                </c:pt>
                <c:pt idx="133">
                  <c:v>Nicolas</c:v>
                </c:pt>
                <c:pt idx="134">
                  <c:v>Nicolas</c:v>
                </c:pt>
                <c:pt idx="135">
                  <c:v>Nicolas</c:v>
                </c:pt>
                <c:pt idx="136">
                  <c:v>Nicolas</c:v>
                </c:pt>
                <c:pt idx="137">
                  <c:v>Pommery</c:v>
                </c:pt>
                <c:pt idx="138">
                  <c:v>Besserat De</c:v>
                </c:pt>
                <c:pt idx="139">
                  <c:v>Nicolas</c:v>
                </c:pt>
                <c:pt idx="140">
                  <c:v>Perrier Jou</c:v>
                </c:pt>
                <c:pt idx="141">
                  <c:v>Nicolas</c:v>
                </c:pt>
                <c:pt idx="142">
                  <c:v>Roederer</c:v>
                </c:pt>
                <c:pt idx="143">
                  <c:v>Laurent Per</c:v>
                </c:pt>
                <c:pt idx="144">
                  <c:v>Nicolas</c:v>
                </c:pt>
                <c:pt idx="145">
                  <c:v>Demoiselle</c:v>
                </c:pt>
                <c:pt idx="146">
                  <c:v>Dom Perigno</c:v>
                </c:pt>
                <c:pt idx="147">
                  <c:v>Pommery</c:v>
                </c:pt>
                <c:pt idx="148">
                  <c:v>Pommery</c:v>
                </c:pt>
                <c:pt idx="149">
                  <c:v>Roederer</c:v>
                </c:pt>
                <c:pt idx="150">
                  <c:v>Roederer</c:v>
                </c:pt>
                <c:pt idx="151">
                  <c:v>Louis Marti</c:v>
                </c:pt>
                <c:pt idx="152">
                  <c:v>Moët &amp; Chan</c:v>
                </c:pt>
                <c:pt idx="153">
                  <c:v>Besserat De</c:v>
                </c:pt>
                <c:pt idx="154">
                  <c:v>Ruinart</c:v>
                </c:pt>
                <c:pt idx="155">
                  <c:v>Ayala</c:v>
                </c:pt>
                <c:pt idx="156">
                  <c:v>Bollinger</c:v>
                </c:pt>
                <c:pt idx="157">
                  <c:v>All Others</c:v>
                </c:pt>
                <c:pt idx="158">
                  <c:v>Bollinger</c:v>
                </c:pt>
                <c:pt idx="159">
                  <c:v>Dom Perigno</c:v>
                </c:pt>
                <c:pt idx="160">
                  <c:v>Laurent Per</c:v>
                </c:pt>
                <c:pt idx="161">
                  <c:v>Roederer</c:v>
                </c:pt>
                <c:pt idx="162">
                  <c:v>Moët &amp; Chan</c:v>
                </c:pt>
                <c:pt idx="163">
                  <c:v>Canard Duch</c:v>
                </c:pt>
                <c:pt idx="164">
                  <c:v>Roederer</c:v>
                </c:pt>
                <c:pt idx="165">
                  <c:v>All Others</c:v>
                </c:pt>
                <c:pt idx="166">
                  <c:v>Nicolas Feu</c:v>
                </c:pt>
                <c:pt idx="167">
                  <c:v>Moët &amp; Chan</c:v>
                </c:pt>
                <c:pt idx="168">
                  <c:v>Ruinart</c:v>
                </c:pt>
                <c:pt idx="169">
                  <c:v>Vesselle</c:v>
                </c:pt>
                <c:pt idx="170">
                  <c:v>Dom Perigno</c:v>
                </c:pt>
                <c:pt idx="171">
                  <c:v>Piper Heids</c:v>
                </c:pt>
                <c:pt idx="172">
                  <c:v>Veuve Clicq</c:v>
                </c:pt>
                <c:pt idx="173">
                  <c:v>Taittinger</c:v>
                </c:pt>
                <c:pt idx="174">
                  <c:v>Henriot</c:v>
                </c:pt>
                <c:pt idx="175">
                  <c:v>Canard Duch</c:v>
                </c:pt>
                <c:pt idx="176">
                  <c:v>Bollinger</c:v>
                </c:pt>
                <c:pt idx="177">
                  <c:v>Pommery</c:v>
                </c:pt>
                <c:pt idx="178">
                  <c:v>Nicolas</c:v>
                </c:pt>
                <c:pt idx="179">
                  <c:v>Perrier Jou</c:v>
                </c:pt>
                <c:pt idx="180">
                  <c:v>Laurent Per</c:v>
                </c:pt>
                <c:pt idx="181">
                  <c:v>Moët &amp; Chan</c:v>
                </c:pt>
                <c:pt idx="182">
                  <c:v>Taittinger</c:v>
                </c:pt>
                <c:pt idx="183">
                  <c:v>Piper Heids</c:v>
                </c:pt>
                <c:pt idx="184">
                  <c:v>Veuve Clicq</c:v>
                </c:pt>
                <c:pt idx="185">
                  <c:v>Pommery</c:v>
                </c:pt>
                <c:pt idx="186">
                  <c:v>Nicolas</c:v>
                </c:pt>
                <c:pt idx="187">
                  <c:v>All Others</c:v>
                </c:pt>
                <c:pt idx="188">
                  <c:v>Nicolas</c:v>
                </c:pt>
                <c:pt idx="189">
                  <c:v>All Others</c:v>
                </c:pt>
                <c:pt idx="190">
                  <c:v>Laurent Per</c:v>
                </c:pt>
                <c:pt idx="191">
                  <c:v>Canard Duch</c:v>
                </c:pt>
                <c:pt idx="192">
                  <c:v>Roederer</c:v>
                </c:pt>
                <c:pt idx="193">
                  <c:v>De Venoge</c:v>
                </c:pt>
                <c:pt idx="194">
                  <c:v>All Others</c:v>
                </c:pt>
                <c:pt idx="195">
                  <c:v>Henriot</c:v>
                </c:pt>
                <c:pt idx="196">
                  <c:v>All Others</c:v>
                </c:pt>
                <c:pt idx="197">
                  <c:v>De Bligny</c:v>
                </c:pt>
                <c:pt idx="198">
                  <c:v>Piper Heids</c:v>
                </c:pt>
                <c:pt idx="199">
                  <c:v>Piper Heids</c:v>
                </c:pt>
                <c:pt idx="200">
                  <c:v>Ayala</c:v>
                </c:pt>
                <c:pt idx="201">
                  <c:v>Martel</c:v>
                </c:pt>
                <c:pt idx="202">
                  <c:v>Demoiselle</c:v>
                </c:pt>
                <c:pt idx="203">
                  <c:v>Malard</c:v>
                </c:pt>
                <c:pt idx="204">
                  <c:v>Roederer</c:v>
                </c:pt>
                <c:pt idx="205">
                  <c:v>Vranken</c:v>
                </c:pt>
              </c:strCache>
            </c:strRef>
          </c:cat>
          <c:val>
            <c:numRef>
              <c:f>Sheet1!$C$2:$C$207</c:f>
              <c:numCache>
                <c:formatCode>General</c:formatCode>
                <c:ptCount val="206"/>
                <c:pt idx="0">
                  <c:v>0.11751908569363509</c:v>
                </c:pt>
                <c:pt idx="1">
                  <c:v>0.17606089352667481</c:v>
                </c:pt>
                <c:pt idx="2">
                  <c:v>0.22678140669467409</c:v>
                </c:pt>
                <c:pt idx="3">
                  <c:v>0.27361340741744589</c:v>
                </c:pt>
                <c:pt idx="4">
                  <c:v>0.31226092063061839</c:v>
                </c:pt>
                <c:pt idx="5">
                  <c:v>0.34283958982698648</c:v>
                </c:pt>
                <c:pt idx="6">
                  <c:v>0.36596828838596013</c:v>
                </c:pt>
                <c:pt idx="7">
                  <c:v>0.38782852238334009</c:v>
                </c:pt>
                <c:pt idx="8">
                  <c:v>0.40940958576139491</c:v>
                </c:pt>
                <c:pt idx="9">
                  <c:v>0.43021276595744679</c:v>
                </c:pt>
                <c:pt idx="10">
                  <c:v>0.44994985770429596</c:v>
                </c:pt>
                <c:pt idx="11">
                  <c:v>0.46904639291683603</c:v>
                </c:pt>
                <c:pt idx="12">
                  <c:v>0.48691060215928078</c:v>
                </c:pt>
                <c:pt idx="13">
                  <c:v>0.5045606902470976</c:v>
                </c:pt>
                <c:pt idx="14">
                  <c:v>0.52026200478836337</c:v>
                </c:pt>
                <c:pt idx="15">
                  <c:v>0.53589917332971948</c:v>
                </c:pt>
                <c:pt idx="16">
                  <c:v>0.55087229525229253</c:v>
                </c:pt>
                <c:pt idx="17">
                  <c:v>0.56476125942991373</c:v>
                </c:pt>
                <c:pt idx="18">
                  <c:v>0.57828612729818851</c:v>
                </c:pt>
                <c:pt idx="19">
                  <c:v>0.59115598319555496</c:v>
                </c:pt>
                <c:pt idx="20">
                  <c:v>0.60302751050277814</c:v>
                </c:pt>
                <c:pt idx="21">
                  <c:v>0.61457017662736591</c:v>
                </c:pt>
                <c:pt idx="22">
                  <c:v>0.62569182816099733</c:v>
                </c:pt>
                <c:pt idx="23">
                  <c:v>0.63672765053982017</c:v>
                </c:pt>
                <c:pt idx="24">
                  <c:v>0.64768577494692137</c:v>
                </c:pt>
                <c:pt idx="25">
                  <c:v>0.6577576003975244</c:v>
                </c:pt>
                <c:pt idx="26">
                  <c:v>0.66780954962280337</c:v>
                </c:pt>
                <c:pt idx="27">
                  <c:v>0.67707187062384233</c:v>
                </c:pt>
                <c:pt idx="28">
                  <c:v>0.68539278131634807</c:v>
                </c:pt>
                <c:pt idx="29">
                  <c:v>0.69361340741744582</c:v>
                </c:pt>
                <c:pt idx="30">
                  <c:v>0.70151149658942036</c:v>
                </c:pt>
                <c:pt idx="31">
                  <c:v>0.70922889280390289</c:v>
                </c:pt>
                <c:pt idx="32">
                  <c:v>0.71692279893391142</c:v>
                </c:pt>
                <c:pt idx="33">
                  <c:v>0.72455165559922285</c:v>
                </c:pt>
                <c:pt idx="34">
                  <c:v>0.73210281429281276</c:v>
                </c:pt>
                <c:pt idx="35">
                  <c:v>0.73954103988797015</c:v>
                </c:pt>
                <c:pt idx="36">
                  <c:v>0.74678682748339864</c:v>
                </c:pt>
                <c:pt idx="37">
                  <c:v>0.7529285811085511</c:v>
                </c:pt>
                <c:pt idx="38">
                  <c:v>0.75859330532592473</c:v>
                </c:pt>
                <c:pt idx="39">
                  <c:v>0.76425531914893596</c:v>
                </c:pt>
                <c:pt idx="40">
                  <c:v>0.76983963500022567</c:v>
                </c:pt>
                <c:pt idx="41">
                  <c:v>0.77529656231648347</c:v>
                </c:pt>
                <c:pt idx="42">
                  <c:v>0.7807010886750686</c:v>
                </c:pt>
                <c:pt idx="43">
                  <c:v>0.78569995934408432</c:v>
                </c:pt>
                <c:pt idx="44">
                  <c:v>0.7906861815060755</c:v>
                </c:pt>
                <c:pt idx="45">
                  <c:v>0.79566246555540465</c:v>
                </c:pt>
                <c:pt idx="46">
                  <c:v>0.80057189321046185</c:v>
                </c:pt>
                <c:pt idx="47">
                  <c:v>0.80546867235849451</c:v>
                </c:pt>
                <c:pt idx="48">
                  <c:v>0.81029678818268025</c:v>
                </c:pt>
                <c:pt idx="49">
                  <c:v>0.81502190902109561</c:v>
                </c:pt>
                <c:pt idx="50">
                  <c:v>0.81955188146541957</c:v>
                </c:pt>
                <c:pt idx="51">
                  <c:v>0.82402312869855865</c:v>
                </c:pt>
                <c:pt idx="52">
                  <c:v>0.82831187604463086</c:v>
                </c:pt>
                <c:pt idx="53">
                  <c:v>0.83246600713737151</c:v>
                </c:pt>
                <c:pt idx="54">
                  <c:v>0.83658399963861374</c:v>
                </c:pt>
                <c:pt idx="55">
                  <c:v>0.84058815557663602</c:v>
                </c:pt>
                <c:pt idx="56">
                  <c:v>0.84453448976826095</c:v>
                </c:pt>
                <c:pt idx="57">
                  <c:v>0.84833355919952991</c:v>
                </c:pt>
                <c:pt idx="58">
                  <c:v>0.85211275240547468</c:v>
                </c:pt>
                <c:pt idx="59">
                  <c:v>0.85586484166779564</c:v>
                </c:pt>
                <c:pt idx="60">
                  <c:v>0.8595103220851964</c:v>
                </c:pt>
                <c:pt idx="61">
                  <c:v>0.86310701540407431</c:v>
                </c:pt>
                <c:pt idx="62">
                  <c:v>0.8665230157654602</c:v>
                </c:pt>
                <c:pt idx="63">
                  <c:v>0.86985499390161236</c:v>
                </c:pt>
                <c:pt idx="64">
                  <c:v>0.87316167502371567</c:v>
                </c:pt>
                <c:pt idx="65">
                  <c:v>0.87636084383611124</c:v>
                </c:pt>
                <c:pt idx="66">
                  <c:v>0.87953381216967041</c:v>
                </c:pt>
                <c:pt idx="67">
                  <c:v>0.88263269639065789</c:v>
                </c:pt>
                <c:pt idx="68">
                  <c:v>0.88553010796404186</c:v>
                </c:pt>
                <c:pt idx="69">
                  <c:v>0.88832452455165534</c:v>
                </c:pt>
                <c:pt idx="70">
                  <c:v>0.89103672584360993</c:v>
                </c:pt>
                <c:pt idx="71">
                  <c:v>0.89366490491033079</c:v>
                </c:pt>
                <c:pt idx="72">
                  <c:v>0.89620725482224295</c:v>
                </c:pt>
                <c:pt idx="73">
                  <c:v>0.89871436960744422</c:v>
                </c:pt>
                <c:pt idx="74">
                  <c:v>0.90121516013913328</c:v>
                </c:pt>
                <c:pt idx="75">
                  <c:v>0.90366083931878727</c:v>
                </c:pt>
                <c:pt idx="76">
                  <c:v>0.90608754573790462</c:v>
                </c:pt>
                <c:pt idx="77">
                  <c:v>0.90841216063603891</c:v>
                </c:pt>
                <c:pt idx="78">
                  <c:v>0.91072232009757392</c:v>
                </c:pt>
                <c:pt idx="79">
                  <c:v>0.91290328409450217</c:v>
                </c:pt>
                <c:pt idx="80">
                  <c:v>0.91507702037313066</c:v>
                </c:pt>
                <c:pt idx="81">
                  <c:v>0.91721732845462323</c:v>
                </c:pt>
                <c:pt idx="82">
                  <c:v>0.91932691873334216</c:v>
                </c:pt>
                <c:pt idx="83">
                  <c:v>0.92142476396982409</c:v>
                </c:pt>
                <c:pt idx="84">
                  <c:v>0.92348466368523263</c:v>
                </c:pt>
                <c:pt idx="85">
                  <c:v>0.92554365993585375</c:v>
                </c:pt>
                <c:pt idx="86">
                  <c:v>0.92756200027103919</c:v>
                </c:pt>
                <c:pt idx="87">
                  <c:v>0.92947915255002911</c:v>
                </c:pt>
                <c:pt idx="88">
                  <c:v>0.93117495595609134</c:v>
                </c:pt>
                <c:pt idx="89">
                  <c:v>0.93283733116501755</c:v>
                </c:pt>
                <c:pt idx="90">
                  <c:v>0.93446356778244544</c:v>
                </c:pt>
                <c:pt idx="91">
                  <c:v>0.93607444549848651</c:v>
                </c:pt>
                <c:pt idx="92">
                  <c:v>0.93765189501739155</c:v>
                </c:pt>
                <c:pt idx="93">
                  <c:v>0.93922030988842198</c:v>
                </c:pt>
                <c:pt idx="94">
                  <c:v>0.94077336585806559</c:v>
                </c:pt>
                <c:pt idx="95">
                  <c:v>0.94223788227853811</c:v>
                </c:pt>
                <c:pt idx="96">
                  <c:v>0.9436987848398608</c:v>
                </c:pt>
                <c:pt idx="97">
                  <c:v>0.94508379635903683</c:v>
                </c:pt>
                <c:pt idx="98">
                  <c:v>0.94645615937118843</c:v>
                </c:pt>
                <c:pt idx="99">
                  <c:v>0.94782219812982782</c:v>
                </c:pt>
                <c:pt idx="100">
                  <c:v>0.94915932601526853</c:v>
                </c:pt>
                <c:pt idx="101">
                  <c:v>0.95047386728102268</c:v>
                </c:pt>
                <c:pt idx="102">
                  <c:v>0.95178569815241443</c:v>
                </c:pt>
                <c:pt idx="103">
                  <c:v>0.95309391516465636</c:v>
                </c:pt>
                <c:pt idx="104">
                  <c:v>0.95437322130369961</c:v>
                </c:pt>
                <c:pt idx="105">
                  <c:v>0.95561277499209463</c:v>
                </c:pt>
                <c:pt idx="106">
                  <c:v>0.95680444504675422</c:v>
                </c:pt>
                <c:pt idx="107">
                  <c:v>0.95792564484799192</c:v>
                </c:pt>
                <c:pt idx="108">
                  <c:v>0.95903690653656759</c:v>
                </c:pt>
                <c:pt idx="109">
                  <c:v>0.96014636129556841</c:v>
                </c:pt>
                <c:pt idx="110">
                  <c:v>0.96122148439264565</c:v>
                </c:pt>
                <c:pt idx="111">
                  <c:v>0.96229209016578565</c:v>
                </c:pt>
                <c:pt idx="112">
                  <c:v>0.96335185436147608</c:v>
                </c:pt>
                <c:pt idx="113">
                  <c:v>0.96435379681076916</c:v>
                </c:pt>
                <c:pt idx="114">
                  <c:v>0.96530604869675185</c:v>
                </c:pt>
                <c:pt idx="115">
                  <c:v>0.96625739711794711</c:v>
                </c:pt>
                <c:pt idx="116">
                  <c:v>0.96720332475041759</c:v>
                </c:pt>
                <c:pt idx="117">
                  <c:v>0.96808872024212833</c:v>
                </c:pt>
                <c:pt idx="118">
                  <c:v>0.96896508108596446</c:v>
                </c:pt>
                <c:pt idx="119">
                  <c:v>0.96980439987351474</c:v>
                </c:pt>
                <c:pt idx="120">
                  <c:v>0.97059854542169199</c:v>
                </c:pt>
                <c:pt idx="121">
                  <c:v>0.97139088404029439</c:v>
                </c:pt>
                <c:pt idx="122">
                  <c:v>0.97214075981388615</c:v>
                </c:pt>
                <c:pt idx="123">
                  <c:v>0.97288431133396569</c:v>
                </c:pt>
                <c:pt idx="124">
                  <c:v>0.97360889009350848</c:v>
                </c:pt>
                <c:pt idx="125">
                  <c:v>0.97433166192347642</c:v>
                </c:pt>
                <c:pt idx="126">
                  <c:v>0.97504449564078233</c:v>
                </c:pt>
                <c:pt idx="127">
                  <c:v>0.97575552242851327</c:v>
                </c:pt>
                <c:pt idx="128">
                  <c:v>0.97644667299092014</c:v>
                </c:pt>
                <c:pt idx="129">
                  <c:v>0.97713601662375205</c:v>
                </c:pt>
                <c:pt idx="130">
                  <c:v>0.97782445679179653</c:v>
                </c:pt>
                <c:pt idx="131">
                  <c:v>0.97851109003026604</c:v>
                </c:pt>
                <c:pt idx="132">
                  <c:v>0.97917694357862395</c:v>
                </c:pt>
                <c:pt idx="133">
                  <c:v>0.97981840357772043</c:v>
                </c:pt>
                <c:pt idx="134">
                  <c:v>0.9804535393233047</c:v>
                </c:pt>
                <c:pt idx="135">
                  <c:v>0.9810362741112163</c:v>
                </c:pt>
                <c:pt idx="136">
                  <c:v>0.9816190088991279</c:v>
                </c:pt>
                <c:pt idx="137">
                  <c:v>0.98218819171522764</c:v>
                </c:pt>
                <c:pt idx="138">
                  <c:v>0.98274924334824021</c:v>
                </c:pt>
                <c:pt idx="139">
                  <c:v>0.98330939151646535</c:v>
                </c:pt>
                <c:pt idx="140">
                  <c:v>0.98386773275511552</c:v>
                </c:pt>
                <c:pt idx="141">
                  <c:v>0.98441523241631623</c:v>
                </c:pt>
                <c:pt idx="142">
                  <c:v>0.9849555043592173</c:v>
                </c:pt>
                <c:pt idx="143">
                  <c:v>0.98548854858381862</c:v>
                </c:pt>
                <c:pt idx="144">
                  <c:v>0.98600713737182066</c:v>
                </c:pt>
                <c:pt idx="145">
                  <c:v>0.98651036725843588</c:v>
                </c:pt>
                <c:pt idx="146">
                  <c:v>0.98700727289153878</c:v>
                </c:pt>
                <c:pt idx="147">
                  <c:v>0.98750056466549185</c:v>
                </c:pt>
                <c:pt idx="148">
                  <c:v>0.98799024258029511</c:v>
                </c:pt>
                <c:pt idx="149">
                  <c:v>0.98847811356552351</c:v>
                </c:pt>
                <c:pt idx="150">
                  <c:v>0.98896417762117694</c:v>
                </c:pt>
                <c:pt idx="151">
                  <c:v>0.98944482088810559</c:v>
                </c:pt>
                <c:pt idx="152">
                  <c:v>0.98990468446492264</c:v>
                </c:pt>
                <c:pt idx="153">
                  <c:v>0.99035732032344004</c:v>
                </c:pt>
                <c:pt idx="154">
                  <c:v>0.99079730767493301</c:v>
                </c:pt>
                <c:pt idx="155">
                  <c:v>0.99122645344897642</c:v>
                </c:pt>
                <c:pt idx="156">
                  <c:v>0.99161855716673397</c:v>
                </c:pt>
                <c:pt idx="157">
                  <c:v>0.99197271536341824</c:v>
                </c:pt>
                <c:pt idx="158">
                  <c:v>0.99232506663052766</c:v>
                </c:pt>
                <c:pt idx="159">
                  <c:v>0.99266838324976248</c:v>
                </c:pt>
                <c:pt idx="160">
                  <c:v>0.9929972444323979</c:v>
                </c:pt>
                <c:pt idx="161">
                  <c:v>0.9933224917558835</c:v>
                </c:pt>
                <c:pt idx="162">
                  <c:v>0.99363960789628192</c:v>
                </c:pt>
                <c:pt idx="163">
                  <c:v>0.99394859285359316</c:v>
                </c:pt>
                <c:pt idx="164">
                  <c:v>0.99424131544473016</c:v>
                </c:pt>
                <c:pt idx="165">
                  <c:v>0.99452229299363015</c:v>
                </c:pt>
                <c:pt idx="166">
                  <c:v>0.99479965668338033</c:v>
                </c:pt>
                <c:pt idx="167">
                  <c:v>0.99507069611961829</c:v>
                </c:pt>
                <c:pt idx="168">
                  <c:v>0.99533721823191901</c:v>
                </c:pt>
                <c:pt idx="169">
                  <c:v>0.99559018837240776</c:v>
                </c:pt>
                <c:pt idx="170">
                  <c:v>0.99583864118895926</c:v>
                </c:pt>
                <c:pt idx="171">
                  <c:v>0.99605999006188695</c:v>
                </c:pt>
                <c:pt idx="172">
                  <c:v>0.99627682161087727</c:v>
                </c:pt>
                <c:pt idx="173">
                  <c:v>0.99648552197678053</c:v>
                </c:pt>
                <c:pt idx="174">
                  <c:v>0.9966915119483214</c:v>
                </c:pt>
                <c:pt idx="175">
                  <c:v>0.9968956949902873</c:v>
                </c:pt>
                <c:pt idx="176">
                  <c:v>0.99709536070831595</c:v>
                </c:pt>
                <c:pt idx="177">
                  <c:v>0.99729231603198221</c:v>
                </c:pt>
                <c:pt idx="178">
                  <c:v>0.99748836789086104</c:v>
                </c:pt>
                <c:pt idx="179">
                  <c:v>0.99768441974973987</c:v>
                </c:pt>
                <c:pt idx="180">
                  <c:v>0.99786511270723188</c:v>
                </c:pt>
                <c:pt idx="181">
                  <c:v>0.9980458056647239</c:v>
                </c:pt>
                <c:pt idx="182">
                  <c:v>0.99821204318561652</c:v>
                </c:pt>
                <c:pt idx="183">
                  <c:v>0.99836021141075992</c:v>
                </c:pt>
                <c:pt idx="184">
                  <c:v>0.99850476577675351</c:v>
                </c:pt>
                <c:pt idx="185">
                  <c:v>0.99862944391742303</c:v>
                </c:pt>
                <c:pt idx="186">
                  <c:v>0.99874237701585555</c:v>
                </c:pt>
                <c:pt idx="187">
                  <c:v>0.99884356507205108</c:v>
                </c:pt>
                <c:pt idx="188">
                  <c:v>0.99894384966345917</c:v>
                </c:pt>
                <c:pt idx="189">
                  <c:v>0.99903690653656751</c:v>
                </c:pt>
                <c:pt idx="190">
                  <c:v>0.99912634955052604</c:v>
                </c:pt>
                <c:pt idx="191">
                  <c:v>0.99920946831097235</c:v>
                </c:pt>
                <c:pt idx="192">
                  <c:v>0.99929258707141866</c:v>
                </c:pt>
                <c:pt idx="193">
                  <c:v>0.99937389890229</c:v>
                </c:pt>
                <c:pt idx="194">
                  <c:v>0.9994506934092241</c:v>
                </c:pt>
                <c:pt idx="195">
                  <c:v>0.99952658445137077</c:v>
                </c:pt>
                <c:pt idx="196">
                  <c:v>0.99959705470479265</c:v>
                </c:pt>
                <c:pt idx="197">
                  <c:v>0.9996602972399149</c:v>
                </c:pt>
                <c:pt idx="198">
                  <c:v>0.99972173284546217</c:v>
                </c:pt>
                <c:pt idx="199">
                  <c:v>0.99977594073270981</c:v>
                </c:pt>
                <c:pt idx="200">
                  <c:v>0.99982201743687027</c:v>
                </c:pt>
                <c:pt idx="201">
                  <c:v>0.99986628721145576</c:v>
                </c:pt>
                <c:pt idx="202">
                  <c:v>0.99990603966210401</c:v>
                </c:pt>
                <c:pt idx="203">
                  <c:v>0.99994037132402747</c:v>
                </c:pt>
                <c:pt idx="204">
                  <c:v>0.99997199259158853</c:v>
                </c:pt>
                <c:pt idx="20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7</c:f>
              <c:strCache>
                <c:ptCount val="206"/>
                <c:pt idx="0">
                  <c:v>Ruinart</c:v>
                </c:pt>
                <c:pt idx="1">
                  <c:v>Nicolas</c:v>
                </c:pt>
                <c:pt idx="2">
                  <c:v>Deutz</c:v>
                </c:pt>
                <c:pt idx="3">
                  <c:v>Ruinart</c:v>
                </c:pt>
                <c:pt idx="4">
                  <c:v>Heidsieck &amp;</c:v>
                </c:pt>
                <c:pt idx="5">
                  <c:v>De Bligny</c:v>
                </c:pt>
                <c:pt idx="6">
                  <c:v>Ayala</c:v>
                </c:pt>
                <c:pt idx="7">
                  <c:v>Malard</c:v>
                </c:pt>
                <c:pt idx="8">
                  <c:v>Canard Duch</c:v>
                </c:pt>
                <c:pt idx="9">
                  <c:v>Besserat De</c:v>
                </c:pt>
                <c:pt idx="10">
                  <c:v>Nicolas Feu</c:v>
                </c:pt>
                <c:pt idx="11">
                  <c:v>Ruinart</c:v>
                </c:pt>
                <c:pt idx="12">
                  <c:v>Ruinart</c:v>
                </c:pt>
                <c:pt idx="13">
                  <c:v>Laurent Per</c:v>
                </c:pt>
                <c:pt idx="14">
                  <c:v>Demoiselle</c:v>
                </c:pt>
                <c:pt idx="15">
                  <c:v>Taittinger</c:v>
                </c:pt>
                <c:pt idx="16">
                  <c:v>Bollinger</c:v>
                </c:pt>
                <c:pt idx="17">
                  <c:v>Savian</c:v>
                </c:pt>
                <c:pt idx="18">
                  <c:v>Ruinart</c:v>
                </c:pt>
                <c:pt idx="19">
                  <c:v>Roederer</c:v>
                </c:pt>
                <c:pt idx="20">
                  <c:v>Laurent Per</c:v>
                </c:pt>
                <c:pt idx="21">
                  <c:v>Deutz</c:v>
                </c:pt>
                <c:pt idx="22">
                  <c:v>Vesselle</c:v>
                </c:pt>
                <c:pt idx="23">
                  <c:v>Campari: Al</c:v>
                </c:pt>
                <c:pt idx="24">
                  <c:v>Perrier Jou</c:v>
                </c:pt>
                <c:pt idx="25">
                  <c:v>Pommery</c:v>
                </c:pt>
                <c:pt idx="26">
                  <c:v>Ruinart</c:v>
                </c:pt>
                <c:pt idx="27">
                  <c:v>Demoiselle</c:v>
                </c:pt>
                <c:pt idx="28">
                  <c:v>All Others</c:v>
                </c:pt>
                <c:pt idx="29">
                  <c:v>Ruinart</c:v>
                </c:pt>
                <c:pt idx="30">
                  <c:v>Piper Heids</c:v>
                </c:pt>
                <c:pt idx="31">
                  <c:v>Ruinart</c:v>
                </c:pt>
                <c:pt idx="32">
                  <c:v>Taittinger</c:v>
                </c:pt>
                <c:pt idx="33">
                  <c:v>Dom Perigno</c:v>
                </c:pt>
                <c:pt idx="34">
                  <c:v>Roederer</c:v>
                </c:pt>
                <c:pt idx="35">
                  <c:v>Moët &amp; Chan</c:v>
                </c:pt>
                <c:pt idx="36">
                  <c:v>Deutz</c:v>
                </c:pt>
                <c:pt idx="37">
                  <c:v>Nicolas</c:v>
                </c:pt>
                <c:pt idx="38">
                  <c:v>All Others</c:v>
                </c:pt>
                <c:pt idx="39">
                  <c:v>De Bligny</c:v>
                </c:pt>
                <c:pt idx="40">
                  <c:v>Malard</c:v>
                </c:pt>
                <c:pt idx="41">
                  <c:v>Dom Perigno</c:v>
                </c:pt>
                <c:pt idx="42">
                  <c:v>Malard</c:v>
                </c:pt>
                <c:pt idx="43">
                  <c:v>Besserat De</c:v>
                </c:pt>
                <c:pt idx="44">
                  <c:v>Nicolas Feu</c:v>
                </c:pt>
                <c:pt idx="45">
                  <c:v>Canard Duch</c:v>
                </c:pt>
                <c:pt idx="46">
                  <c:v>Henriot</c:v>
                </c:pt>
                <c:pt idx="47">
                  <c:v>Laurent Per</c:v>
                </c:pt>
                <c:pt idx="48">
                  <c:v>Dom Perigno</c:v>
                </c:pt>
                <c:pt idx="49">
                  <c:v>Veuve Clicq</c:v>
                </c:pt>
                <c:pt idx="50">
                  <c:v>Nicolas</c:v>
                </c:pt>
                <c:pt idx="51">
                  <c:v>Pommery</c:v>
                </c:pt>
                <c:pt idx="52">
                  <c:v>Louis Marti</c:v>
                </c:pt>
                <c:pt idx="53">
                  <c:v>De Venoge</c:v>
                </c:pt>
                <c:pt idx="54">
                  <c:v>Veuve Clicq</c:v>
                </c:pt>
                <c:pt idx="55">
                  <c:v>Nicolas</c:v>
                </c:pt>
                <c:pt idx="56">
                  <c:v>Moët &amp; Chan</c:v>
                </c:pt>
                <c:pt idx="57">
                  <c:v>Ayala</c:v>
                </c:pt>
                <c:pt idx="58">
                  <c:v>Ruinart</c:v>
                </c:pt>
                <c:pt idx="59">
                  <c:v>Veuve Clicq</c:v>
                </c:pt>
                <c:pt idx="60">
                  <c:v>Ruinart</c:v>
                </c:pt>
                <c:pt idx="61">
                  <c:v>Canard Duch</c:v>
                </c:pt>
                <c:pt idx="62">
                  <c:v>Campari: Al</c:v>
                </c:pt>
                <c:pt idx="63">
                  <c:v>Nicolas Feu</c:v>
                </c:pt>
                <c:pt idx="64">
                  <c:v>Moët &amp; Chan</c:v>
                </c:pt>
                <c:pt idx="65">
                  <c:v>Deutz</c:v>
                </c:pt>
                <c:pt idx="66">
                  <c:v>Nicolas</c:v>
                </c:pt>
                <c:pt idx="67">
                  <c:v>Henriot</c:v>
                </c:pt>
                <c:pt idx="68">
                  <c:v>All Others</c:v>
                </c:pt>
                <c:pt idx="69">
                  <c:v>Canard Duch</c:v>
                </c:pt>
                <c:pt idx="70">
                  <c:v>Bollinger</c:v>
                </c:pt>
                <c:pt idx="71">
                  <c:v>Besserat De</c:v>
                </c:pt>
                <c:pt idx="72">
                  <c:v>Lanson</c:v>
                </c:pt>
                <c:pt idx="73">
                  <c:v>Ruinart</c:v>
                </c:pt>
                <c:pt idx="74">
                  <c:v>Nicolas Feu</c:v>
                </c:pt>
                <c:pt idx="75">
                  <c:v>Malard</c:v>
                </c:pt>
                <c:pt idx="76">
                  <c:v>Malard</c:v>
                </c:pt>
                <c:pt idx="77">
                  <c:v>Krug</c:v>
                </c:pt>
                <c:pt idx="78">
                  <c:v>Laurent Per</c:v>
                </c:pt>
                <c:pt idx="79">
                  <c:v>Roederer</c:v>
                </c:pt>
                <c:pt idx="80">
                  <c:v>Henriot</c:v>
                </c:pt>
                <c:pt idx="81">
                  <c:v>Vranken</c:v>
                </c:pt>
                <c:pt idx="82">
                  <c:v>De Venoge</c:v>
                </c:pt>
                <c:pt idx="83">
                  <c:v>Roederer</c:v>
                </c:pt>
                <c:pt idx="84">
                  <c:v>De Venoge</c:v>
                </c:pt>
                <c:pt idx="85">
                  <c:v>Ruinart</c:v>
                </c:pt>
                <c:pt idx="86">
                  <c:v>Veuve Clicq</c:v>
                </c:pt>
                <c:pt idx="87">
                  <c:v>Canard Duch</c:v>
                </c:pt>
                <c:pt idx="88">
                  <c:v>Malard</c:v>
                </c:pt>
                <c:pt idx="89">
                  <c:v>Henriot</c:v>
                </c:pt>
                <c:pt idx="90">
                  <c:v>Ruinart</c:v>
                </c:pt>
                <c:pt idx="91">
                  <c:v>Delamotte</c:v>
                </c:pt>
                <c:pt idx="92">
                  <c:v>Nicolas</c:v>
                </c:pt>
                <c:pt idx="93">
                  <c:v>All Others</c:v>
                </c:pt>
                <c:pt idx="94">
                  <c:v>Nicolas</c:v>
                </c:pt>
                <c:pt idx="95">
                  <c:v>Roederer</c:v>
                </c:pt>
                <c:pt idx="96">
                  <c:v>Roederer</c:v>
                </c:pt>
                <c:pt idx="97">
                  <c:v>Bollinger</c:v>
                </c:pt>
                <c:pt idx="98">
                  <c:v>Roederer</c:v>
                </c:pt>
                <c:pt idx="99">
                  <c:v>Moët &amp; Chan</c:v>
                </c:pt>
                <c:pt idx="100">
                  <c:v>Roederer</c:v>
                </c:pt>
                <c:pt idx="101">
                  <c:v>De Venoge</c:v>
                </c:pt>
                <c:pt idx="102">
                  <c:v>Ruinart</c:v>
                </c:pt>
                <c:pt idx="103">
                  <c:v>Roederer</c:v>
                </c:pt>
                <c:pt idx="104">
                  <c:v>Nicolas</c:v>
                </c:pt>
                <c:pt idx="105">
                  <c:v>Roederer</c:v>
                </c:pt>
                <c:pt idx="106">
                  <c:v>Nicolas</c:v>
                </c:pt>
                <c:pt idx="107">
                  <c:v>Perrier Jou</c:v>
                </c:pt>
                <c:pt idx="108">
                  <c:v>Nicolas</c:v>
                </c:pt>
                <c:pt idx="109">
                  <c:v>Deutz</c:v>
                </c:pt>
                <c:pt idx="110">
                  <c:v>Ruinart</c:v>
                </c:pt>
                <c:pt idx="111">
                  <c:v>Canard Duch</c:v>
                </c:pt>
                <c:pt idx="112">
                  <c:v>Ruinart</c:v>
                </c:pt>
                <c:pt idx="113">
                  <c:v>Delamotte</c:v>
                </c:pt>
                <c:pt idx="114">
                  <c:v>Nicolas</c:v>
                </c:pt>
                <c:pt idx="115">
                  <c:v>Vesselle</c:v>
                </c:pt>
                <c:pt idx="116">
                  <c:v>Roederer</c:v>
                </c:pt>
                <c:pt idx="117">
                  <c:v>Ruinart</c:v>
                </c:pt>
                <c:pt idx="118">
                  <c:v>Vranken</c:v>
                </c:pt>
                <c:pt idx="119">
                  <c:v>Ruinart</c:v>
                </c:pt>
                <c:pt idx="120">
                  <c:v>Deutz</c:v>
                </c:pt>
                <c:pt idx="121">
                  <c:v>Deutz</c:v>
                </c:pt>
                <c:pt idx="122">
                  <c:v>Ayala</c:v>
                </c:pt>
                <c:pt idx="123">
                  <c:v>Roederer</c:v>
                </c:pt>
                <c:pt idx="124">
                  <c:v>All Others</c:v>
                </c:pt>
                <c:pt idx="125">
                  <c:v>All Others</c:v>
                </c:pt>
                <c:pt idx="126">
                  <c:v>Besserat De</c:v>
                </c:pt>
                <c:pt idx="127">
                  <c:v>Demoiselle</c:v>
                </c:pt>
                <c:pt idx="128">
                  <c:v>Nicolas</c:v>
                </c:pt>
                <c:pt idx="129">
                  <c:v>Nicolas Feu</c:v>
                </c:pt>
                <c:pt idx="130">
                  <c:v>All Others</c:v>
                </c:pt>
                <c:pt idx="131">
                  <c:v>Lanson</c:v>
                </c:pt>
                <c:pt idx="132">
                  <c:v>Taittinger</c:v>
                </c:pt>
                <c:pt idx="133">
                  <c:v>Nicolas</c:v>
                </c:pt>
                <c:pt idx="134">
                  <c:v>Ruinart</c:v>
                </c:pt>
                <c:pt idx="135">
                  <c:v>Bollinger</c:v>
                </c:pt>
                <c:pt idx="136">
                  <c:v>Nicolas</c:v>
                </c:pt>
                <c:pt idx="137">
                  <c:v>Roederer</c:v>
                </c:pt>
                <c:pt idx="138">
                  <c:v>Nicolas</c:v>
                </c:pt>
                <c:pt idx="139">
                  <c:v>Laurent Per</c:v>
                </c:pt>
                <c:pt idx="140">
                  <c:v>Louis Marti</c:v>
                </c:pt>
                <c:pt idx="141">
                  <c:v>Piper Heids</c:v>
                </c:pt>
                <c:pt idx="142">
                  <c:v>Piper Heids</c:v>
                </c:pt>
                <c:pt idx="143">
                  <c:v>Nicolas</c:v>
                </c:pt>
                <c:pt idx="144">
                  <c:v>Deutz</c:v>
                </c:pt>
                <c:pt idx="145">
                  <c:v>All Others</c:v>
                </c:pt>
                <c:pt idx="146">
                  <c:v>Lanson</c:v>
                </c:pt>
                <c:pt idx="147">
                  <c:v>Deutz</c:v>
                </c:pt>
                <c:pt idx="148">
                  <c:v>Laurent Per</c:v>
                </c:pt>
                <c:pt idx="149">
                  <c:v>Laurent Per</c:v>
                </c:pt>
                <c:pt idx="150">
                  <c:v>Vesselle</c:v>
                </c:pt>
                <c:pt idx="151">
                  <c:v>Roederer</c:v>
                </c:pt>
                <c:pt idx="152">
                  <c:v>All Others</c:v>
                </c:pt>
                <c:pt idx="153">
                  <c:v>Perrier Jou</c:v>
                </c:pt>
                <c:pt idx="154">
                  <c:v>Laurent Per</c:v>
                </c:pt>
                <c:pt idx="155">
                  <c:v>Nicolas</c:v>
                </c:pt>
                <c:pt idx="156">
                  <c:v>Pommery</c:v>
                </c:pt>
                <c:pt idx="157">
                  <c:v>Roederer</c:v>
                </c:pt>
                <c:pt idx="158">
                  <c:v>Pommery</c:v>
                </c:pt>
                <c:pt idx="159">
                  <c:v>Laurent Per</c:v>
                </c:pt>
                <c:pt idx="160">
                  <c:v>Ruinart</c:v>
                </c:pt>
                <c:pt idx="161">
                  <c:v>Nicolas</c:v>
                </c:pt>
                <c:pt idx="162">
                  <c:v>Vranken</c:v>
                </c:pt>
                <c:pt idx="163">
                  <c:v>Nicolas</c:v>
                </c:pt>
                <c:pt idx="164">
                  <c:v>Dom Perigno</c:v>
                </c:pt>
                <c:pt idx="165">
                  <c:v>Pommery</c:v>
                </c:pt>
                <c:pt idx="166">
                  <c:v>De Venoge</c:v>
                </c:pt>
                <c:pt idx="167">
                  <c:v>Henriot</c:v>
                </c:pt>
                <c:pt idx="168">
                  <c:v>Piper Heids</c:v>
                </c:pt>
                <c:pt idx="169">
                  <c:v>Besserat De</c:v>
                </c:pt>
                <c:pt idx="170">
                  <c:v>Moët &amp; Chan</c:v>
                </c:pt>
                <c:pt idx="171">
                  <c:v>Demoiselle</c:v>
                </c:pt>
                <c:pt idx="172">
                  <c:v>Nicolas</c:v>
                </c:pt>
                <c:pt idx="173">
                  <c:v>Taittinger</c:v>
                </c:pt>
                <c:pt idx="174">
                  <c:v>Taittinger</c:v>
                </c:pt>
                <c:pt idx="175">
                  <c:v>Nicolas</c:v>
                </c:pt>
                <c:pt idx="176">
                  <c:v>Nicolas Feu</c:v>
                </c:pt>
                <c:pt idx="177">
                  <c:v>Perrier Jou</c:v>
                </c:pt>
                <c:pt idx="178">
                  <c:v>Bollinger</c:v>
                </c:pt>
                <c:pt idx="179">
                  <c:v>Roederer</c:v>
                </c:pt>
                <c:pt idx="180">
                  <c:v>Laurent Per</c:v>
                </c:pt>
                <c:pt idx="181">
                  <c:v>Pommery</c:v>
                </c:pt>
                <c:pt idx="182">
                  <c:v>Ruinart</c:v>
                </c:pt>
                <c:pt idx="183">
                  <c:v>Roederer</c:v>
                </c:pt>
                <c:pt idx="184">
                  <c:v>Henriot</c:v>
                </c:pt>
                <c:pt idx="185">
                  <c:v>Pommery</c:v>
                </c:pt>
                <c:pt idx="186">
                  <c:v>Pommery</c:v>
                </c:pt>
                <c:pt idx="187">
                  <c:v>Laurent Per</c:v>
                </c:pt>
                <c:pt idx="188">
                  <c:v>Roederer</c:v>
                </c:pt>
                <c:pt idx="189">
                  <c:v>All Others</c:v>
                </c:pt>
                <c:pt idx="190">
                  <c:v>Bollinger</c:v>
                </c:pt>
                <c:pt idx="191">
                  <c:v>Roederer</c:v>
                </c:pt>
                <c:pt idx="192">
                  <c:v>All Others</c:v>
                </c:pt>
                <c:pt idx="193">
                  <c:v>All Others</c:v>
                </c:pt>
                <c:pt idx="194">
                  <c:v>De Venoge</c:v>
                </c:pt>
                <c:pt idx="195">
                  <c:v>Roederer</c:v>
                </c:pt>
                <c:pt idx="196">
                  <c:v>Malard</c:v>
                </c:pt>
                <c:pt idx="197">
                  <c:v>De Bligny</c:v>
                </c:pt>
                <c:pt idx="198">
                  <c:v>Moët &amp; Chan</c:v>
                </c:pt>
                <c:pt idx="199">
                  <c:v>Roederer</c:v>
                </c:pt>
                <c:pt idx="200">
                  <c:v>De Venoge</c:v>
                </c:pt>
                <c:pt idx="201">
                  <c:v>Bollinger</c:v>
                </c:pt>
                <c:pt idx="202">
                  <c:v>Deutz</c:v>
                </c:pt>
                <c:pt idx="203">
                  <c:v>Henriot</c:v>
                </c:pt>
                <c:pt idx="204">
                  <c:v>Besserat De</c:v>
                </c:pt>
                <c:pt idx="205">
                  <c:v>Vesselle</c:v>
                </c:pt>
              </c:strCache>
            </c:strRef>
          </c:cat>
          <c:val>
            <c:numRef>
              <c:f>Sheet1!$B$2:$B$207</c:f>
              <c:numCache>
                <c:formatCode>General</c:formatCode>
                <c:ptCount val="206"/>
                <c:pt idx="0">
                  <c:v>1</c:v>
                </c:pt>
                <c:pt idx="1">
                  <c:v>1</c:v>
                </c:pt>
                <c:pt idx="2">
                  <c:v>1</c:v>
                </c:pt>
                <c:pt idx="3">
                  <c:v>0.98</c:v>
                </c:pt>
                <c:pt idx="4">
                  <c:v>0.99</c:v>
                </c:pt>
                <c:pt idx="5">
                  <c:v>1</c:v>
                </c:pt>
                <c:pt idx="6">
                  <c:v>1</c:v>
                </c:pt>
                <c:pt idx="7">
                  <c:v>1</c:v>
                </c:pt>
                <c:pt idx="8">
                  <c:v>1</c:v>
                </c:pt>
                <c:pt idx="9">
                  <c:v>0.96</c:v>
                </c:pt>
                <c:pt idx="10">
                  <c:v>1</c:v>
                </c:pt>
                <c:pt idx="11">
                  <c:v>0.88</c:v>
                </c:pt>
                <c:pt idx="12">
                  <c:v>0.7</c:v>
                </c:pt>
                <c:pt idx="13">
                  <c:v>0.91</c:v>
                </c:pt>
                <c:pt idx="14">
                  <c:v>1</c:v>
                </c:pt>
                <c:pt idx="15">
                  <c:v>0.82</c:v>
                </c:pt>
                <c:pt idx="16">
                  <c:v>0.81</c:v>
                </c:pt>
                <c:pt idx="17">
                  <c:v>0.97</c:v>
                </c:pt>
                <c:pt idx="18">
                  <c:v>0.56999999999999995</c:v>
                </c:pt>
                <c:pt idx="19">
                  <c:v>0.69</c:v>
                </c:pt>
                <c:pt idx="20">
                  <c:v>0.81</c:v>
                </c:pt>
                <c:pt idx="21">
                  <c:v>0.72</c:v>
                </c:pt>
                <c:pt idx="22">
                  <c:v>0.85</c:v>
                </c:pt>
                <c:pt idx="23">
                  <c:v>0.68</c:v>
                </c:pt>
                <c:pt idx="24">
                  <c:v>0.93</c:v>
                </c:pt>
                <c:pt idx="25">
                  <c:v>0.76</c:v>
                </c:pt>
                <c:pt idx="26">
                  <c:v>0.77</c:v>
                </c:pt>
                <c:pt idx="27">
                  <c:v>0.86</c:v>
                </c:pt>
                <c:pt idx="28">
                  <c:v>0.92</c:v>
                </c:pt>
                <c:pt idx="29">
                  <c:v>0.56000000000000005</c:v>
                </c:pt>
                <c:pt idx="30">
                  <c:v>0.68</c:v>
                </c:pt>
                <c:pt idx="31">
                  <c:v>0.41</c:v>
                </c:pt>
                <c:pt idx="32">
                  <c:v>0.54</c:v>
                </c:pt>
                <c:pt idx="33">
                  <c:v>0.34</c:v>
                </c:pt>
                <c:pt idx="34">
                  <c:v>0.47</c:v>
                </c:pt>
                <c:pt idx="35">
                  <c:v>0.86</c:v>
                </c:pt>
                <c:pt idx="36">
                  <c:v>0.77</c:v>
                </c:pt>
                <c:pt idx="37">
                  <c:v>0.55000000000000004</c:v>
                </c:pt>
                <c:pt idx="38">
                  <c:v>0.73</c:v>
                </c:pt>
                <c:pt idx="39">
                  <c:v>0.55000000000000004</c:v>
                </c:pt>
                <c:pt idx="40">
                  <c:v>0.86</c:v>
                </c:pt>
                <c:pt idx="41">
                  <c:v>0.28000000000000003</c:v>
                </c:pt>
                <c:pt idx="42">
                  <c:v>0.69</c:v>
                </c:pt>
                <c:pt idx="43">
                  <c:v>0.46</c:v>
                </c:pt>
                <c:pt idx="44">
                  <c:v>0.59</c:v>
                </c:pt>
                <c:pt idx="45">
                  <c:v>0.45</c:v>
                </c:pt>
                <c:pt idx="46">
                  <c:v>0.65</c:v>
                </c:pt>
                <c:pt idx="47">
                  <c:v>0.61</c:v>
                </c:pt>
                <c:pt idx="48">
                  <c:v>0.27</c:v>
                </c:pt>
                <c:pt idx="49">
                  <c:v>0.69</c:v>
                </c:pt>
                <c:pt idx="50">
                  <c:v>0.75</c:v>
                </c:pt>
                <c:pt idx="51">
                  <c:v>0.61</c:v>
                </c:pt>
                <c:pt idx="52">
                  <c:v>0.61</c:v>
                </c:pt>
                <c:pt idx="53">
                  <c:v>0.49</c:v>
                </c:pt>
                <c:pt idx="54">
                  <c:v>0.49</c:v>
                </c:pt>
                <c:pt idx="55">
                  <c:v>0.75</c:v>
                </c:pt>
                <c:pt idx="56">
                  <c:v>0.45</c:v>
                </c:pt>
                <c:pt idx="57">
                  <c:v>0.67</c:v>
                </c:pt>
                <c:pt idx="58">
                  <c:v>0.53</c:v>
                </c:pt>
                <c:pt idx="59">
                  <c:v>0.39</c:v>
                </c:pt>
                <c:pt idx="60">
                  <c:v>0.43</c:v>
                </c:pt>
                <c:pt idx="61">
                  <c:v>0.84</c:v>
                </c:pt>
                <c:pt idx="62">
                  <c:v>0.64</c:v>
                </c:pt>
                <c:pt idx="63">
                  <c:v>0.56999999999999995</c:v>
                </c:pt>
                <c:pt idx="64">
                  <c:v>0.56999999999999995</c:v>
                </c:pt>
                <c:pt idx="65">
                  <c:v>0.75</c:v>
                </c:pt>
                <c:pt idx="66">
                  <c:v>0.46</c:v>
                </c:pt>
                <c:pt idx="67">
                  <c:v>0.47</c:v>
                </c:pt>
                <c:pt idx="68">
                  <c:v>0.41</c:v>
                </c:pt>
                <c:pt idx="69">
                  <c:v>0.34</c:v>
                </c:pt>
                <c:pt idx="70">
                  <c:v>0.31</c:v>
                </c:pt>
                <c:pt idx="71">
                  <c:v>0.36</c:v>
                </c:pt>
                <c:pt idx="72">
                  <c:v>0.64</c:v>
                </c:pt>
                <c:pt idx="73">
                  <c:v>0.44</c:v>
                </c:pt>
                <c:pt idx="74">
                  <c:v>0.4</c:v>
                </c:pt>
                <c:pt idx="75">
                  <c:v>0.55000000000000004</c:v>
                </c:pt>
                <c:pt idx="76">
                  <c:v>0.33</c:v>
                </c:pt>
                <c:pt idx="77">
                  <c:v>0.23</c:v>
                </c:pt>
                <c:pt idx="78">
                  <c:v>0.28000000000000003</c:v>
                </c:pt>
                <c:pt idx="79">
                  <c:v>0.48</c:v>
                </c:pt>
                <c:pt idx="80">
                  <c:v>0.68</c:v>
                </c:pt>
                <c:pt idx="81">
                  <c:v>0.2</c:v>
                </c:pt>
                <c:pt idx="82">
                  <c:v>0.34</c:v>
                </c:pt>
                <c:pt idx="83">
                  <c:v>0.26</c:v>
                </c:pt>
                <c:pt idx="84">
                  <c:v>0.37</c:v>
                </c:pt>
                <c:pt idx="85">
                  <c:v>0.2</c:v>
                </c:pt>
                <c:pt idx="86">
                  <c:v>0.36</c:v>
                </c:pt>
                <c:pt idx="87">
                  <c:v>0.18</c:v>
                </c:pt>
                <c:pt idx="88">
                  <c:v>0.54</c:v>
                </c:pt>
                <c:pt idx="89">
                  <c:v>0.22</c:v>
                </c:pt>
                <c:pt idx="90">
                  <c:v>0.35</c:v>
                </c:pt>
                <c:pt idx="91">
                  <c:v>0.24</c:v>
                </c:pt>
                <c:pt idx="92">
                  <c:v>0.61</c:v>
                </c:pt>
                <c:pt idx="93">
                  <c:v>0.44</c:v>
                </c:pt>
                <c:pt idx="94">
                  <c:v>0.4</c:v>
                </c:pt>
                <c:pt idx="95">
                  <c:v>0.24</c:v>
                </c:pt>
                <c:pt idx="96">
                  <c:v>0.19</c:v>
                </c:pt>
                <c:pt idx="97">
                  <c:v>0.21</c:v>
                </c:pt>
                <c:pt idx="98">
                  <c:v>0.34</c:v>
                </c:pt>
                <c:pt idx="99">
                  <c:v>0.36</c:v>
                </c:pt>
                <c:pt idx="100">
                  <c:v>0.19</c:v>
                </c:pt>
                <c:pt idx="101">
                  <c:v>0.44</c:v>
                </c:pt>
                <c:pt idx="102">
                  <c:v>0.38</c:v>
                </c:pt>
                <c:pt idx="103">
                  <c:v>0.22</c:v>
                </c:pt>
                <c:pt idx="104">
                  <c:v>0.35</c:v>
                </c:pt>
                <c:pt idx="105">
                  <c:v>0.33</c:v>
                </c:pt>
                <c:pt idx="106">
                  <c:v>0.56000000000000005</c:v>
                </c:pt>
                <c:pt idx="107">
                  <c:v>0.22</c:v>
                </c:pt>
                <c:pt idx="108">
                  <c:v>0.3</c:v>
                </c:pt>
                <c:pt idx="109">
                  <c:v>0.47</c:v>
                </c:pt>
                <c:pt idx="110">
                  <c:v>0.16</c:v>
                </c:pt>
                <c:pt idx="111">
                  <c:v>0.28000000000000003</c:v>
                </c:pt>
                <c:pt idx="112">
                  <c:v>0.24</c:v>
                </c:pt>
                <c:pt idx="113">
                  <c:v>0.11</c:v>
                </c:pt>
                <c:pt idx="114">
                  <c:v>0.28000000000000003</c:v>
                </c:pt>
                <c:pt idx="115">
                  <c:v>0.28000000000000003</c:v>
                </c:pt>
                <c:pt idx="116">
                  <c:v>0.28000000000000003</c:v>
                </c:pt>
                <c:pt idx="117">
                  <c:v>0.22</c:v>
                </c:pt>
                <c:pt idx="118">
                  <c:v>0.3</c:v>
                </c:pt>
                <c:pt idx="119">
                  <c:v>0.15</c:v>
                </c:pt>
                <c:pt idx="120">
                  <c:v>0.27</c:v>
                </c:pt>
                <c:pt idx="121">
                  <c:v>0.18</c:v>
                </c:pt>
                <c:pt idx="122">
                  <c:v>0.1</c:v>
                </c:pt>
                <c:pt idx="123">
                  <c:v>0.28000000000000003</c:v>
                </c:pt>
                <c:pt idx="124">
                  <c:v>0.15</c:v>
                </c:pt>
                <c:pt idx="125">
                  <c:v>0.23</c:v>
                </c:pt>
                <c:pt idx="126">
                  <c:v>0.3</c:v>
                </c:pt>
                <c:pt idx="127">
                  <c:v>0.48</c:v>
                </c:pt>
                <c:pt idx="128">
                  <c:v>0.11</c:v>
                </c:pt>
                <c:pt idx="129">
                  <c:v>0.28000000000000003</c:v>
                </c:pt>
                <c:pt idx="130">
                  <c:v>0.13</c:v>
                </c:pt>
                <c:pt idx="131">
                  <c:v>0.24</c:v>
                </c:pt>
                <c:pt idx="132">
                  <c:v>0.16</c:v>
                </c:pt>
                <c:pt idx="133">
                  <c:v>0.36</c:v>
                </c:pt>
                <c:pt idx="134">
                  <c:v>0.23</c:v>
                </c:pt>
                <c:pt idx="135">
                  <c:v>0.18</c:v>
                </c:pt>
                <c:pt idx="136">
                  <c:v>0.2</c:v>
                </c:pt>
                <c:pt idx="137">
                  <c:v>0.24</c:v>
                </c:pt>
                <c:pt idx="138">
                  <c:v>0.21</c:v>
                </c:pt>
                <c:pt idx="139">
                  <c:v>0.18</c:v>
                </c:pt>
                <c:pt idx="140">
                  <c:v>0.19</c:v>
                </c:pt>
                <c:pt idx="141">
                  <c:v>0.04</c:v>
                </c:pt>
                <c:pt idx="142">
                  <c:v>0.17</c:v>
                </c:pt>
                <c:pt idx="143">
                  <c:v>0.18</c:v>
                </c:pt>
                <c:pt idx="144">
                  <c:v>0.15</c:v>
                </c:pt>
                <c:pt idx="145">
                  <c:v>0.11</c:v>
                </c:pt>
                <c:pt idx="146">
                  <c:v>0.1</c:v>
                </c:pt>
                <c:pt idx="147">
                  <c:v>0.17</c:v>
                </c:pt>
                <c:pt idx="148">
                  <c:v>0.14000000000000001</c:v>
                </c:pt>
                <c:pt idx="149">
                  <c:v>7.0000000000000007E-2</c:v>
                </c:pt>
                <c:pt idx="150">
                  <c:v>0.16</c:v>
                </c:pt>
                <c:pt idx="151">
                  <c:v>0.12</c:v>
                </c:pt>
                <c:pt idx="152">
                  <c:v>0.17</c:v>
                </c:pt>
                <c:pt idx="153">
                  <c:v>0.14000000000000001</c:v>
                </c:pt>
                <c:pt idx="154">
                  <c:v>0.17</c:v>
                </c:pt>
                <c:pt idx="155">
                  <c:v>7.0000000000000007E-2</c:v>
                </c:pt>
                <c:pt idx="156">
                  <c:v>0.23</c:v>
                </c:pt>
                <c:pt idx="157">
                  <c:v>0.11</c:v>
                </c:pt>
                <c:pt idx="158">
                  <c:v>0.2</c:v>
                </c:pt>
                <c:pt idx="159">
                  <c:v>0.06</c:v>
                </c:pt>
                <c:pt idx="160">
                  <c:v>0.09</c:v>
                </c:pt>
                <c:pt idx="161">
                  <c:v>0.24</c:v>
                </c:pt>
                <c:pt idx="162">
                  <c:v>0.1</c:v>
                </c:pt>
                <c:pt idx="163">
                  <c:v>0.12</c:v>
                </c:pt>
                <c:pt idx="164">
                  <c:v>7.0000000000000007E-2</c:v>
                </c:pt>
                <c:pt idx="165">
                  <c:v>0.24</c:v>
                </c:pt>
                <c:pt idx="166">
                  <c:v>0.06</c:v>
                </c:pt>
                <c:pt idx="167">
                  <c:v>0.08</c:v>
                </c:pt>
                <c:pt idx="168">
                  <c:v>0.04</c:v>
                </c:pt>
                <c:pt idx="169">
                  <c:v>0.15</c:v>
                </c:pt>
                <c:pt idx="170">
                  <c:v>0.23</c:v>
                </c:pt>
                <c:pt idx="171">
                  <c:v>0.27</c:v>
                </c:pt>
                <c:pt idx="172">
                  <c:v>0.13</c:v>
                </c:pt>
                <c:pt idx="173">
                  <c:v>0.11</c:v>
                </c:pt>
                <c:pt idx="174">
                  <c:v>0.05</c:v>
                </c:pt>
                <c:pt idx="175">
                  <c:v>7.0000000000000007E-2</c:v>
                </c:pt>
                <c:pt idx="176">
                  <c:v>0.24</c:v>
                </c:pt>
                <c:pt idx="177">
                  <c:v>0.08</c:v>
                </c:pt>
                <c:pt idx="178">
                  <c:v>0.13</c:v>
                </c:pt>
                <c:pt idx="179">
                  <c:v>0.1</c:v>
                </c:pt>
                <c:pt idx="180">
                  <c:v>0.08</c:v>
                </c:pt>
                <c:pt idx="181">
                  <c:v>0.1</c:v>
                </c:pt>
                <c:pt idx="182">
                  <c:v>0.02</c:v>
                </c:pt>
                <c:pt idx="183">
                  <c:v>0.04</c:v>
                </c:pt>
                <c:pt idx="184">
                  <c:v>0.1</c:v>
                </c:pt>
                <c:pt idx="185">
                  <c:v>0.03</c:v>
                </c:pt>
                <c:pt idx="186">
                  <c:v>0.13</c:v>
                </c:pt>
                <c:pt idx="187">
                  <c:v>0.04</c:v>
                </c:pt>
                <c:pt idx="188">
                  <c:v>7.0000000000000007E-2</c:v>
                </c:pt>
                <c:pt idx="189">
                  <c:v>0.15</c:v>
                </c:pt>
                <c:pt idx="190">
                  <c:v>0.18</c:v>
                </c:pt>
                <c:pt idx="191">
                  <c:v>0.04</c:v>
                </c:pt>
                <c:pt idx="192">
                  <c:v>0.05</c:v>
                </c:pt>
                <c:pt idx="193">
                  <c:v>0.05</c:v>
                </c:pt>
                <c:pt idx="194">
                  <c:v>0.1</c:v>
                </c:pt>
                <c:pt idx="195">
                  <c:v>0.02</c:v>
                </c:pt>
                <c:pt idx="196">
                  <c:v>0.05</c:v>
                </c:pt>
                <c:pt idx="197">
                  <c:v>0.05</c:v>
                </c:pt>
                <c:pt idx="198">
                  <c:v>0.1</c:v>
                </c:pt>
                <c:pt idx="199">
                  <c:v>0.04</c:v>
                </c:pt>
                <c:pt idx="200">
                  <c:v>0.06</c:v>
                </c:pt>
                <c:pt idx="201">
                  <c:v>0.09</c:v>
                </c:pt>
                <c:pt idx="202">
                  <c:v>0.1</c:v>
                </c:pt>
                <c:pt idx="203">
                  <c:v>0.08</c:v>
                </c:pt>
                <c:pt idx="204">
                  <c:v>0.04</c:v>
                </c:pt>
                <c:pt idx="205">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7</c:f>
              <c:strCache>
                <c:ptCount val="206"/>
                <c:pt idx="0">
                  <c:v>Ruinart</c:v>
                </c:pt>
                <c:pt idx="1">
                  <c:v>Nicolas</c:v>
                </c:pt>
                <c:pt idx="2">
                  <c:v>Deutz</c:v>
                </c:pt>
                <c:pt idx="3">
                  <c:v>Ruinart</c:v>
                </c:pt>
                <c:pt idx="4">
                  <c:v>Heidsieck &amp;</c:v>
                </c:pt>
                <c:pt idx="5">
                  <c:v>De Bligny</c:v>
                </c:pt>
                <c:pt idx="6">
                  <c:v>Ayala</c:v>
                </c:pt>
                <c:pt idx="7">
                  <c:v>Malard</c:v>
                </c:pt>
                <c:pt idx="8">
                  <c:v>Canard Duch</c:v>
                </c:pt>
                <c:pt idx="9">
                  <c:v>Besserat De</c:v>
                </c:pt>
                <c:pt idx="10">
                  <c:v>Nicolas Feu</c:v>
                </c:pt>
                <c:pt idx="11">
                  <c:v>Ruinart</c:v>
                </c:pt>
                <c:pt idx="12">
                  <c:v>Ruinart</c:v>
                </c:pt>
                <c:pt idx="13">
                  <c:v>Laurent Per</c:v>
                </c:pt>
                <c:pt idx="14">
                  <c:v>Demoiselle</c:v>
                </c:pt>
                <c:pt idx="15">
                  <c:v>Taittinger</c:v>
                </c:pt>
                <c:pt idx="16">
                  <c:v>Bollinger</c:v>
                </c:pt>
                <c:pt idx="17">
                  <c:v>Savian</c:v>
                </c:pt>
                <c:pt idx="18">
                  <c:v>Ruinart</c:v>
                </c:pt>
                <c:pt idx="19">
                  <c:v>Roederer</c:v>
                </c:pt>
                <c:pt idx="20">
                  <c:v>Laurent Per</c:v>
                </c:pt>
                <c:pt idx="21">
                  <c:v>Deutz</c:v>
                </c:pt>
                <c:pt idx="22">
                  <c:v>Vesselle</c:v>
                </c:pt>
                <c:pt idx="23">
                  <c:v>Campari: Al</c:v>
                </c:pt>
                <c:pt idx="24">
                  <c:v>Perrier Jou</c:v>
                </c:pt>
                <c:pt idx="25">
                  <c:v>Pommery</c:v>
                </c:pt>
                <c:pt idx="26">
                  <c:v>Ruinart</c:v>
                </c:pt>
                <c:pt idx="27">
                  <c:v>Demoiselle</c:v>
                </c:pt>
                <c:pt idx="28">
                  <c:v>All Others</c:v>
                </c:pt>
                <c:pt idx="29">
                  <c:v>Ruinart</c:v>
                </c:pt>
                <c:pt idx="30">
                  <c:v>Piper Heids</c:v>
                </c:pt>
                <c:pt idx="31">
                  <c:v>Ruinart</c:v>
                </c:pt>
                <c:pt idx="32">
                  <c:v>Taittinger</c:v>
                </c:pt>
                <c:pt idx="33">
                  <c:v>Dom Perigno</c:v>
                </c:pt>
                <c:pt idx="34">
                  <c:v>Roederer</c:v>
                </c:pt>
                <c:pt idx="35">
                  <c:v>Moët &amp; Chan</c:v>
                </c:pt>
                <c:pt idx="36">
                  <c:v>Deutz</c:v>
                </c:pt>
                <c:pt idx="37">
                  <c:v>Nicolas</c:v>
                </c:pt>
                <c:pt idx="38">
                  <c:v>All Others</c:v>
                </c:pt>
                <c:pt idx="39">
                  <c:v>De Bligny</c:v>
                </c:pt>
                <c:pt idx="40">
                  <c:v>Malard</c:v>
                </c:pt>
                <c:pt idx="41">
                  <c:v>Dom Perigno</c:v>
                </c:pt>
                <c:pt idx="42">
                  <c:v>Malard</c:v>
                </c:pt>
                <c:pt idx="43">
                  <c:v>Besserat De</c:v>
                </c:pt>
                <c:pt idx="44">
                  <c:v>Nicolas Feu</c:v>
                </c:pt>
                <c:pt idx="45">
                  <c:v>Canard Duch</c:v>
                </c:pt>
                <c:pt idx="46">
                  <c:v>Henriot</c:v>
                </c:pt>
                <c:pt idx="47">
                  <c:v>Laurent Per</c:v>
                </c:pt>
                <c:pt idx="48">
                  <c:v>Dom Perigno</c:v>
                </c:pt>
                <c:pt idx="49">
                  <c:v>Veuve Clicq</c:v>
                </c:pt>
                <c:pt idx="50">
                  <c:v>Nicolas</c:v>
                </c:pt>
                <c:pt idx="51">
                  <c:v>Pommery</c:v>
                </c:pt>
                <c:pt idx="52">
                  <c:v>Louis Marti</c:v>
                </c:pt>
                <c:pt idx="53">
                  <c:v>De Venoge</c:v>
                </c:pt>
                <c:pt idx="54">
                  <c:v>Veuve Clicq</c:v>
                </c:pt>
                <c:pt idx="55">
                  <c:v>Nicolas</c:v>
                </c:pt>
                <c:pt idx="56">
                  <c:v>Moët &amp; Chan</c:v>
                </c:pt>
                <c:pt idx="57">
                  <c:v>Ayala</c:v>
                </c:pt>
                <c:pt idx="58">
                  <c:v>Ruinart</c:v>
                </c:pt>
                <c:pt idx="59">
                  <c:v>Veuve Clicq</c:v>
                </c:pt>
                <c:pt idx="60">
                  <c:v>Ruinart</c:v>
                </c:pt>
                <c:pt idx="61">
                  <c:v>Canard Duch</c:v>
                </c:pt>
                <c:pt idx="62">
                  <c:v>Campari: Al</c:v>
                </c:pt>
                <c:pt idx="63">
                  <c:v>Nicolas Feu</c:v>
                </c:pt>
                <c:pt idx="64">
                  <c:v>Moët &amp; Chan</c:v>
                </c:pt>
                <c:pt idx="65">
                  <c:v>Deutz</c:v>
                </c:pt>
                <c:pt idx="66">
                  <c:v>Nicolas</c:v>
                </c:pt>
                <c:pt idx="67">
                  <c:v>Henriot</c:v>
                </c:pt>
                <c:pt idx="68">
                  <c:v>All Others</c:v>
                </c:pt>
                <c:pt idx="69">
                  <c:v>Canard Duch</c:v>
                </c:pt>
                <c:pt idx="70">
                  <c:v>Bollinger</c:v>
                </c:pt>
                <c:pt idx="71">
                  <c:v>Besserat De</c:v>
                </c:pt>
                <c:pt idx="72">
                  <c:v>Lanson</c:v>
                </c:pt>
                <c:pt idx="73">
                  <c:v>Ruinart</c:v>
                </c:pt>
                <c:pt idx="74">
                  <c:v>Nicolas Feu</c:v>
                </c:pt>
                <c:pt idx="75">
                  <c:v>Malard</c:v>
                </c:pt>
                <c:pt idx="76">
                  <c:v>Malard</c:v>
                </c:pt>
                <c:pt idx="77">
                  <c:v>Krug</c:v>
                </c:pt>
                <c:pt idx="78">
                  <c:v>Laurent Per</c:v>
                </c:pt>
                <c:pt idx="79">
                  <c:v>Roederer</c:v>
                </c:pt>
                <c:pt idx="80">
                  <c:v>Henriot</c:v>
                </c:pt>
                <c:pt idx="81">
                  <c:v>Vranken</c:v>
                </c:pt>
                <c:pt idx="82">
                  <c:v>De Venoge</c:v>
                </c:pt>
                <c:pt idx="83">
                  <c:v>Roederer</c:v>
                </c:pt>
                <c:pt idx="84">
                  <c:v>De Venoge</c:v>
                </c:pt>
                <c:pt idx="85">
                  <c:v>Ruinart</c:v>
                </c:pt>
                <c:pt idx="86">
                  <c:v>Veuve Clicq</c:v>
                </c:pt>
                <c:pt idx="87">
                  <c:v>Canard Duch</c:v>
                </c:pt>
                <c:pt idx="88">
                  <c:v>Malard</c:v>
                </c:pt>
                <c:pt idx="89">
                  <c:v>Henriot</c:v>
                </c:pt>
                <c:pt idx="90">
                  <c:v>Ruinart</c:v>
                </c:pt>
                <c:pt idx="91">
                  <c:v>Delamotte</c:v>
                </c:pt>
                <c:pt idx="92">
                  <c:v>Nicolas</c:v>
                </c:pt>
                <c:pt idx="93">
                  <c:v>All Others</c:v>
                </c:pt>
                <c:pt idx="94">
                  <c:v>Nicolas</c:v>
                </c:pt>
                <c:pt idx="95">
                  <c:v>Roederer</c:v>
                </c:pt>
                <c:pt idx="96">
                  <c:v>Roederer</c:v>
                </c:pt>
                <c:pt idx="97">
                  <c:v>Bollinger</c:v>
                </c:pt>
                <c:pt idx="98">
                  <c:v>Roederer</c:v>
                </c:pt>
                <c:pt idx="99">
                  <c:v>Moët &amp; Chan</c:v>
                </c:pt>
                <c:pt idx="100">
                  <c:v>Roederer</c:v>
                </c:pt>
                <c:pt idx="101">
                  <c:v>De Venoge</c:v>
                </c:pt>
                <c:pt idx="102">
                  <c:v>Ruinart</c:v>
                </c:pt>
                <c:pt idx="103">
                  <c:v>Roederer</c:v>
                </c:pt>
                <c:pt idx="104">
                  <c:v>Nicolas</c:v>
                </c:pt>
                <c:pt idx="105">
                  <c:v>Roederer</c:v>
                </c:pt>
                <c:pt idx="106">
                  <c:v>Nicolas</c:v>
                </c:pt>
                <c:pt idx="107">
                  <c:v>Perrier Jou</c:v>
                </c:pt>
                <c:pt idx="108">
                  <c:v>Nicolas</c:v>
                </c:pt>
                <c:pt idx="109">
                  <c:v>Deutz</c:v>
                </c:pt>
                <c:pt idx="110">
                  <c:v>Ruinart</c:v>
                </c:pt>
                <c:pt idx="111">
                  <c:v>Canard Duch</c:v>
                </c:pt>
                <c:pt idx="112">
                  <c:v>Ruinart</c:v>
                </c:pt>
                <c:pt idx="113">
                  <c:v>Delamotte</c:v>
                </c:pt>
                <c:pt idx="114">
                  <c:v>Nicolas</c:v>
                </c:pt>
                <c:pt idx="115">
                  <c:v>Vesselle</c:v>
                </c:pt>
                <c:pt idx="116">
                  <c:v>Roederer</c:v>
                </c:pt>
                <c:pt idx="117">
                  <c:v>Ruinart</c:v>
                </c:pt>
                <c:pt idx="118">
                  <c:v>Vranken</c:v>
                </c:pt>
                <c:pt idx="119">
                  <c:v>Ruinart</c:v>
                </c:pt>
                <c:pt idx="120">
                  <c:v>Deutz</c:v>
                </c:pt>
                <c:pt idx="121">
                  <c:v>Deutz</c:v>
                </c:pt>
                <c:pt idx="122">
                  <c:v>Ayala</c:v>
                </c:pt>
                <c:pt idx="123">
                  <c:v>Roederer</c:v>
                </c:pt>
                <c:pt idx="124">
                  <c:v>All Others</c:v>
                </c:pt>
                <c:pt idx="125">
                  <c:v>All Others</c:v>
                </c:pt>
                <c:pt idx="126">
                  <c:v>Besserat De</c:v>
                </c:pt>
                <c:pt idx="127">
                  <c:v>Demoiselle</c:v>
                </c:pt>
                <c:pt idx="128">
                  <c:v>Nicolas</c:v>
                </c:pt>
                <c:pt idx="129">
                  <c:v>Nicolas Feu</c:v>
                </c:pt>
                <c:pt idx="130">
                  <c:v>All Others</c:v>
                </c:pt>
                <c:pt idx="131">
                  <c:v>Lanson</c:v>
                </c:pt>
                <c:pt idx="132">
                  <c:v>Taittinger</c:v>
                </c:pt>
                <c:pt idx="133">
                  <c:v>Nicolas</c:v>
                </c:pt>
                <c:pt idx="134">
                  <c:v>Ruinart</c:v>
                </c:pt>
                <c:pt idx="135">
                  <c:v>Bollinger</c:v>
                </c:pt>
                <c:pt idx="136">
                  <c:v>Nicolas</c:v>
                </c:pt>
                <c:pt idx="137">
                  <c:v>Roederer</c:v>
                </c:pt>
                <c:pt idx="138">
                  <c:v>Nicolas</c:v>
                </c:pt>
                <c:pt idx="139">
                  <c:v>Laurent Per</c:v>
                </c:pt>
                <c:pt idx="140">
                  <c:v>Louis Marti</c:v>
                </c:pt>
                <c:pt idx="141">
                  <c:v>Piper Heids</c:v>
                </c:pt>
                <c:pt idx="142">
                  <c:v>Piper Heids</c:v>
                </c:pt>
                <c:pt idx="143">
                  <c:v>Nicolas</c:v>
                </c:pt>
                <c:pt idx="144">
                  <c:v>Deutz</c:v>
                </c:pt>
                <c:pt idx="145">
                  <c:v>All Others</c:v>
                </c:pt>
                <c:pt idx="146">
                  <c:v>Lanson</c:v>
                </c:pt>
                <c:pt idx="147">
                  <c:v>Deutz</c:v>
                </c:pt>
                <c:pt idx="148">
                  <c:v>Laurent Per</c:v>
                </c:pt>
                <c:pt idx="149">
                  <c:v>Laurent Per</c:v>
                </c:pt>
                <c:pt idx="150">
                  <c:v>Vesselle</c:v>
                </c:pt>
                <c:pt idx="151">
                  <c:v>Roederer</c:v>
                </c:pt>
                <c:pt idx="152">
                  <c:v>All Others</c:v>
                </c:pt>
                <c:pt idx="153">
                  <c:v>Perrier Jou</c:v>
                </c:pt>
                <c:pt idx="154">
                  <c:v>Laurent Per</c:v>
                </c:pt>
                <c:pt idx="155">
                  <c:v>Nicolas</c:v>
                </c:pt>
                <c:pt idx="156">
                  <c:v>Pommery</c:v>
                </c:pt>
                <c:pt idx="157">
                  <c:v>Roederer</c:v>
                </c:pt>
                <c:pt idx="158">
                  <c:v>Pommery</c:v>
                </c:pt>
                <c:pt idx="159">
                  <c:v>Laurent Per</c:v>
                </c:pt>
                <c:pt idx="160">
                  <c:v>Ruinart</c:v>
                </c:pt>
                <c:pt idx="161">
                  <c:v>Nicolas</c:v>
                </c:pt>
                <c:pt idx="162">
                  <c:v>Vranken</c:v>
                </c:pt>
                <c:pt idx="163">
                  <c:v>Nicolas</c:v>
                </c:pt>
                <c:pt idx="164">
                  <c:v>Dom Perigno</c:v>
                </c:pt>
                <c:pt idx="165">
                  <c:v>Pommery</c:v>
                </c:pt>
                <c:pt idx="166">
                  <c:v>De Venoge</c:v>
                </c:pt>
                <c:pt idx="167">
                  <c:v>Henriot</c:v>
                </c:pt>
                <c:pt idx="168">
                  <c:v>Piper Heids</c:v>
                </c:pt>
                <c:pt idx="169">
                  <c:v>Besserat De</c:v>
                </c:pt>
                <c:pt idx="170">
                  <c:v>Moët &amp; Chan</c:v>
                </c:pt>
                <c:pt idx="171">
                  <c:v>Demoiselle</c:v>
                </c:pt>
                <c:pt idx="172">
                  <c:v>Nicolas</c:v>
                </c:pt>
                <c:pt idx="173">
                  <c:v>Taittinger</c:v>
                </c:pt>
                <c:pt idx="174">
                  <c:v>Taittinger</c:v>
                </c:pt>
                <c:pt idx="175">
                  <c:v>Nicolas</c:v>
                </c:pt>
                <c:pt idx="176">
                  <c:v>Nicolas Feu</c:v>
                </c:pt>
                <c:pt idx="177">
                  <c:v>Perrier Jou</c:v>
                </c:pt>
                <c:pt idx="178">
                  <c:v>Bollinger</c:v>
                </c:pt>
                <c:pt idx="179">
                  <c:v>Roederer</c:v>
                </c:pt>
                <c:pt idx="180">
                  <c:v>Laurent Per</c:v>
                </c:pt>
                <c:pt idx="181">
                  <c:v>Pommery</c:v>
                </c:pt>
                <c:pt idx="182">
                  <c:v>Ruinart</c:v>
                </c:pt>
                <c:pt idx="183">
                  <c:v>Roederer</c:v>
                </c:pt>
                <c:pt idx="184">
                  <c:v>Henriot</c:v>
                </c:pt>
                <c:pt idx="185">
                  <c:v>Pommery</c:v>
                </c:pt>
                <c:pt idx="186">
                  <c:v>Pommery</c:v>
                </c:pt>
                <c:pt idx="187">
                  <c:v>Laurent Per</c:v>
                </c:pt>
                <c:pt idx="188">
                  <c:v>Roederer</c:v>
                </c:pt>
                <c:pt idx="189">
                  <c:v>All Others</c:v>
                </c:pt>
                <c:pt idx="190">
                  <c:v>Bollinger</c:v>
                </c:pt>
                <c:pt idx="191">
                  <c:v>Roederer</c:v>
                </c:pt>
                <c:pt idx="192">
                  <c:v>All Others</c:v>
                </c:pt>
                <c:pt idx="193">
                  <c:v>All Others</c:v>
                </c:pt>
                <c:pt idx="194">
                  <c:v>De Venoge</c:v>
                </c:pt>
                <c:pt idx="195">
                  <c:v>Roederer</c:v>
                </c:pt>
                <c:pt idx="196">
                  <c:v>Malard</c:v>
                </c:pt>
                <c:pt idx="197">
                  <c:v>De Bligny</c:v>
                </c:pt>
                <c:pt idx="198">
                  <c:v>Moët &amp; Chan</c:v>
                </c:pt>
                <c:pt idx="199">
                  <c:v>Roederer</c:v>
                </c:pt>
                <c:pt idx="200">
                  <c:v>De Venoge</c:v>
                </c:pt>
                <c:pt idx="201">
                  <c:v>Bollinger</c:v>
                </c:pt>
                <c:pt idx="202">
                  <c:v>Deutz</c:v>
                </c:pt>
                <c:pt idx="203">
                  <c:v>Henriot</c:v>
                </c:pt>
                <c:pt idx="204">
                  <c:v>Besserat De</c:v>
                </c:pt>
                <c:pt idx="205">
                  <c:v>Vesselle</c:v>
                </c:pt>
              </c:strCache>
            </c:strRef>
          </c:cat>
          <c:val>
            <c:numRef>
              <c:f>Sheet1!$C$2:$C$207</c:f>
              <c:numCache>
                <c:formatCode>General</c:formatCode>
                <c:ptCount val="206"/>
                <c:pt idx="0">
                  <c:v>0.11620632998851034</c:v>
                </c:pt>
                <c:pt idx="1">
                  <c:v>0.19018014181294637</c:v>
                </c:pt>
                <c:pt idx="2">
                  <c:v>0.23217398912278489</c:v>
                </c:pt>
                <c:pt idx="3">
                  <c:v>0.27357662749719835</c:v>
                </c:pt>
                <c:pt idx="4">
                  <c:v>0.31040206067514903</c:v>
                </c:pt>
                <c:pt idx="5">
                  <c:v>0.34409389350004699</c:v>
                </c:pt>
                <c:pt idx="6">
                  <c:v>0.37593168481036926</c:v>
                </c:pt>
                <c:pt idx="7">
                  <c:v>0.40572115267086195</c:v>
                </c:pt>
                <c:pt idx="8">
                  <c:v>0.43521533772247534</c:v>
                </c:pt>
                <c:pt idx="9">
                  <c:v>0.45768964039829085</c:v>
                </c:pt>
                <c:pt idx="10">
                  <c:v>0.47888888745929409</c:v>
                </c:pt>
                <c:pt idx="11">
                  <c:v>0.49996461752834781</c:v>
                </c:pt>
                <c:pt idx="12">
                  <c:v>0.52081454309649378</c:v>
                </c:pt>
                <c:pt idx="13">
                  <c:v>0.54075095757834646</c:v>
                </c:pt>
                <c:pt idx="14">
                  <c:v>0.55776349326639396</c:v>
                </c:pt>
                <c:pt idx="15">
                  <c:v>0.57366051612089741</c:v>
                </c:pt>
                <c:pt idx="16">
                  <c:v>0.58855267678047818</c:v>
                </c:pt>
                <c:pt idx="17">
                  <c:v>0.60280859626798555</c:v>
                </c:pt>
                <c:pt idx="18">
                  <c:v>0.61474278229744184</c:v>
                </c:pt>
                <c:pt idx="19">
                  <c:v>0.62614108471078378</c:v>
                </c:pt>
                <c:pt idx="20">
                  <c:v>0.63735797154219986</c:v>
                </c:pt>
                <c:pt idx="21">
                  <c:v>0.64832332116605207</c:v>
                </c:pt>
                <c:pt idx="22">
                  <c:v>0.65903391699400837</c:v>
                </c:pt>
                <c:pt idx="23">
                  <c:v>0.66966602806666342</c:v>
                </c:pt>
                <c:pt idx="24">
                  <c:v>0.67917683644677662</c:v>
                </c:pt>
                <c:pt idx="25">
                  <c:v>0.68785068854289855</c:v>
                </c:pt>
                <c:pt idx="26">
                  <c:v>0.69645570564871528</c:v>
                </c:pt>
                <c:pt idx="27">
                  <c:v>0.70456536815140114</c:v>
                </c:pt>
                <c:pt idx="28">
                  <c:v>0.71197381439770691</c:v>
                </c:pt>
                <c:pt idx="29">
                  <c:v>0.71926131692272877</c:v>
                </c:pt>
                <c:pt idx="30">
                  <c:v>0.72603223536162842</c:v>
                </c:pt>
                <c:pt idx="31">
                  <c:v>0.73257734929962026</c:v>
                </c:pt>
                <c:pt idx="32">
                  <c:v>0.73909287062495754</c:v>
                </c:pt>
                <c:pt idx="33">
                  <c:v>0.74560260209129725</c:v>
                </c:pt>
                <c:pt idx="34">
                  <c:v>0.75202355571967328</c:v>
                </c:pt>
                <c:pt idx="35">
                  <c:v>0.75843871948905162</c:v>
                </c:pt>
                <c:pt idx="36">
                  <c:v>0.76453544101356008</c:v>
                </c:pt>
                <c:pt idx="37">
                  <c:v>0.77052022526411434</c:v>
                </c:pt>
                <c:pt idx="38">
                  <c:v>0.77631330085008021</c:v>
                </c:pt>
                <c:pt idx="39">
                  <c:v>0.78200151565642229</c:v>
                </c:pt>
                <c:pt idx="40">
                  <c:v>0.78768072401543476</c:v>
                </c:pt>
                <c:pt idx="41">
                  <c:v>0.79329495729014043</c:v>
                </c:pt>
                <c:pt idx="42">
                  <c:v>0.79890082743518287</c:v>
                </c:pt>
                <c:pt idx="43">
                  <c:v>0.80428925620898084</c:v>
                </c:pt>
                <c:pt idx="44">
                  <c:v>0.80967704166511234</c:v>
                </c:pt>
                <c:pt idx="45">
                  <c:v>0.81493423363496387</c:v>
                </c:pt>
                <c:pt idx="46">
                  <c:v>0.81976683594498889</c:v>
                </c:pt>
                <c:pt idx="47">
                  <c:v>0.82459236176068351</c:v>
                </c:pt>
                <c:pt idx="48">
                  <c:v>0.82938443505772519</c:v>
                </c:pt>
                <c:pt idx="49">
                  <c:v>0.83385935274522982</c:v>
                </c:pt>
                <c:pt idx="50">
                  <c:v>0.83829438473741735</c:v>
                </c:pt>
                <c:pt idx="51">
                  <c:v>0.84272748677660569</c:v>
                </c:pt>
                <c:pt idx="52">
                  <c:v>0.84710976672014815</c:v>
                </c:pt>
                <c:pt idx="53">
                  <c:v>0.85103722107354318</c:v>
                </c:pt>
                <c:pt idx="54">
                  <c:v>0.85490549020162898</c:v>
                </c:pt>
                <c:pt idx="55">
                  <c:v>0.85853830506381101</c:v>
                </c:pt>
                <c:pt idx="56">
                  <c:v>0.86216404343166264</c:v>
                </c:pt>
                <c:pt idx="57">
                  <c:v>0.86563409892424459</c:v>
                </c:pt>
                <c:pt idx="58">
                  <c:v>0.86900508349620031</c:v>
                </c:pt>
                <c:pt idx="59">
                  <c:v>0.87237156484449119</c:v>
                </c:pt>
                <c:pt idx="60">
                  <c:v>0.87561710247149815</c:v>
                </c:pt>
                <c:pt idx="61">
                  <c:v>0.87881374795585843</c:v>
                </c:pt>
                <c:pt idx="62">
                  <c:v>0.88185728383561468</c:v>
                </c:pt>
                <c:pt idx="63">
                  <c:v>0.88481911837173766</c:v>
                </c:pt>
                <c:pt idx="64">
                  <c:v>0.88777451973119659</c:v>
                </c:pt>
                <c:pt idx="65">
                  <c:v>0.89070611833699853</c:v>
                </c:pt>
                <c:pt idx="66">
                  <c:v>0.89363514367213492</c:v>
                </c:pt>
                <c:pt idx="67">
                  <c:v>0.89654100957128069</c:v>
                </c:pt>
                <c:pt idx="68">
                  <c:v>0.89943658238776403</c:v>
                </c:pt>
                <c:pt idx="69">
                  <c:v>0.9022105681652971</c:v>
                </c:pt>
                <c:pt idx="70">
                  <c:v>0.90477290243058328</c:v>
                </c:pt>
                <c:pt idx="71">
                  <c:v>0.90731722380121016</c:v>
                </c:pt>
                <c:pt idx="72">
                  <c:v>0.90980557653485994</c:v>
                </c:pt>
                <c:pt idx="73">
                  <c:v>0.91229264263317689</c:v>
                </c:pt>
                <c:pt idx="74">
                  <c:v>0.914778422096161</c:v>
                </c:pt>
                <c:pt idx="75">
                  <c:v>0.91720694628683519</c:v>
                </c:pt>
                <c:pt idx="76">
                  <c:v>0.91957049539320257</c:v>
                </c:pt>
                <c:pt idx="77">
                  <c:v>0.92176742522397137</c:v>
                </c:pt>
                <c:pt idx="78">
                  <c:v>0.92386785740477961</c:v>
                </c:pt>
                <c:pt idx="79">
                  <c:v>0.92594834673792936</c:v>
                </c:pt>
                <c:pt idx="80">
                  <c:v>0.92795292458644352</c:v>
                </c:pt>
                <c:pt idx="81">
                  <c:v>0.92990796697464451</c:v>
                </c:pt>
                <c:pt idx="82">
                  <c:v>0.93181797712619729</c:v>
                </c:pt>
                <c:pt idx="83">
                  <c:v>0.93364435598111761</c:v>
                </c:pt>
                <c:pt idx="84">
                  <c:v>0.93546623161237308</c:v>
                </c:pt>
                <c:pt idx="85">
                  <c:v>0.93726945103130288</c:v>
                </c:pt>
                <c:pt idx="86">
                  <c:v>0.93903535802558125</c:v>
                </c:pt>
                <c:pt idx="87">
                  <c:v>0.94079933506686042</c:v>
                </c:pt>
                <c:pt idx="88">
                  <c:v>0.94248418403517187</c:v>
                </c:pt>
                <c:pt idx="89">
                  <c:v>0.94403586624653779</c:v>
                </c:pt>
                <c:pt idx="90">
                  <c:v>0.94549684066694073</c:v>
                </c:pt>
                <c:pt idx="91">
                  <c:v>0.94692886579235547</c:v>
                </c:pt>
                <c:pt idx="92">
                  <c:v>0.94835317110577344</c:v>
                </c:pt>
                <c:pt idx="93">
                  <c:v>0.94975689025386645</c:v>
                </c:pt>
                <c:pt idx="94">
                  <c:v>0.95113873660130177</c:v>
                </c:pt>
                <c:pt idx="95">
                  <c:v>0.95241121894544845</c:v>
                </c:pt>
                <c:pt idx="96">
                  <c:v>0.95364510222961085</c:v>
                </c:pt>
                <c:pt idx="97">
                  <c:v>0.95485904266611477</c:v>
                </c:pt>
                <c:pt idx="98">
                  <c:v>0.95605561352562574</c:v>
                </c:pt>
                <c:pt idx="99">
                  <c:v>0.9571801328064995</c:v>
                </c:pt>
                <c:pt idx="100">
                  <c:v>0.95829757559304285</c:v>
                </c:pt>
                <c:pt idx="101">
                  <c:v>0.95941308842658701</c:v>
                </c:pt>
                <c:pt idx="102">
                  <c:v>0.96051573490680309</c:v>
                </c:pt>
                <c:pt idx="103">
                  <c:v>0.96159329199802934</c:v>
                </c:pt>
                <c:pt idx="104">
                  <c:v>0.9626547661475956</c:v>
                </c:pt>
                <c:pt idx="105">
                  <c:v>0.96366863478984788</c:v>
                </c:pt>
                <c:pt idx="106">
                  <c:v>0.96464583432511519</c:v>
                </c:pt>
                <c:pt idx="107">
                  <c:v>0.96561853063671765</c:v>
                </c:pt>
                <c:pt idx="108">
                  <c:v>0.96656613755933041</c:v>
                </c:pt>
                <c:pt idx="109">
                  <c:v>0.9674950882696175</c:v>
                </c:pt>
                <c:pt idx="110">
                  <c:v>0.96839830627324841</c:v>
                </c:pt>
                <c:pt idx="111">
                  <c:v>0.96927450493489031</c:v>
                </c:pt>
                <c:pt idx="112">
                  <c:v>0.97013140406654008</c:v>
                </c:pt>
                <c:pt idx="113">
                  <c:v>0.97097994006852661</c:v>
                </c:pt>
                <c:pt idx="114">
                  <c:v>0.97179631018719304</c:v>
                </c:pt>
                <c:pt idx="115">
                  <c:v>0.97261010703519379</c:v>
                </c:pt>
                <c:pt idx="116">
                  <c:v>0.97339752785887201</c:v>
                </c:pt>
                <c:pt idx="117">
                  <c:v>0.97417529891755417</c:v>
                </c:pt>
                <c:pt idx="118">
                  <c:v>0.97494728011723863</c:v>
                </c:pt>
                <c:pt idx="119">
                  <c:v>0.9756922419749342</c:v>
                </c:pt>
                <c:pt idx="120">
                  <c:v>0.97643527387963058</c:v>
                </c:pt>
                <c:pt idx="121">
                  <c:v>0.97716801270166442</c:v>
                </c:pt>
                <c:pt idx="122">
                  <c:v>0.97786022251071492</c:v>
                </c:pt>
                <c:pt idx="123">
                  <c:v>0.97852412634244357</c:v>
                </c:pt>
                <c:pt idx="124">
                  <c:v>0.97917966704450898</c:v>
                </c:pt>
                <c:pt idx="125">
                  <c:v>0.97982298471091278</c:v>
                </c:pt>
                <c:pt idx="126">
                  <c:v>0.98046051251831889</c:v>
                </c:pt>
                <c:pt idx="127">
                  <c:v>0.98109739700805865</c:v>
                </c:pt>
                <c:pt idx="128">
                  <c:v>0.98171755523847193</c:v>
                </c:pt>
                <c:pt idx="129">
                  <c:v>0.98233642683355238</c:v>
                </c:pt>
                <c:pt idx="130">
                  <c:v>0.9829340689456415</c:v>
                </c:pt>
                <c:pt idx="131">
                  <c:v>0.98352720783406578</c:v>
                </c:pt>
                <c:pt idx="132">
                  <c:v>0.98411906008715722</c:v>
                </c:pt>
                <c:pt idx="133">
                  <c:v>0.98470898238724947</c:v>
                </c:pt>
                <c:pt idx="134">
                  <c:v>0.98527059871001998</c:v>
                </c:pt>
                <c:pt idx="135">
                  <c:v>0.98582449522079363</c:v>
                </c:pt>
                <c:pt idx="136">
                  <c:v>0.98636295210757363</c:v>
                </c:pt>
                <c:pt idx="137">
                  <c:v>0.98687631960536382</c:v>
                </c:pt>
                <c:pt idx="138">
                  <c:v>0.98736331107883146</c:v>
                </c:pt>
                <c:pt idx="139">
                  <c:v>0.98780591363331727</c:v>
                </c:pt>
                <c:pt idx="140">
                  <c:v>0.98823629315214134</c:v>
                </c:pt>
                <c:pt idx="141">
                  <c:v>0.98865959617663501</c:v>
                </c:pt>
                <c:pt idx="142">
                  <c:v>0.98908096924812949</c:v>
                </c:pt>
                <c:pt idx="143">
                  <c:v>0.98949912573129195</c:v>
                </c:pt>
                <c:pt idx="144">
                  <c:v>0.98989798268446227</c:v>
                </c:pt>
                <c:pt idx="145">
                  <c:v>0.9902968396376326</c:v>
                </c:pt>
                <c:pt idx="146">
                  <c:v>0.99068797677880605</c:v>
                </c:pt>
                <c:pt idx="147">
                  <c:v>0.9910771839669803</c:v>
                </c:pt>
                <c:pt idx="148">
                  <c:v>0.99145609807249213</c:v>
                </c:pt>
                <c:pt idx="149">
                  <c:v>0.9918324389073383</c:v>
                </c:pt>
                <c:pt idx="150">
                  <c:v>0.99220041661252123</c:v>
                </c:pt>
                <c:pt idx="151">
                  <c:v>0.99255552796437607</c:v>
                </c:pt>
                <c:pt idx="152">
                  <c:v>0.9929054927748997</c:v>
                </c:pt>
                <c:pt idx="153">
                  <c:v>0.99322200506677039</c:v>
                </c:pt>
                <c:pt idx="154">
                  <c:v>0.99350377820465519</c:v>
                </c:pt>
                <c:pt idx="155">
                  <c:v>0.99378297807187443</c:v>
                </c:pt>
                <c:pt idx="156">
                  <c:v>0.99405059822109842</c:v>
                </c:pt>
                <c:pt idx="157">
                  <c:v>0.99431371514665756</c:v>
                </c:pt>
                <c:pt idx="158">
                  <c:v>0.99457297216621832</c:v>
                </c:pt>
                <c:pt idx="159">
                  <c:v>0.99481228633812047</c:v>
                </c:pt>
                <c:pt idx="160">
                  <c:v>0.99504388069802585</c:v>
                </c:pt>
                <c:pt idx="161">
                  <c:v>0.99525360225727344</c:v>
                </c:pt>
                <c:pt idx="162">
                  <c:v>0.99546075054585548</c:v>
                </c:pt>
                <c:pt idx="163">
                  <c:v>0.99565889238710781</c:v>
                </c:pt>
                <c:pt idx="164">
                  <c:v>0.99583580474536881</c:v>
                </c:pt>
                <c:pt idx="165">
                  <c:v>0.99601078715063063</c:v>
                </c:pt>
                <c:pt idx="166">
                  <c:v>0.99617869306156204</c:v>
                </c:pt>
                <c:pt idx="167">
                  <c:v>0.99634080911349576</c:v>
                </c:pt>
                <c:pt idx="168">
                  <c:v>0.99650163853009666</c:v>
                </c:pt>
                <c:pt idx="169">
                  <c:v>0.99666246794669755</c:v>
                </c:pt>
                <c:pt idx="170">
                  <c:v>0.99682329736329844</c:v>
                </c:pt>
                <c:pt idx="171">
                  <c:v>0.99697512033256974</c:v>
                </c:pt>
                <c:pt idx="172">
                  <c:v>0.99712437003117538</c:v>
                </c:pt>
                <c:pt idx="173">
                  <c:v>0.99727297641211465</c:v>
                </c:pt>
                <c:pt idx="174">
                  <c:v>0.99742158279305393</c:v>
                </c:pt>
                <c:pt idx="175">
                  <c:v>0.99756825922099401</c:v>
                </c:pt>
                <c:pt idx="176">
                  <c:v>0.99770914578993641</c:v>
                </c:pt>
                <c:pt idx="177">
                  <c:v>0.99784874572354598</c:v>
                </c:pt>
                <c:pt idx="178">
                  <c:v>0.99798384243349081</c:v>
                </c:pt>
                <c:pt idx="179">
                  <c:v>0.99811636587276997</c:v>
                </c:pt>
                <c:pt idx="180">
                  <c:v>0.99824438608838428</c:v>
                </c:pt>
                <c:pt idx="181">
                  <c:v>0.9983704763509994</c:v>
                </c:pt>
                <c:pt idx="182">
                  <c:v>0.99848884680161765</c:v>
                </c:pt>
                <c:pt idx="183">
                  <c:v>0.99860207071090468</c:v>
                </c:pt>
                <c:pt idx="184">
                  <c:v>0.99871143471419332</c:v>
                </c:pt>
                <c:pt idx="185">
                  <c:v>0.99882015539981561</c:v>
                </c:pt>
                <c:pt idx="186">
                  <c:v>0.99892630281477224</c:v>
                </c:pt>
                <c:pt idx="187">
                  <c:v>0.99902730368839765</c:v>
                </c:pt>
                <c:pt idx="188">
                  <c:v>0.99911865479702699</c:v>
                </c:pt>
                <c:pt idx="189">
                  <c:v>0.99920871927032351</c:v>
                </c:pt>
                <c:pt idx="190">
                  <c:v>0.999295567155288</c:v>
                </c:pt>
                <c:pt idx="191">
                  <c:v>0.99937147863992359</c:v>
                </c:pt>
                <c:pt idx="192">
                  <c:v>0.99944481685389364</c:v>
                </c:pt>
                <c:pt idx="193">
                  <c:v>0.99950979193820044</c:v>
                </c:pt>
                <c:pt idx="194">
                  <c:v>0.99956769052817673</c:v>
                </c:pt>
                <c:pt idx="195">
                  <c:v>0.99962365916515383</c:v>
                </c:pt>
                <c:pt idx="196">
                  <c:v>0.99966933471946851</c:v>
                </c:pt>
                <c:pt idx="197">
                  <c:v>0.99971436695611682</c:v>
                </c:pt>
                <c:pt idx="198">
                  <c:v>0.99975875587509866</c:v>
                </c:pt>
                <c:pt idx="199">
                  <c:v>0.99980057152341495</c:v>
                </c:pt>
                <c:pt idx="200">
                  <c:v>0.99984238717173124</c:v>
                </c:pt>
                <c:pt idx="201">
                  <c:v>0.99988227286704823</c:v>
                </c:pt>
                <c:pt idx="202">
                  <c:v>0.99992151524469886</c:v>
                </c:pt>
                <c:pt idx="203">
                  <c:v>0.99995754103401746</c:v>
                </c:pt>
                <c:pt idx="204">
                  <c:v>0.99998005715234162</c:v>
                </c:pt>
                <c:pt idx="205">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0</c:f>
              <c:strCache>
                <c:ptCount val="209"/>
                <c:pt idx="0">
                  <c:v>Nicolas</c:v>
                </c:pt>
                <c:pt idx="1">
                  <c:v>Ruinart</c:v>
                </c:pt>
                <c:pt idx="2">
                  <c:v>Deutz</c:v>
                </c:pt>
                <c:pt idx="3">
                  <c:v>Ruinart</c:v>
                </c:pt>
                <c:pt idx="4">
                  <c:v>Ayala</c:v>
                </c:pt>
                <c:pt idx="5">
                  <c:v>Heidsieck &amp;</c:v>
                </c:pt>
                <c:pt idx="6">
                  <c:v>Ruinart</c:v>
                </c:pt>
                <c:pt idx="7">
                  <c:v>Canard Duch</c:v>
                </c:pt>
                <c:pt idx="8">
                  <c:v>Malard</c:v>
                </c:pt>
                <c:pt idx="9">
                  <c:v>De Bligny</c:v>
                </c:pt>
                <c:pt idx="10">
                  <c:v>Nicolas Feu</c:v>
                </c:pt>
                <c:pt idx="11">
                  <c:v>Deutz</c:v>
                </c:pt>
                <c:pt idx="12">
                  <c:v>Besserat De</c:v>
                </c:pt>
                <c:pt idx="13">
                  <c:v>Ruinart</c:v>
                </c:pt>
                <c:pt idx="14">
                  <c:v>Demoiselle</c:v>
                </c:pt>
                <c:pt idx="15">
                  <c:v>Laurent Per</c:v>
                </c:pt>
                <c:pt idx="16">
                  <c:v>Taittinger</c:v>
                </c:pt>
                <c:pt idx="17">
                  <c:v>Bollinger</c:v>
                </c:pt>
                <c:pt idx="18">
                  <c:v>Ruinart</c:v>
                </c:pt>
                <c:pt idx="19">
                  <c:v>Pommery</c:v>
                </c:pt>
                <c:pt idx="20">
                  <c:v>Nicolas</c:v>
                </c:pt>
                <c:pt idx="21">
                  <c:v>All Others</c:v>
                </c:pt>
                <c:pt idx="22">
                  <c:v>Perrier Jou</c:v>
                </c:pt>
                <c:pt idx="23">
                  <c:v>Ruinart</c:v>
                </c:pt>
                <c:pt idx="24">
                  <c:v>Laurent Per</c:v>
                </c:pt>
                <c:pt idx="25">
                  <c:v>Ruinart</c:v>
                </c:pt>
                <c:pt idx="26">
                  <c:v>Malard</c:v>
                </c:pt>
                <c:pt idx="27">
                  <c:v>Vesselle</c:v>
                </c:pt>
                <c:pt idx="28">
                  <c:v>Taittinger</c:v>
                </c:pt>
                <c:pt idx="29">
                  <c:v>Deutz</c:v>
                </c:pt>
                <c:pt idx="30">
                  <c:v>Dom Perigno</c:v>
                </c:pt>
                <c:pt idx="31">
                  <c:v>Nicolas</c:v>
                </c:pt>
                <c:pt idx="32">
                  <c:v>Moët &amp; Chan</c:v>
                </c:pt>
                <c:pt idx="33">
                  <c:v>Nicolas</c:v>
                </c:pt>
                <c:pt idx="34">
                  <c:v>Demoiselle</c:v>
                </c:pt>
                <c:pt idx="35">
                  <c:v>Bollinger</c:v>
                </c:pt>
                <c:pt idx="36">
                  <c:v>Laurent Per</c:v>
                </c:pt>
                <c:pt idx="37">
                  <c:v>Dom Perigno</c:v>
                </c:pt>
                <c:pt idx="38">
                  <c:v>De Venoge</c:v>
                </c:pt>
                <c:pt idx="39">
                  <c:v>Roederer</c:v>
                </c:pt>
                <c:pt idx="40">
                  <c:v>Roederer</c:v>
                </c:pt>
                <c:pt idx="41">
                  <c:v>Ruinart</c:v>
                </c:pt>
                <c:pt idx="42">
                  <c:v>Henriot</c:v>
                </c:pt>
                <c:pt idx="43">
                  <c:v>Nicolas Feu</c:v>
                </c:pt>
                <c:pt idx="44">
                  <c:v>Ruinart</c:v>
                </c:pt>
                <c:pt idx="45">
                  <c:v>Savian</c:v>
                </c:pt>
                <c:pt idx="46">
                  <c:v>Piper Heids</c:v>
                </c:pt>
                <c:pt idx="47">
                  <c:v>Lanson</c:v>
                </c:pt>
                <c:pt idx="48">
                  <c:v>Campari: Al</c:v>
                </c:pt>
                <c:pt idx="49">
                  <c:v>Veuve Clicq</c:v>
                </c:pt>
                <c:pt idx="50">
                  <c:v>De Venoge</c:v>
                </c:pt>
                <c:pt idx="51">
                  <c:v>All Others</c:v>
                </c:pt>
                <c:pt idx="52">
                  <c:v>Malard</c:v>
                </c:pt>
                <c:pt idx="53">
                  <c:v>Besserat De</c:v>
                </c:pt>
                <c:pt idx="54">
                  <c:v>Malard</c:v>
                </c:pt>
                <c:pt idx="55">
                  <c:v>Dom Perigno</c:v>
                </c:pt>
                <c:pt idx="56">
                  <c:v>Roederer</c:v>
                </c:pt>
                <c:pt idx="57">
                  <c:v>Veuve Clicq</c:v>
                </c:pt>
                <c:pt idx="58">
                  <c:v>Ayala</c:v>
                </c:pt>
                <c:pt idx="59">
                  <c:v>Vranken</c:v>
                </c:pt>
                <c:pt idx="60">
                  <c:v>Deutz</c:v>
                </c:pt>
                <c:pt idx="61">
                  <c:v>Nicolas Feu</c:v>
                </c:pt>
                <c:pt idx="62">
                  <c:v>Roederer</c:v>
                </c:pt>
                <c:pt idx="63">
                  <c:v>Krug</c:v>
                </c:pt>
                <c:pt idx="64">
                  <c:v>Veuve Clicq</c:v>
                </c:pt>
                <c:pt idx="65">
                  <c:v>All Others</c:v>
                </c:pt>
                <c:pt idx="66">
                  <c:v>Pommery</c:v>
                </c:pt>
                <c:pt idx="67">
                  <c:v>Canard Duch</c:v>
                </c:pt>
                <c:pt idx="68">
                  <c:v>Henriot</c:v>
                </c:pt>
                <c:pt idx="69">
                  <c:v>Moët &amp; Chan</c:v>
                </c:pt>
                <c:pt idx="70">
                  <c:v>Ruinart</c:v>
                </c:pt>
                <c:pt idx="71">
                  <c:v>Canard Duch</c:v>
                </c:pt>
                <c:pt idx="72">
                  <c:v>Nicolas Feu</c:v>
                </c:pt>
                <c:pt idx="73">
                  <c:v>Vranken</c:v>
                </c:pt>
                <c:pt idx="74">
                  <c:v>Besserat De</c:v>
                </c:pt>
                <c:pt idx="75">
                  <c:v>Campari: Al</c:v>
                </c:pt>
                <c:pt idx="76">
                  <c:v>Ruinart</c:v>
                </c:pt>
                <c:pt idx="77">
                  <c:v>Roederer</c:v>
                </c:pt>
                <c:pt idx="78">
                  <c:v>Canard Duch</c:v>
                </c:pt>
                <c:pt idx="79">
                  <c:v>De Bligny</c:v>
                </c:pt>
                <c:pt idx="80">
                  <c:v>Nicolas</c:v>
                </c:pt>
                <c:pt idx="81">
                  <c:v>Nicolas</c:v>
                </c:pt>
                <c:pt idx="82">
                  <c:v>Delamotte</c:v>
                </c:pt>
                <c:pt idx="83">
                  <c:v>Deutz</c:v>
                </c:pt>
                <c:pt idx="84">
                  <c:v>De Venoge</c:v>
                </c:pt>
                <c:pt idx="85">
                  <c:v>Henriot</c:v>
                </c:pt>
                <c:pt idx="86">
                  <c:v>Nicolas</c:v>
                </c:pt>
                <c:pt idx="87">
                  <c:v>Henriot</c:v>
                </c:pt>
                <c:pt idx="88">
                  <c:v>Laurent Per</c:v>
                </c:pt>
                <c:pt idx="89">
                  <c:v>Ruinart</c:v>
                </c:pt>
                <c:pt idx="90">
                  <c:v>Nicolas</c:v>
                </c:pt>
                <c:pt idx="91">
                  <c:v>All Others</c:v>
                </c:pt>
                <c:pt idx="92">
                  <c:v>Louis Marti</c:v>
                </c:pt>
                <c:pt idx="93">
                  <c:v>Laurent Per</c:v>
                </c:pt>
                <c:pt idx="94">
                  <c:v>Malard</c:v>
                </c:pt>
                <c:pt idx="95">
                  <c:v>Canard Duch</c:v>
                </c:pt>
                <c:pt idx="96">
                  <c:v>Malard</c:v>
                </c:pt>
                <c:pt idx="97">
                  <c:v>Ruinart</c:v>
                </c:pt>
                <c:pt idx="98">
                  <c:v>De Venoge</c:v>
                </c:pt>
                <c:pt idx="99">
                  <c:v>Veuve Clicq</c:v>
                </c:pt>
                <c:pt idx="100">
                  <c:v>Ruinart</c:v>
                </c:pt>
                <c:pt idx="101">
                  <c:v>Moët &amp; Chan</c:v>
                </c:pt>
                <c:pt idx="102">
                  <c:v>Deutz</c:v>
                </c:pt>
                <c:pt idx="103">
                  <c:v>Ruinart</c:v>
                </c:pt>
                <c:pt idx="104">
                  <c:v>Besserat De</c:v>
                </c:pt>
                <c:pt idx="105">
                  <c:v>All Others</c:v>
                </c:pt>
                <c:pt idx="106">
                  <c:v>Nicolas</c:v>
                </c:pt>
                <c:pt idx="107">
                  <c:v>All Others</c:v>
                </c:pt>
                <c:pt idx="108">
                  <c:v>Dom Perigno</c:v>
                </c:pt>
                <c:pt idx="109">
                  <c:v>Roederer</c:v>
                </c:pt>
                <c:pt idx="110">
                  <c:v>Canard Duch</c:v>
                </c:pt>
                <c:pt idx="111">
                  <c:v>Nicolas</c:v>
                </c:pt>
                <c:pt idx="112">
                  <c:v>Roederer</c:v>
                </c:pt>
                <c:pt idx="113">
                  <c:v>Roederer</c:v>
                </c:pt>
                <c:pt idx="114">
                  <c:v>Deutz</c:v>
                </c:pt>
                <c:pt idx="115">
                  <c:v>Canard Duch</c:v>
                </c:pt>
                <c:pt idx="116">
                  <c:v>Nicolas</c:v>
                </c:pt>
                <c:pt idx="117">
                  <c:v>Vranken</c:v>
                </c:pt>
                <c:pt idx="118">
                  <c:v>Nicolas</c:v>
                </c:pt>
                <c:pt idx="119">
                  <c:v>Nicolas</c:v>
                </c:pt>
                <c:pt idx="120">
                  <c:v>Roederer</c:v>
                </c:pt>
                <c:pt idx="121">
                  <c:v>Nicolas</c:v>
                </c:pt>
                <c:pt idx="122">
                  <c:v>Bollinger</c:v>
                </c:pt>
                <c:pt idx="123">
                  <c:v>Nicolas</c:v>
                </c:pt>
                <c:pt idx="124">
                  <c:v>Roederer</c:v>
                </c:pt>
                <c:pt idx="125">
                  <c:v>All Others</c:v>
                </c:pt>
                <c:pt idx="126">
                  <c:v>Perrier Jou</c:v>
                </c:pt>
                <c:pt idx="127">
                  <c:v>Nicolas Feu</c:v>
                </c:pt>
                <c:pt idx="128">
                  <c:v>Demoiselle</c:v>
                </c:pt>
                <c:pt idx="129">
                  <c:v>Pommery</c:v>
                </c:pt>
                <c:pt idx="130">
                  <c:v>Roederer</c:v>
                </c:pt>
                <c:pt idx="131">
                  <c:v>Demoiselle</c:v>
                </c:pt>
                <c:pt idx="132">
                  <c:v>Bollinger</c:v>
                </c:pt>
                <c:pt idx="133">
                  <c:v>Moët &amp; Chan</c:v>
                </c:pt>
                <c:pt idx="134">
                  <c:v>De Venoge</c:v>
                </c:pt>
                <c:pt idx="135">
                  <c:v>Pommery</c:v>
                </c:pt>
                <c:pt idx="136">
                  <c:v>Moët &amp; Chan</c:v>
                </c:pt>
                <c:pt idx="137">
                  <c:v>Roederer</c:v>
                </c:pt>
                <c:pt idx="138">
                  <c:v>Taittinger</c:v>
                </c:pt>
                <c:pt idx="139">
                  <c:v>Ruinart</c:v>
                </c:pt>
                <c:pt idx="140">
                  <c:v>Bollinger</c:v>
                </c:pt>
                <c:pt idx="141">
                  <c:v>Vesselle</c:v>
                </c:pt>
                <c:pt idx="142">
                  <c:v>Ruinart</c:v>
                </c:pt>
                <c:pt idx="143">
                  <c:v>Vesselle</c:v>
                </c:pt>
                <c:pt idx="144">
                  <c:v>Louis Marti</c:v>
                </c:pt>
                <c:pt idx="145">
                  <c:v>Lanson</c:v>
                </c:pt>
                <c:pt idx="146">
                  <c:v>Nicolas</c:v>
                </c:pt>
                <c:pt idx="147">
                  <c:v>Roederer</c:v>
                </c:pt>
                <c:pt idx="148">
                  <c:v>All Others</c:v>
                </c:pt>
                <c:pt idx="149">
                  <c:v>Pommery</c:v>
                </c:pt>
                <c:pt idx="150">
                  <c:v>Bollinger</c:v>
                </c:pt>
                <c:pt idx="151">
                  <c:v>Deutz</c:v>
                </c:pt>
                <c:pt idx="152">
                  <c:v>Nicolas</c:v>
                </c:pt>
                <c:pt idx="153">
                  <c:v>Nicolas</c:v>
                </c:pt>
                <c:pt idx="154">
                  <c:v>Delamotte</c:v>
                </c:pt>
                <c:pt idx="155">
                  <c:v>All Others</c:v>
                </c:pt>
                <c:pt idx="156">
                  <c:v>Nicolas</c:v>
                </c:pt>
                <c:pt idx="157">
                  <c:v>Pommery</c:v>
                </c:pt>
                <c:pt idx="158">
                  <c:v>Laurent Per</c:v>
                </c:pt>
                <c:pt idx="159">
                  <c:v>Roederer</c:v>
                </c:pt>
                <c:pt idx="160">
                  <c:v>De Venoge</c:v>
                </c:pt>
                <c:pt idx="161">
                  <c:v>All Others</c:v>
                </c:pt>
                <c:pt idx="162">
                  <c:v>Taittinger</c:v>
                </c:pt>
                <c:pt idx="163">
                  <c:v>All Others</c:v>
                </c:pt>
                <c:pt idx="164">
                  <c:v>Besserat De</c:v>
                </c:pt>
                <c:pt idx="165">
                  <c:v>All Others</c:v>
                </c:pt>
                <c:pt idx="166">
                  <c:v>Besserat De</c:v>
                </c:pt>
                <c:pt idx="167">
                  <c:v>Nicolas</c:v>
                </c:pt>
                <c:pt idx="168">
                  <c:v>Martel</c:v>
                </c:pt>
                <c:pt idx="169">
                  <c:v>De Venoge</c:v>
                </c:pt>
                <c:pt idx="170">
                  <c:v>Deutz</c:v>
                </c:pt>
                <c:pt idx="171">
                  <c:v>Deutz</c:v>
                </c:pt>
                <c:pt idx="172">
                  <c:v>Roederer</c:v>
                </c:pt>
                <c:pt idx="173">
                  <c:v>Piper Heids</c:v>
                </c:pt>
                <c:pt idx="174">
                  <c:v>Roederer</c:v>
                </c:pt>
                <c:pt idx="175">
                  <c:v>Veuve Clicq</c:v>
                </c:pt>
                <c:pt idx="176">
                  <c:v>All Others</c:v>
                </c:pt>
                <c:pt idx="177">
                  <c:v>De Venoge</c:v>
                </c:pt>
                <c:pt idx="178">
                  <c:v>Henriot</c:v>
                </c:pt>
                <c:pt idx="179">
                  <c:v>Bollinger</c:v>
                </c:pt>
                <c:pt idx="180">
                  <c:v>Piper Heids</c:v>
                </c:pt>
                <c:pt idx="181">
                  <c:v>Ayala</c:v>
                </c:pt>
                <c:pt idx="182">
                  <c:v>All Others</c:v>
                </c:pt>
                <c:pt idx="183">
                  <c:v>All Others</c:v>
                </c:pt>
                <c:pt idx="184">
                  <c:v>Bollinger</c:v>
                </c:pt>
                <c:pt idx="185">
                  <c:v>Henriot</c:v>
                </c:pt>
                <c:pt idx="186">
                  <c:v>Laurent Per</c:v>
                </c:pt>
                <c:pt idx="187">
                  <c:v>Canard Duch</c:v>
                </c:pt>
                <c:pt idx="188">
                  <c:v>All Others</c:v>
                </c:pt>
                <c:pt idx="189">
                  <c:v>Laurent Per</c:v>
                </c:pt>
                <c:pt idx="190">
                  <c:v>Nicolas</c:v>
                </c:pt>
                <c:pt idx="191">
                  <c:v>Laurent Per</c:v>
                </c:pt>
                <c:pt idx="192">
                  <c:v>De Bligny</c:v>
                </c:pt>
                <c:pt idx="193">
                  <c:v>Pommery</c:v>
                </c:pt>
                <c:pt idx="194">
                  <c:v>Moët &amp; Chan</c:v>
                </c:pt>
                <c:pt idx="195">
                  <c:v>Laurent Per</c:v>
                </c:pt>
                <c:pt idx="196">
                  <c:v>All Others</c:v>
                </c:pt>
                <c:pt idx="197">
                  <c:v>Demoiselle</c:v>
                </c:pt>
                <c:pt idx="198">
                  <c:v>Nicolas Feu</c:v>
                </c:pt>
                <c:pt idx="199">
                  <c:v>Malard</c:v>
                </c:pt>
                <c:pt idx="200">
                  <c:v>Malard</c:v>
                </c:pt>
                <c:pt idx="201">
                  <c:v>Lanson</c:v>
                </c:pt>
                <c:pt idx="202">
                  <c:v>All Others</c:v>
                </c:pt>
                <c:pt idx="203">
                  <c:v>Besserat De</c:v>
                </c:pt>
                <c:pt idx="204">
                  <c:v>All Others</c:v>
                </c:pt>
                <c:pt idx="205">
                  <c:v>Pommery</c:v>
                </c:pt>
                <c:pt idx="206">
                  <c:v>Roederer</c:v>
                </c:pt>
                <c:pt idx="207">
                  <c:v>Vesselle</c:v>
                </c:pt>
                <c:pt idx="208">
                  <c:v>Nicolas</c:v>
                </c:pt>
              </c:strCache>
            </c:strRef>
          </c:cat>
          <c:val>
            <c:numRef>
              <c:f>Sheet1!$B$2:$B$210</c:f>
              <c:numCache>
                <c:formatCode>General</c:formatCode>
                <c:ptCount val="209"/>
                <c:pt idx="0">
                  <c:v>1</c:v>
                </c:pt>
                <c:pt idx="1">
                  <c:v>1</c:v>
                </c:pt>
                <c:pt idx="2">
                  <c:v>0.97</c:v>
                </c:pt>
                <c:pt idx="3">
                  <c:v>0.82</c:v>
                </c:pt>
                <c:pt idx="4">
                  <c:v>0.98</c:v>
                </c:pt>
                <c:pt idx="5">
                  <c:v>0.9</c:v>
                </c:pt>
                <c:pt idx="6">
                  <c:v>0.65</c:v>
                </c:pt>
                <c:pt idx="7">
                  <c:v>1</c:v>
                </c:pt>
                <c:pt idx="8">
                  <c:v>1</c:v>
                </c:pt>
                <c:pt idx="9">
                  <c:v>0.98</c:v>
                </c:pt>
                <c:pt idx="10">
                  <c:v>0.89</c:v>
                </c:pt>
                <c:pt idx="11">
                  <c:v>0.71</c:v>
                </c:pt>
                <c:pt idx="12">
                  <c:v>0.91</c:v>
                </c:pt>
                <c:pt idx="13">
                  <c:v>0.72</c:v>
                </c:pt>
                <c:pt idx="14">
                  <c:v>0.89</c:v>
                </c:pt>
                <c:pt idx="15">
                  <c:v>0.83</c:v>
                </c:pt>
                <c:pt idx="16">
                  <c:v>0.92</c:v>
                </c:pt>
                <c:pt idx="17">
                  <c:v>0.91</c:v>
                </c:pt>
                <c:pt idx="18">
                  <c:v>0.43</c:v>
                </c:pt>
                <c:pt idx="19">
                  <c:v>0.89</c:v>
                </c:pt>
                <c:pt idx="20">
                  <c:v>0.65</c:v>
                </c:pt>
                <c:pt idx="21">
                  <c:v>0.88</c:v>
                </c:pt>
                <c:pt idx="22">
                  <c:v>0.84</c:v>
                </c:pt>
                <c:pt idx="23">
                  <c:v>0.38</c:v>
                </c:pt>
                <c:pt idx="24">
                  <c:v>0.71</c:v>
                </c:pt>
                <c:pt idx="25">
                  <c:v>0.64</c:v>
                </c:pt>
                <c:pt idx="26">
                  <c:v>0.67</c:v>
                </c:pt>
                <c:pt idx="27">
                  <c:v>0.64</c:v>
                </c:pt>
                <c:pt idx="28">
                  <c:v>0.69</c:v>
                </c:pt>
                <c:pt idx="29">
                  <c:v>0.56000000000000005</c:v>
                </c:pt>
                <c:pt idx="30">
                  <c:v>0.31</c:v>
                </c:pt>
                <c:pt idx="31">
                  <c:v>0.71</c:v>
                </c:pt>
                <c:pt idx="32">
                  <c:v>0.62</c:v>
                </c:pt>
                <c:pt idx="33">
                  <c:v>0.87</c:v>
                </c:pt>
                <c:pt idx="34">
                  <c:v>0.61</c:v>
                </c:pt>
                <c:pt idx="35">
                  <c:v>0.39</c:v>
                </c:pt>
                <c:pt idx="36">
                  <c:v>0.35</c:v>
                </c:pt>
                <c:pt idx="37">
                  <c:v>0.31</c:v>
                </c:pt>
                <c:pt idx="38">
                  <c:v>0.75</c:v>
                </c:pt>
                <c:pt idx="39">
                  <c:v>0.51</c:v>
                </c:pt>
                <c:pt idx="40">
                  <c:v>0.45</c:v>
                </c:pt>
                <c:pt idx="41">
                  <c:v>0.2</c:v>
                </c:pt>
                <c:pt idx="42">
                  <c:v>0.55000000000000004</c:v>
                </c:pt>
                <c:pt idx="43">
                  <c:v>0.56000000000000005</c:v>
                </c:pt>
                <c:pt idx="44">
                  <c:v>0.64</c:v>
                </c:pt>
                <c:pt idx="45">
                  <c:v>0.52</c:v>
                </c:pt>
                <c:pt idx="46">
                  <c:v>0.63</c:v>
                </c:pt>
                <c:pt idx="47">
                  <c:v>0.59</c:v>
                </c:pt>
                <c:pt idx="48">
                  <c:v>0.54</c:v>
                </c:pt>
                <c:pt idx="49">
                  <c:v>0.5</c:v>
                </c:pt>
                <c:pt idx="50">
                  <c:v>0.3</c:v>
                </c:pt>
                <c:pt idx="51">
                  <c:v>0.55000000000000004</c:v>
                </c:pt>
                <c:pt idx="52">
                  <c:v>0.5</c:v>
                </c:pt>
                <c:pt idx="53">
                  <c:v>0.51</c:v>
                </c:pt>
                <c:pt idx="54">
                  <c:v>0.66</c:v>
                </c:pt>
                <c:pt idx="55">
                  <c:v>0.19</c:v>
                </c:pt>
                <c:pt idx="56">
                  <c:v>0.35</c:v>
                </c:pt>
                <c:pt idx="57">
                  <c:v>0.46</c:v>
                </c:pt>
                <c:pt idx="58">
                  <c:v>0.6</c:v>
                </c:pt>
                <c:pt idx="59">
                  <c:v>0.31</c:v>
                </c:pt>
                <c:pt idx="60">
                  <c:v>0.72</c:v>
                </c:pt>
                <c:pt idx="61">
                  <c:v>0.49</c:v>
                </c:pt>
                <c:pt idx="62">
                  <c:v>0.17</c:v>
                </c:pt>
                <c:pt idx="63">
                  <c:v>0.21</c:v>
                </c:pt>
                <c:pt idx="64">
                  <c:v>0.39</c:v>
                </c:pt>
                <c:pt idx="65">
                  <c:v>0.42</c:v>
                </c:pt>
                <c:pt idx="66">
                  <c:v>0.4</c:v>
                </c:pt>
                <c:pt idx="67">
                  <c:v>0.33</c:v>
                </c:pt>
                <c:pt idx="68">
                  <c:v>0.46</c:v>
                </c:pt>
                <c:pt idx="69">
                  <c:v>0.36</c:v>
                </c:pt>
                <c:pt idx="70">
                  <c:v>0.32</c:v>
                </c:pt>
                <c:pt idx="71">
                  <c:v>0.28000000000000003</c:v>
                </c:pt>
                <c:pt idx="72">
                  <c:v>0.51</c:v>
                </c:pt>
                <c:pt idx="73">
                  <c:v>0.24</c:v>
                </c:pt>
                <c:pt idx="74">
                  <c:v>0.49</c:v>
                </c:pt>
                <c:pt idx="75">
                  <c:v>0.48</c:v>
                </c:pt>
                <c:pt idx="76">
                  <c:v>0.56999999999999995</c:v>
                </c:pt>
                <c:pt idx="77">
                  <c:v>0.27</c:v>
                </c:pt>
                <c:pt idx="78">
                  <c:v>0.72</c:v>
                </c:pt>
                <c:pt idx="79">
                  <c:v>0.49</c:v>
                </c:pt>
                <c:pt idx="80">
                  <c:v>0.4</c:v>
                </c:pt>
                <c:pt idx="81">
                  <c:v>0.45</c:v>
                </c:pt>
                <c:pt idx="82">
                  <c:v>0.26</c:v>
                </c:pt>
                <c:pt idx="83">
                  <c:v>0.21</c:v>
                </c:pt>
                <c:pt idx="84">
                  <c:v>0.28000000000000003</c:v>
                </c:pt>
                <c:pt idx="85">
                  <c:v>0.51</c:v>
                </c:pt>
                <c:pt idx="86">
                  <c:v>0.35</c:v>
                </c:pt>
                <c:pt idx="87">
                  <c:v>0.46</c:v>
                </c:pt>
                <c:pt idx="88">
                  <c:v>0.21</c:v>
                </c:pt>
                <c:pt idx="89">
                  <c:v>0.21</c:v>
                </c:pt>
                <c:pt idx="90">
                  <c:v>0.43</c:v>
                </c:pt>
                <c:pt idx="91">
                  <c:v>0.35</c:v>
                </c:pt>
                <c:pt idx="92">
                  <c:v>0.34</c:v>
                </c:pt>
                <c:pt idx="93">
                  <c:v>0.3</c:v>
                </c:pt>
                <c:pt idx="94">
                  <c:v>0.41</c:v>
                </c:pt>
                <c:pt idx="95">
                  <c:v>0.26</c:v>
                </c:pt>
                <c:pt idx="96">
                  <c:v>0.37</c:v>
                </c:pt>
                <c:pt idx="97">
                  <c:v>0.37</c:v>
                </c:pt>
                <c:pt idx="98">
                  <c:v>0.41</c:v>
                </c:pt>
                <c:pt idx="99">
                  <c:v>0.26</c:v>
                </c:pt>
                <c:pt idx="100">
                  <c:v>0.2</c:v>
                </c:pt>
                <c:pt idx="101">
                  <c:v>0.28000000000000003</c:v>
                </c:pt>
                <c:pt idx="102">
                  <c:v>0.49</c:v>
                </c:pt>
                <c:pt idx="103">
                  <c:v>0.15</c:v>
                </c:pt>
                <c:pt idx="104">
                  <c:v>0.37</c:v>
                </c:pt>
                <c:pt idx="105">
                  <c:v>0.18</c:v>
                </c:pt>
                <c:pt idx="106">
                  <c:v>0.28000000000000003</c:v>
                </c:pt>
                <c:pt idx="107">
                  <c:v>0.12</c:v>
                </c:pt>
                <c:pt idx="108">
                  <c:v>0.15</c:v>
                </c:pt>
                <c:pt idx="109">
                  <c:v>0.15</c:v>
                </c:pt>
                <c:pt idx="110">
                  <c:v>0.3</c:v>
                </c:pt>
                <c:pt idx="111">
                  <c:v>0.28000000000000003</c:v>
                </c:pt>
                <c:pt idx="112">
                  <c:v>0.16</c:v>
                </c:pt>
                <c:pt idx="113">
                  <c:v>0.27</c:v>
                </c:pt>
                <c:pt idx="114">
                  <c:v>0.08</c:v>
                </c:pt>
                <c:pt idx="115">
                  <c:v>0.14000000000000001</c:v>
                </c:pt>
                <c:pt idx="116">
                  <c:v>0.3</c:v>
                </c:pt>
                <c:pt idx="117">
                  <c:v>0.15</c:v>
                </c:pt>
                <c:pt idx="118">
                  <c:v>0.34</c:v>
                </c:pt>
                <c:pt idx="119">
                  <c:v>0.17</c:v>
                </c:pt>
                <c:pt idx="120">
                  <c:v>0.2</c:v>
                </c:pt>
                <c:pt idx="121">
                  <c:v>0.19</c:v>
                </c:pt>
                <c:pt idx="122">
                  <c:v>0.24</c:v>
                </c:pt>
                <c:pt idx="123">
                  <c:v>0.27</c:v>
                </c:pt>
                <c:pt idx="124">
                  <c:v>0.18</c:v>
                </c:pt>
                <c:pt idx="125">
                  <c:v>0.26</c:v>
                </c:pt>
                <c:pt idx="126">
                  <c:v>0.18</c:v>
                </c:pt>
                <c:pt idx="127">
                  <c:v>0.28000000000000003</c:v>
                </c:pt>
                <c:pt idx="128">
                  <c:v>0.2</c:v>
                </c:pt>
                <c:pt idx="129">
                  <c:v>0.25</c:v>
                </c:pt>
                <c:pt idx="130">
                  <c:v>0.15</c:v>
                </c:pt>
                <c:pt idx="131">
                  <c:v>0.3</c:v>
                </c:pt>
                <c:pt idx="132">
                  <c:v>0.18</c:v>
                </c:pt>
                <c:pt idx="133">
                  <c:v>0.18</c:v>
                </c:pt>
                <c:pt idx="134">
                  <c:v>0.18</c:v>
                </c:pt>
                <c:pt idx="135">
                  <c:v>0.13</c:v>
                </c:pt>
                <c:pt idx="136">
                  <c:v>0.2</c:v>
                </c:pt>
                <c:pt idx="137">
                  <c:v>0.24</c:v>
                </c:pt>
                <c:pt idx="138">
                  <c:v>0.12</c:v>
                </c:pt>
                <c:pt idx="139">
                  <c:v>0.13</c:v>
                </c:pt>
                <c:pt idx="140">
                  <c:v>0.21</c:v>
                </c:pt>
                <c:pt idx="141">
                  <c:v>0.31</c:v>
                </c:pt>
                <c:pt idx="142">
                  <c:v>0.19</c:v>
                </c:pt>
                <c:pt idx="143">
                  <c:v>0.15</c:v>
                </c:pt>
                <c:pt idx="144">
                  <c:v>0.32</c:v>
                </c:pt>
                <c:pt idx="145">
                  <c:v>0.1</c:v>
                </c:pt>
                <c:pt idx="146">
                  <c:v>0.17</c:v>
                </c:pt>
                <c:pt idx="147">
                  <c:v>0.15</c:v>
                </c:pt>
                <c:pt idx="148">
                  <c:v>0.09</c:v>
                </c:pt>
                <c:pt idx="149">
                  <c:v>0.15</c:v>
                </c:pt>
                <c:pt idx="150">
                  <c:v>0.06</c:v>
                </c:pt>
                <c:pt idx="151">
                  <c:v>0.14000000000000001</c:v>
                </c:pt>
                <c:pt idx="152">
                  <c:v>0.1</c:v>
                </c:pt>
                <c:pt idx="153">
                  <c:v>0.15</c:v>
                </c:pt>
                <c:pt idx="154">
                  <c:v>0.16</c:v>
                </c:pt>
                <c:pt idx="155">
                  <c:v>0.15</c:v>
                </c:pt>
                <c:pt idx="156">
                  <c:v>7.0000000000000007E-2</c:v>
                </c:pt>
                <c:pt idx="157">
                  <c:v>0.26</c:v>
                </c:pt>
                <c:pt idx="158">
                  <c:v>0.1</c:v>
                </c:pt>
                <c:pt idx="159">
                  <c:v>0.19</c:v>
                </c:pt>
                <c:pt idx="160">
                  <c:v>0.18</c:v>
                </c:pt>
                <c:pt idx="161">
                  <c:v>0.08</c:v>
                </c:pt>
                <c:pt idx="162">
                  <c:v>0.13</c:v>
                </c:pt>
                <c:pt idx="163">
                  <c:v>7.0000000000000007E-2</c:v>
                </c:pt>
                <c:pt idx="164">
                  <c:v>0.14000000000000001</c:v>
                </c:pt>
                <c:pt idx="165">
                  <c:v>7.0000000000000007E-2</c:v>
                </c:pt>
                <c:pt idx="166">
                  <c:v>0.14000000000000001</c:v>
                </c:pt>
                <c:pt idx="167">
                  <c:v>0.12</c:v>
                </c:pt>
                <c:pt idx="168">
                  <c:v>0.12</c:v>
                </c:pt>
                <c:pt idx="169">
                  <c:v>0.04</c:v>
                </c:pt>
                <c:pt idx="170">
                  <c:v>0.05</c:v>
                </c:pt>
                <c:pt idx="171">
                  <c:v>0.04</c:v>
                </c:pt>
                <c:pt idx="172">
                  <c:v>0.13</c:v>
                </c:pt>
                <c:pt idx="173">
                  <c:v>0.19</c:v>
                </c:pt>
                <c:pt idx="174">
                  <c:v>0.09</c:v>
                </c:pt>
                <c:pt idx="175">
                  <c:v>0.12</c:v>
                </c:pt>
                <c:pt idx="176">
                  <c:v>0.04</c:v>
                </c:pt>
                <c:pt idx="177">
                  <c:v>0.11</c:v>
                </c:pt>
                <c:pt idx="178">
                  <c:v>7.0000000000000007E-2</c:v>
                </c:pt>
                <c:pt idx="179">
                  <c:v>0.06</c:v>
                </c:pt>
                <c:pt idx="180">
                  <c:v>0.12</c:v>
                </c:pt>
                <c:pt idx="181">
                  <c:v>7.0000000000000007E-2</c:v>
                </c:pt>
                <c:pt idx="182">
                  <c:v>0.05</c:v>
                </c:pt>
                <c:pt idx="183">
                  <c:v>0.08</c:v>
                </c:pt>
                <c:pt idx="184">
                  <c:v>7.0000000000000007E-2</c:v>
                </c:pt>
                <c:pt idx="185">
                  <c:v>0.06</c:v>
                </c:pt>
                <c:pt idx="186">
                  <c:v>7.0000000000000007E-2</c:v>
                </c:pt>
                <c:pt idx="187">
                  <c:v>0.11</c:v>
                </c:pt>
                <c:pt idx="188">
                  <c:v>0.12</c:v>
                </c:pt>
                <c:pt idx="189">
                  <c:v>0.06</c:v>
                </c:pt>
                <c:pt idx="190">
                  <c:v>0.11</c:v>
                </c:pt>
                <c:pt idx="191">
                  <c:v>0.1</c:v>
                </c:pt>
                <c:pt idx="192">
                  <c:v>0.1</c:v>
                </c:pt>
                <c:pt idx="193">
                  <c:v>0.14000000000000001</c:v>
                </c:pt>
                <c:pt idx="194">
                  <c:v>0.12</c:v>
                </c:pt>
                <c:pt idx="195">
                  <c:v>0.08</c:v>
                </c:pt>
                <c:pt idx="196">
                  <c:v>0.08</c:v>
                </c:pt>
                <c:pt idx="197">
                  <c:v>0.13</c:v>
                </c:pt>
                <c:pt idx="198">
                  <c:v>7.0000000000000007E-2</c:v>
                </c:pt>
                <c:pt idx="199">
                  <c:v>0.04</c:v>
                </c:pt>
                <c:pt idx="200">
                  <c:v>0.06</c:v>
                </c:pt>
                <c:pt idx="201">
                  <c:v>7.0000000000000007E-2</c:v>
                </c:pt>
                <c:pt idx="202">
                  <c:v>0.06</c:v>
                </c:pt>
                <c:pt idx="203">
                  <c:v>0.03</c:v>
                </c:pt>
                <c:pt idx="204">
                  <c:v>0.05</c:v>
                </c:pt>
                <c:pt idx="205">
                  <c:v>0.06</c:v>
                </c:pt>
                <c:pt idx="206">
                  <c:v>0.08</c:v>
                </c:pt>
                <c:pt idx="207">
                  <c:v>0.06</c:v>
                </c:pt>
                <c:pt idx="208">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0</c:f>
              <c:strCache>
                <c:ptCount val="209"/>
                <c:pt idx="0">
                  <c:v>Nicolas</c:v>
                </c:pt>
                <c:pt idx="1">
                  <c:v>Ruinart</c:v>
                </c:pt>
                <c:pt idx="2">
                  <c:v>Deutz</c:v>
                </c:pt>
                <c:pt idx="3">
                  <c:v>Ruinart</c:v>
                </c:pt>
                <c:pt idx="4">
                  <c:v>Ayala</c:v>
                </c:pt>
                <c:pt idx="5">
                  <c:v>Heidsieck &amp;</c:v>
                </c:pt>
                <c:pt idx="6">
                  <c:v>Ruinart</c:v>
                </c:pt>
                <c:pt idx="7">
                  <c:v>Canard Duch</c:v>
                </c:pt>
                <c:pt idx="8">
                  <c:v>Malard</c:v>
                </c:pt>
                <c:pt idx="9">
                  <c:v>De Bligny</c:v>
                </c:pt>
                <c:pt idx="10">
                  <c:v>Nicolas Feu</c:v>
                </c:pt>
                <c:pt idx="11">
                  <c:v>Deutz</c:v>
                </c:pt>
                <c:pt idx="12">
                  <c:v>Besserat De</c:v>
                </c:pt>
                <c:pt idx="13">
                  <c:v>Ruinart</c:v>
                </c:pt>
                <c:pt idx="14">
                  <c:v>Demoiselle</c:v>
                </c:pt>
                <c:pt idx="15">
                  <c:v>Laurent Per</c:v>
                </c:pt>
                <c:pt idx="16">
                  <c:v>Taittinger</c:v>
                </c:pt>
                <c:pt idx="17">
                  <c:v>Bollinger</c:v>
                </c:pt>
                <c:pt idx="18">
                  <c:v>Ruinart</c:v>
                </c:pt>
                <c:pt idx="19">
                  <c:v>Pommery</c:v>
                </c:pt>
                <c:pt idx="20">
                  <c:v>Nicolas</c:v>
                </c:pt>
                <c:pt idx="21">
                  <c:v>All Others</c:v>
                </c:pt>
                <c:pt idx="22">
                  <c:v>Perrier Jou</c:v>
                </c:pt>
                <c:pt idx="23">
                  <c:v>Ruinart</c:v>
                </c:pt>
                <c:pt idx="24">
                  <c:v>Laurent Per</c:v>
                </c:pt>
                <c:pt idx="25">
                  <c:v>Ruinart</c:v>
                </c:pt>
                <c:pt idx="26">
                  <c:v>Malard</c:v>
                </c:pt>
                <c:pt idx="27">
                  <c:v>Vesselle</c:v>
                </c:pt>
                <c:pt idx="28">
                  <c:v>Taittinger</c:v>
                </c:pt>
                <c:pt idx="29">
                  <c:v>Deutz</c:v>
                </c:pt>
                <c:pt idx="30">
                  <c:v>Dom Perigno</c:v>
                </c:pt>
                <c:pt idx="31">
                  <c:v>Nicolas</c:v>
                </c:pt>
                <c:pt idx="32">
                  <c:v>Moët &amp; Chan</c:v>
                </c:pt>
                <c:pt idx="33">
                  <c:v>Nicolas</c:v>
                </c:pt>
                <c:pt idx="34">
                  <c:v>Demoiselle</c:v>
                </c:pt>
                <c:pt idx="35">
                  <c:v>Bollinger</c:v>
                </c:pt>
                <c:pt idx="36">
                  <c:v>Laurent Per</c:v>
                </c:pt>
                <c:pt idx="37">
                  <c:v>Dom Perigno</c:v>
                </c:pt>
                <c:pt idx="38">
                  <c:v>De Venoge</c:v>
                </c:pt>
                <c:pt idx="39">
                  <c:v>Roederer</c:v>
                </c:pt>
                <c:pt idx="40">
                  <c:v>Roederer</c:v>
                </c:pt>
                <c:pt idx="41">
                  <c:v>Ruinart</c:v>
                </c:pt>
                <c:pt idx="42">
                  <c:v>Henriot</c:v>
                </c:pt>
                <c:pt idx="43">
                  <c:v>Nicolas Feu</c:v>
                </c:pt>
                <c:pt idx="44">
                  <c:v>Ruinart</c:v>
                </c:pt>
                <c:pt idx="45">
                  <c:v>Savian</c:v>
                </c:pt>
                <c:pt idx="46">
                  <c:v>Piper Heids</c:v>
                </c:pt>
                <c:pt idx="47">
                  <c:v>Lanson</c:v>
                </c:pt>
                <c:pt idx="48">
                  <c:v>Campari: Al</c:v>
                </c:pt>
                <c:pt idx="49">
                  <c:v>Veuve Clicq</c:v>
                </c:pt>
                <c:pt idx="50">
                  <c:v>De Venoge</c:v>
                </c:pt>
                <c:pt idx="51">
                  <c:v>All Others</c:v>
                </c:pt>
                <c:pt idx="52">
                  <c:v>Malard</c:v>
                </c:pt>
                <c:pt idx="53">
                  <c:v>Besserat De</c:v>
                </c:pt>
                <c:pt idx="54">
                  <c:v>Malard</c:v>
                </c:pt>
                <c:pt idx="55">
                  <c:v>Dom Perigno</c:v>
                </c:pt>
                <c:pt idx="56">
                  <c:v>Roederer</c:v>
                </c:pt>
                <c:pt idx="57">
                  <c:v>Veuve Clicq</c:v>
                </c:pt>
                <c:pt idx="58">
                  <c:v>Ayala</c:v>
                </c:pt>
                <c:pt idx="59">
                  <c:v>Vranken</c:v>
                </c:pt>
                <c:pt idx="60">
                  <c:v>Deutz</c:v>
                </c:pt>
                <c:pt idx="61">
                  <c:v>Nicolas Feu</c:v>
                </c:pt>
                <c:pt idx="62">
                  <c:v>Roederer</c:v>
                </c:pt>
                <c:pt idx="63">
                  <c:v>Krug</c:v>
                </c:pt>
                <c:pt idx="64">
                  <c:v>Veuve Clicq</c:v>
                </c:pt>
                <c:pt idx="65">
                  <c:v>All Others</c:v>
                </c:pt>
                <c:pt idx="66">
                  <c:v>Pommery</c:v>
                </c:pt>
                <c:pt idx="67">
                  <c:v>Canard Duch</c:v>
                </c:pt>
                <c:pt idx="68">
                  <c:v>Henriot</c:v>
                </c:pt>
                <c:pt idx="69">
                  <c:v>Moët &amp; Chan</c:v>
                </c:pt>
                <c:pt idx="70">
                  <c:v>Ruinart</c:v>
                </c:pt>
                <c:pt idx="71">
                  <c:v>Canard Duch</c:v>
                </c:pt>
                <c:pt idx="72">
                  <c:v>Nicolas Feu</c:v>
                </c:pt>
                <c:pt idx="73">
                  <c:v>Vranken</c:v>
                </c:pt>
                <c:pt idx="74">
                  <c:v>Besserat De</c:v>
                </c:pt>
                <c:pt idx="75">
                  <c:v>Campari: Al</c:v>
                </c:pt>
                <c:pt idx="76">
                  <c:v>Ruinart</c:v>
                </c:pt>
                <c:pt idx="77">
                  <c:v>Roederer</c:v>
                </c:pt>
                <c:pt idx="78">
                  <c:v>Canard Duch</c:v>
                </c:pt>
                <c:pt idx="79">
                  <c:v>De Bligny</c:v>
                </c:pt>
                <c:pt idx="80">
                  <c:v>Nicolas</c:v>
                </c:pt>
                <c:pt idx="81">
                  <c:v>Nicolas</c:v>
                </c:pt>
                <c:pt idx="82">
                  <c:v>Delamotte</c:v>
                </c:pt>
                <c:pt idx="83">
                  <c:v>Deutz</c:v>
                </c:pt>
                <c:pt idx="84">
                  <c:v>De Venoge</c:v>
                </c:pt>
                <c:pt idx="85">
                  <c:v>Henriot</c:v>
                </c:pt>
                <c:pt idx="86">
                  <c:v>Nicolas</c:v>
                </c:pt>
                <c:pt idx="87">
                  <c:v>Henriot</c:v>
                </c:pt>
                <c:pt idx="88">
                  <c:v>Laurent Per</c:v>
                </c:pt>
                <c:pt idx="89">
                  <c:v>Ruinart</c:v>
                </c:pt>
                <c:pt idx="90">
                  <c:v>Nicolas</c:v>
                </c:pt>
                <c:pt idx="91">
                  <c:v>All Others</c:v>
                </c:pt>
                <c:pt idx="92">
                  <c:v>Louis Marti</c:v>
                </c:pt>
                <c:pt idx="93">
                  <c:v>Laurent Per</c:v>
                </c:pt>
                <c:pt idx="94">
                  <c:v>Malard</c:v>
                </c:pt>
                <c:pt idx="95">
                  <c:v>Canard Duch</c:v>
                </c:pt>
                <c:pt idx="96">
                  <c:v>Malard</c:v>
                </c:pt>
                <c:pt idx="97">
                  <c:v>Ruinart</c:v>
                </c:pt>
                <c:pt idx="98">
                  <c:v>De Venoge</c:v>
                </c:pt>
                <c:pt idx="99">
                  <c:v>Veuve Clicq</c:v>
                </c:pt>
                <c:pt idx="100">
                  <c:v>Ruinart</c:v>
                </c:pt>
                <c:pt idx="101">
                  <c:v>Moët &amp; Chan</c:v>
                </c:pt>
                <c:pt idx="102">
                  <c:v>Deutz</c:v>
                </c:pt>
                <c:pt idx="103">
                  <c:v>Ruinart</c:v>
                </c:pt>
                <c:pt idx="104">
                  <c:v>Besserat De</c:v>
                </c:pt>
                <c:pt idx="105">
                  <c:v>All Others</c:v>
                </c:pt>
                <c:pt idx="106">
                  <c:v>Nicolas</c:v>
                </c:pt>
                <c:pt idx="107">
                  <c:v>All Others</c:v>
                </c:pt>
                <c:pt idx="108">
                  <c:v>Dom Perigno</c:v>
                </c:pt>
                <c:pt idx="109">
                  <c:v>Roederer</c:v>
                </c:pt>
                <c:pt idx="110">
                  <c:v>Canard Duch</c:v>
                </c:pt>
                <c:pt idx="111">
                  <c:v>Nicolas</c:v>
                </c:pt>
                <c:pt idx="112">
                  <c:v>Roederer</c:v>
                </c:pt>
                <c:pt idx="113">
                  <c:v>Roederer</c:v>
                </c:pt>
                <c:pt idx="114">
                  <c:v>Deutz</c:v>
                </c:pt>
                <c:pt idx="115">
                  <c:v>Canard Duch</c:v>
                </c:pt>
                <c:pt idx="116">
                  <c:v>Nicolas</c:v>
                </c:pt>
                <c:pt idx="117">
                  <c:v>Vranken</c:v>
                </c:pt>
                <c:pt idx="118">
                  <c:v>Nicolas</c:v>
                </c:pt>
                <c:pt idx="119">
                  <c:v>Nicolas</c:v>
                </c:pt>
                <c:pt idx="120">
                  <c:v>Roederer</c:v>
                </c:pt>
                <c:pt idx="121">
                  <c:v>Nicolas</c:v>
                </c:pt>
                <c:pt idx="122">
                  <c:v>Bollinger</c:v>
                </c:pt>
                <c:pt idx="123">
                  <c:v>Nicolas</c:v>
                </c:pt>
                <c:pt idx="124">
                  <c:v>Roederer</c:v>
                </c:pt>
                <c:pt idx="125">
                  <c:v>All Others</c:v>
                </c:pt>
                <c:pt idx="126">
                  <c:v>Perrier Jou</c:v>
                </c:pt>
                <c:pt idx="127">
                  <c:v>Nicolas Feu</c:v>
                </c:pt>
                <c:pt idx="128">
                  <c:v>Demoiselle</c:v>
                </c:pt>
                <c:pt idx="129">
                  <c:v>Pommery</c:v>
                </c:pt>
                <c:pt idx="130">
                  <c:v>Roederer</c:v>
                </c:pt>
                <c:pt idx="131">
                  <c:v>Demoiselle</c:v>
                </c:pt>
                <c:pt idx="132">
                  <c:v>Bollinger</c:v>
                </c:pt>
                <c:pt idx="133">
                  <c:v>Moët &amp; Chan</c:v>
                </c:pt>
                <c:pt idx="134">
                  <c:v>De Venoge</c:v>
                </c:pt>
                <c:pt idx="135">
                  <c:v>Pommery</c:v>
                </c:pt>
                <c:pt idx="136">
                  <c:v>Moët &amp; Chan</c:v>
                </c:pt>
                <c:pt idx="137">
                  <c:v>Roederer</c:v>
                </c:pt>
                <c:pt idx="138">
                  <c:v>Taittinger</c:v>
                </c:pt>
                <c:pt idx="139">
                  <c:v>Ruinart</c:v>
                </c:pt>
                <c:pt idx="140">
                  <c:v>Bollinger</c:v>
                </c:pt>
                <c:pt idx="141">
                  <c:v>Vesselle</c:v>
                </c:pt>
                <c:pt idx="142">
                  <c:v>Ruinart</c:v>
                </c:pt>
                <c:pt idx="143">
                  <c:v>Vesselle</c:v>
                </c:pt>
                <c:pt idx="144">
                  <c:v>Louis Marti</c:v>
                </c:pt>
                <c:pt idx="145">
                  <c:v>Lanson</c:v>
                </c:pt>
                <c:pt idx="146">
                  <c:v>Nicolas</c:v>
                </c:pt>
                <c:pt idx="147">
                  <c:v>Roederer</c:v>
                </c:pt>
                <c:pt idx="148">
                  <c:v>All Others</c:v>
                </c:pt>
                <c:pt idx="149">
                  <c:v>Pommery</c:v>
                </c:pt>
                <c:pt idx="150">
                  <c:v>Bollinger</c:v>
                </c:pt>
                <c:pt idx="151">
                  <c:v>Deutz</c:v>
                </c:pt>
                <c:pt idx="152">
                  <c:v>Nicolas</c:v>
                </c:pt>
                <c:pt idx="153">
                  <c:v>Nicolas</c:v>
                </c:pt>
                <c:pt idx="154">
                  <c:v>Delamotte</c:v>
                </c:pt>
                <c:pt idx="155">
                  <c:v>All Others</c:v>
                </c:pt>
                <c:pt idx="156">
                  <c:v>Nicolas</c:v>
                </c:pt>
                <c:pt idx="157">
                  <c:v>Pommery</c:v>
                </c:pt>
                <c:pt idx="158">
                  <c:v>Laurent Per</c:v>
                </c:pt>
                <c:pt idx="159">
                  <c:v>Roederer</c:v>
                </c:pt>
                <c:pt idx="160">
                  <c:v>De Venoge</c:v>
                </c:pt>
                <c:pt idx="161">
                  <c:v>All Others</c:v>
                </c:pt>
                <c:pt idx="162">
                  <c:v>Taittinger</c:v>
                </c:pt>
                <c:pt idx="163">
                  <c:v>All Others</c:v>
                </c:pt>
                <c:pt idx="164">
                  <c:v>Besserat De</c:v>
                </c:pt>
                <c:pt idx="165">
                  <c:v>All Others</c:v>
                </c:pt>
                <c:pt idx="166">
                  <c:v>Besserat De</c:v>
                </c:pt>
                <c:pt idx="167">
                  <c:v>Nicolas</c:v>
                </c:pt>
                <c:pt idx="168">
                  <c:v>Martel</c:v>
                </c:pt>
                <c:pt idx="169">
                  <c:v>De Venoge</c:v>
                </c:pt>
                <c:pt idx="170">
                  <c:v>Deutz</c:v>
                </c:pt>
                <c:pt idx="171">
                  <c:v>Deutz</c:v>
                </c:pt>
                <c:pt idx="172">
                  <c:v>Roederer</c:v>
                </c:pt>
                <c:pt idx="173">
                  <c:v>Piper Heids</c:v>
                </c:pt>
                <c:pt idx="174">
                  <c:v>Roederer</c:v>
                </c:pt>
                <c:pt idx="175">
                  <c:v>Veuve Clicq</c:v>
                </c:pt>
                <c:pt idx="176">
                  <c:v>All Others</c:v>
                </c:pt>
                <c:pt idx="177">
                  <c:v>De Venoge</c:v>
                </c:pt>
                <c:pt idx="178">
                  <c:v>Henriot</c:v>
                </c:pt>
                <c:pt idx="179">
                  <c:v>Bollinger</c:v>
                </c:pt>
                <c:pt idx="180">
                  <c:v>Piper Heids</c:v>
                </c:pt>
                <c:pt idx="181">
                  <c:v>Ayala</c:v>
                </c:pt>
                <c:pt idx="182">
                  <c:v>All Others</c:v>
                </c:pt>
                <c:pt idx="183">
                  <c:v>All Others</c:v>
                </c:pt>
                <c:pt idx="184">
                  <c:v>Bollinger</c:v>
                </c:pt>
                <c:pt idx="185">
                  <c:v>Henriot</c:v>
                </c:pt>
                <c:pt idx="186">
                  <c:v>Laurent Per</c:v>
                </c:pt>
                <c:pt idx="187">
                  <c:v>Canard Duch</c:v>
                </c:pt>
                <c:pt idx="188">
                  <c:v>All Others</c:v>
                </c:pt>
                <c:pt idx="189">
                  <c:v>Laurent Per</c:v>
                </c:pt>
                <c:pt idx="190">
                  <c:v>Nicolas</c:v>
                </c:pt>
                <c:pt idx="191">
                  <c:v>Laurent Per</c:v>
                </c:pt>
                <c:pt idx="192">
                  <c:v>De Bligny</c:v>
                </c:pt>
                <c:pt idx="193">
                  <c:v>Pommery</c:v>
                </c:pt>
                <c:pt idx="194">
                  <c:v>Moët &amp; Chan</c:v>
                </c:pt>
                <c:pt idx="195">
                  <c:v>Laurent Per</c:v>
                </c:pt>
                <c:pt idx="196">
                  <c:v>All Others</c:v>
                </c:pt>
                <c:pt idx="197">
                  <c:v>Demoiselle</c:v>
                </c:pt>
                <c:pt idx="198">
                  <c:v>Nicolas Feu</c:v>
                </c:pt>
                <c:pt idx="199">
                  <c:v>Malard</c:v>
                </c:pt>
                <c:pt idx="200">
                  <c:v>Malard</c:v>
                </c:pt>
                <c:pt idx="201">
                  <c:v>Lanson</c:v>
                </c:pt>
                <c:pt idx="202">
                  <c:v>All Others</c:v>
                </c:pt>
                <c:pt idx="203">
                  <c:v>Besserat De</c:v>
                </c:pt>
                <c:pt idx="204">
                  <c:v>All Others</c:v>
                </c:pt>
                <c:pt idx="205">
                  <c:v>Pommery</c:v>
                </c:pt>
                <c:pt idx="206">
                  <c:v>Roederer</c:v>
                </c:pt>
                <c:pt idx="207">
                  <c:v>Vesselle</c:v>
                </c:pt>
                <c:pt idx="208">
                  <c:v>Nicolas</c:v>
                </c:pt>
              </c:strCache>
            </c:strRef>
          </c:cat>
          <c:val>
            <c:numRef>
              <c:f>Sheet1!$C$2:$C$210</c:f>
              <c:numCache>
                <c:formatCode>General</c:formatCode>
                <c:ptCount val="209"/>
                <c:pt idx="0">
                  <c:v>9.2122222573278206E-2</c:v>
                </c:pt>
                <c:pt idx="1">
                  <c:v>0.17878984519240973</c:v>
                </c:pt>
                <c:pt idx="2">
                  <c:v>0.22307393806238157</c:v>
                </c:pt>
                <c:pt idx="3">
                  <c:v>0.26477209850199007</c:v>
                </c:pt>
                <c:pt idx="4">
                  <c:v>0.29965302166042462</c:v>
                </c:pt>
                <c:pt idx="5">
                  <c:v>0.33144492215063381</c:v>
                </c:pt>
                <c:pt idx="6">
                  <c:v>0.35976946963271172</c:v>
                </c:pt>
                <c:pt idx="7">
                  <c:v>0.38474008219570938</c:v>
                </c:pt>
                <c:pt idx="8">
                  <c:v>0.40856679231770676</c:v>
                </c:pt>
                <c:pt idx="9">
                  <c:v>0.43044514169564907</c:v>
                </c:pt>
                <c:pt idx="10">
                  <c:v>0.45190384414410256</c:v>
                </c:pt>
                <c:pt idx="11">
                  <c:v>0.47332771103663324</c:v>
                </c:pt>
                <c:pt idx="12">
                  <c:v>0.49229607630120931</c:v>
                </c:pt>
                <c:pt idx="13">
                  <c:v>0.5112449984648052</c:v>
                </c:pt>
                <c:pt idx="14">
                  <c:v>0.53012830016259294</c:v>
                </c:pt>
                <c:pt idx="15">
                  <c:v>0.54830921983747194</c:v>
                </c:pt>
                <c:pt idx="16">
                  <c:v>0.56445914558913002</c:v>
                </c:pt>
                <c:pt idx="17">
                  <c:v>0.57944896631563769</c:v>
                </c:pt>
                <c:pt idx="18">
                  <c:v>0.59435291334614959</c:v>
                </c:pt>
                <c:pt idx="19">
                  <c:v>0.60840622470877881</c:v>
                </c:pt>
                <c:pt idx="20">
                  <c:v>0.6209348729028793</c:v>
                </c:pt>
                <c:pt idx="21">
                  <c:v>0.63278949359633374</c:v>
                </c:pt>
                <c:pt idx="22">
                  <c:v>0.64358527541557609</c:v>
                </c:pt>
                <c:pt idx="23">
                  <c:v>0.65365680172330687</c:v>
                </c:pt>
                <c:pt idx="24">
                  <c:v>0.66346017526335277</c:v>
                </c:pt>
                <c:pt idx="25">
                  <c:v>0.67283823096945738</c:v>
                </c:pt>
                <c:pt idx="26">
                  <c:v>0.68202428605338272</c:v>
                </c:pt>
                <c:pt idx="27">
                  <c:v>0.69081580821325195</c:v>
                </c:pt>
                <c:pt idx="28">
                  <c:v>0.69931568385841858</c:v>
                </c:pt>
                <c:pt idx="29">
                  <c:v>0.70678021437639094</c:v>
                </c:pt>
                <c:pt idx="30">
                  <c:v>0.71385021197030718</c:v>
                </c:pt>
                <c:pt idx="31">
                  <c:v>0.72083433586822765</c:v>
                </c:pt>
                <c:pt idx="32">
                  <c:v>0.72749278782473015</c:v>
                </c:pt>
                <c:pt idx="33">
                  <c:v>0.7339276441199607</c:v>
                </c:pt>
                <c:pt idx="34">
                  <c:v>0.74028148749444045</c:v>
                </c:pt>
                <c:pt idx="35">
                  <c:v>0.74648383670711638</c:v>
                </c:pt>
                <c:pt idx="36">
                  <c:v>0.7525549449881761</c:v>
                </c:pt>
                <c:pt idx="37">
                  <c:v>0.75856691383708785</c:v>
                </c:pt>
                <c:pt idx="38">
                  <c:v>0.76455052816373681</c:v>
                </c:pt>
                <c:pt idx="39">
                  <c:v>0.77027814166081343</c:v>
                </c:pt>
                <c:pt idx="40">
                  <c:v>0.7759660588267222</c:v>
                </c:pt>
                <c:pt idx="41">
                  <c:v>0.7815940264312754</c:v>
                </c:pt>
                <c:pt idx="42">
                  <c:v>0.78717500654179318</c:v>
                </c:pt>
                <c:pt idx="43">
                  <c:v>0.792534011249454</c:v>
                </c:pt>
                <c:pt idx="44">
                  <c:v>0.79788734505266223</c:v>
                </c:pt>
                <c:pt idx="45">
                  <c:v>0.80321232433360779</c:v>
                </c:pt>
                <c:pt idx="46">
                  <c:v>0.80828049265577351</c:v>
                </c:pt>
                <c:pt idx="47">
                  <c:v>0.81297357115486335</c:v>
                </c:pt>
                <c:pt idx="48">
                  <c:v>0.81753702898075198</c:v>
                </c:pt>
                <c:pt idx="49">
                  <c:v>0.82194737238642179</c:v>
                </c:pt>
                <c:pt idx="50">
                  <c:v>0.82628399403420838</c:v>
                </c:pt>
                <c:pt idx="51">
                  <c:v>0.8305857801260722</c:v>
                </c:pt>
                <c:pt idx="52">
                  <c:v>0.83483328756103303</c:v>
                </c:pt>
                <c:pt idx="53">
                  <c:v>0.83890418682875723</c:v>
                </c:pt>
                <c:pt idx="54">
                  <c:v>0.84286976929950552</c:v>
                </c:pt>
                <c:pt idx="55">
                  <c:v>0.84675838949554061</c:v>
                </c:pt>
                <c:pt idx="56">
                  <c:v>0.85063404762425554</c:v>
                </c:pt>
                <c:pt idx="57">
                  <c:v>0.85445542709606748</c:v>
                </c:pt>
                <c:pt idx="58">
                  <c:v>0.85816257834962095</c:v>
                </c:pt>
                <c:pt idx="59">
                  <c:v>0.86179843823291369</c:v>
                </c:pt>
                <c:pt idx="60">
                  <c:v>0.86538325997613352</c:v>
                </c:pt>
                <c:pt idx="61">
                  <c:v>0.86872342269868619</c:v>
                </c:pt>
                <c:pt idx="62">
                  <c:v>0.87194692681535779</c:v>
                </c:pt>
                <c:pt idx="63">
                  <c:v>0.87506754452267588</c:v>
                </c:pt>
                <c:pt idx="64">
                  <c:v>0.87817520016267392</c:v>
                </c:pt>
                <c:pt idx="65">
                  <c:v>0.88117024784282838</c:v>
                </c:pt>
                <c:pt idx="66">
                  <c:v>0.88415719423090777</c:v>
                </c:pt>
                <c:pt idx="67">
                  <c:v>0.8870566466645764</c:v>
                </c:pt>
                <c:pt idx="68">
                  <c:v>0.88990020018292704</c:v>
                </c:pt>
                <c:pt idx="69">
                  <c:v>0.89273808279682509</c:v>
                </c:pt>
                <c:pt idx="70">
                  <c:v>0.89555490205132804</c:v>
                </c:pt>
                <c:pt idx="71">
                  <c:v>0.89829232864349517</c:v>
                </c:pt>
                <c:pt idx="72">
                  <c:v>0.90102165394358724</c:v>
                </c:pt>
                <c:pt idx="73">
                  <c:v>0.90369913097439891</c:v>
                </c:pt>
                <c:pt idx="74">
                  <c:v>0.90637660800521058</c:v>
                </c:pt>
                <c:pt idx="75">
                  <c:v>0.90900304689594924</c:v>
                </c:pt>
                <c:pt idx="76">
                  <c:v>0.91162543514065042</c:v>
                </c:pt>
                <c:pt idx="77">
                  <c:v>0.91418382317795854</c:v>
                </c:pt>
                <c:pt idx="78">
                  <c:v>0.91671871746824896</c:v>
                </c:pt>
                <c:pt idx="79">
                  <c:v>0.91916530767492099</c:v>
                </c:pt>
                <c:pt idx="80">
                  <c:v>0.92145959359058172</c:v>
                </c:pt>
                <c:pt idx="81">
                  <c:v>0.92372876550080962</c:v>
                </c:pt>
                <c:pt idx="82">
                  <c:v>0.92595905120907729</c:v>
                </c:pt>
                <c:pt idx="83">
                  <c:v>0.92811561515946173</c:v>
                </c:pt>
                <c:pt idx="84">
                  <c:v>0.93011096339755217</c:v>
                </c:pt>
                <c:pt idx="85">
                  <c:v>0.93201881768123185</c:v>
                </c:pt>
                <c:pt idx="86">
                  <c:v>0.93392181118966655</c:v>
                </c:pt>
                <c:pt idx="87">
                  <c:v>0.93581508314761108</c:v>
                </c:pt>
                <c:pt idx="88">
                  <c:v>0.93770349433031064</c:v>
                </c:pt>
                <c:pt idx="89">
                  <c:v>0.9395886649961801</c:v>
                </c:pt>
                <c:pt idx="90">
                  <c:v>0.94147140527442708</c:v>
                </c:pt>
                <c:pt idx="91">
                  <c:v>0.94332741128882636</c:v>
                </c:pt>
                <c:pt idx="92">
                  <c:v>0.94518017678639554</c:v>
                </c:pt>
                <c:pt idx="93">
                  <c:v>0.94699486621121187</c:v>
                </c:pt>
                <c:pt idx="94">
                  <c:v>0.94873583387814509</c:v>
                </c:pt>
                <c:pt idx="95">
                  <c:v>0.9503965987535351</c:v>
                </c:pt>
                <c:pt idx="96">
                  <c:v>0.95199903432598454</c:v>
                </c:pt>
                <c:pt idx="97">
                  <c:v>0.95347184922523287</c:v>
                </c:pt>
                <c:pt idx="98">
                  <c:v>0.95493008179874606</c:v>
                </c:pt>
                <c:pt idx="99">
                  <c:v>0.95638021308018417</c:v>
                </c:pt>
                <c:pt idx="100">
                  <c:v>0.95762376141370786</c:v>
                </c:pt>
                <c:pt idx="101">
                  <c:v>0.95884705651704394</c:v>
                </c:pt>
                <c:pt idx="102">
                  <c:v>0.96004118696890972</c:v>
                </c:pt>
                <c:pt idx="103">
                  <c:v>0.96117779824704253</c:v>
                </c:pt>
                <c:pt idx="104">
                  <c:v>0.96231440952517533</c:v>
                </c:pt>
                <c:pt idx="105">
                  <c:v>0.96344859041568554</c:v>
                </c:pt>
                <c:pt idx="106">
                  <c:v>0.96457223962649818</c:v>
                </c:pt>
                <c:pt idx="107">
                  <c:v>0.96561244552893755</c:v>
                </c:pt>
                <c:pt idx="108">
                  <c:v>0.96662510703832172</c:v>
                </c:pt>
                <c:pt idx="109">
                  <c:v>0.96762885712642321</c:v>
                </c:pt>
                <c:pt idx="110">
                  <c:v>0.96859777165860195</c:v>
                </c:pt>
                <c:pt idx="111">
                  <c:v>0.9695610152863281</c:v>
                </c:pt>
                <c:pt idx="112">
                  <c:v>0.97050400568386663</c:v>
                </c:pt>
                <c:pt idx="113">
                  <c:v>0.97143160362646253</c:v>
                </c:pt>
                <c:pt idx="114">
                  <c:v>0.97235515092302083</c:v>
                </c:pt>
                <c:pt idx="115">
                  <c:v>0.97324386266365637</c:v>
                </c:pt>
                <c:pt idx="116">
                  <c:v>0.97410340975282161</c:v>
                </c:pt>
                <c:pt idx="117">
                  <c:v>0.97496133658357187</c:v>
                </c:pt>
                <c:pt idx="118">
                  <c:v>0.97581197225145455</c:v>
                </c:pt>
                <c:pt idx="119">
                  <c:v>0.97661075965005673</c:v>
                </c:pt>
                <c:pt idx="120">
                  <c:v>0.97740630653182892</c:v>
                </c:pt>
                <c:pt idx="121">
                  <c:v>0.97817673940816841</c:v>
                </c:pt>
                <c:pt idx="122">
                  <c:v>0.97892853931273516</c:v>
                </c:pt>
                <c:pt idx="123">
                  <c:v>0.97961552888070136</c:v>
                </c:pt>
                <c:pt idx="124">
                  <c:v>0.9802903665105549</c:v>
                </c:pt>
                <c:pt idx="125">
                  <c:v>0.98093441923052316</c:v>
                </c:pt>
                <c:pt idx="126">
                  <c:v>0.98157766182128392</c:v>
                </c:pt>
                <c:pt idx="127">
                  <c:v>0.98221280311996961</c:v>
                </c:pt>
                <c:pt idx="128">
                  <c:v>0.98282040002560012</c:v>
                </c:pt>
                <c:pt idx="129">
                  <c:v>0.98341098421787299</c:v>
                </c:pt>
                <c:pt idx="130">
                  <c:v>0.98398617595520321</c:v>
                </c:pt>
                <c:pt idx="131">
                  <c:v>0.98453706381630823</c:v>
                </c:pt>
                <c:pt idx="132">
                  <c:v>0.98506445793039554</c:v>
                </c:pt>
                <c:pt idx="133">
                  <c:v>0.98558942165686025</c:v>
                </c:pt>
                <c:pt idx="134">
                  <c:v>0.98611357525411747</c:v>
                </c:pt>
                <c:pt idx="135">
                  <c:v>0.98662557691326214</c:v>
                </c:pt>
                <c:pt idx="136">
                  <c:v>0.98710679366252152</c:v>
                </c:pt>
                <c:pt idx="137">
                  <c:v>0.98758071924891333</c:v>
                </c:pt>
                <c:pt idx="138">
                  <c:v>0.98802629031304234</c:v>
                </c:pt>
                <c:pt idx="139">
                  <c:v>0.98845646892222871</c:v>
                </c:pt>
                <c:pt idx="140">
                  <c:v>0.98887530572251003</c:v>
                </c:pt>
                <c:pt idx="141">
                  <c:v>0.98929333239358386</c:v>
                </c:pt>
                <c:pt idx="142">
                  <c:v>0.98969515648050743</c:v>
                </c:pt>
                <c:pt idx="143">
                  <c:v>0.99008563875852595</c:v>
                </c:pt>
                <c:pt idx="144">
                  <c:v>0.99047207039050689</c:v>
                </c:pt>
                <c:pt idx="145">
                  <c:v>0.99084553995516778</c:v>
                </c:pt>
                <c:pt idx="146">
                  <c:v>0.99120442719409352</c:v>
                </c:pt>
                <c:pt idx="147">
                  <c:v>0.99155602327015169</c:v>
                </c:pt>
                <c:pt idx="148">
                  <c:v>0.99190356870017227</c:v>
                </c:pt>
                <c:pt idx="149">
                  <c:v>0.99224706348415537</c:v>
                </c:pt>
                <c:pt idx="150">
                  <c:v>0.99258731775130848</c:v>
                </c:pt>
                <c:pt idx="151">
                  <c:v>0.99291947072638653</c:v>
                </c:pt>
                <c:pt idx="152">
                  <c:v>0.99324757305542699</c:v>
                </c:pt>
                <c:pt idx="153">
                  <c:v>0.99357000448001487</c:v>
                </c:pt>
                <c:pt idx="154">
                  <c:v>0.99388109409569769</c:v>
                </c:pt>
                <c:pt idx="155">
                  <c:v>0.9941695000935703</c:v>
                </c:pt>
                <c:pt idx="156">
                  <c:v>0.99445385544540532</c:v>
                </c:pt>
                <c:pt idx="157">
                  <c:v>0.99471957782546772</c:v>
                </c:pt>
                <c:pt idx="158">
                  <c:v>0.99495856594168242</c:v>
                </c:pt>
                <c:pt idx="159">
                  <c:v>0.99518135147374698</c:v>
                </c:pt>
                <c:pt idx="160">
                  <c:v>0.9953887445508689</c:v>
                </c:pt>
                <c:pt idx="161">
                  <c:v>0.99559532749878321</c:v>
                </c:pt>
                <c:pt idx="162">
                  <c:v>0.9957824673457174</c:v>
                </c:pt>
                <c:pt idx="163">
                  <c:v>0.99595988564216154</c:v>
                </c:pt>
                <c:pt idx="164">
                  <c:v>0.99613325329256808</c:v>
                </c:pt>
                <c:pt idx="165">
                  <c:v>0.99630500068455963</c:v>
                </c:pt>
                <c:pt idx="166">
                  <c:v>0.99647512781813619</c:v>
                </c:pt>
                <c:pt idx="167">
                  <c:v>0.99664120430567515</c:v>
                </c:pt>
                <c:pt idx="168">
                  <c:v>0.99680160988876165</c:v>
                </c:pt>
                <c:pt idx="169">
                  <c:v>0.99695958508422555</c:v>
                </c:pt>
                <c:pt idx="170">
                  <c:v>0.99711350963365197</c:v>
                </c:pt>
                <c:pt idx="171">
                  <c:v>0.9972641936662483</c:v>
                </c:pt>
                <c:pt idx="172">
                  <c:v>0.99741163718201464</c:v>
                </c:pt>
                <c:pt idx="173">
                  <c:v>0.99755746043936599</c:v>
                </c:pt>
                <c:pt idx="174">
                  <c:v>0.99769761279226477</c:v>
                </c:pt>
                <c:pt idx="175">
                  <c:v>0.99783533475754105</c:v>
                </c:pt>
                <c:pt idx="176">
                  <c:v>0.99797143646440223</c:v>
                </c:pt>
                <c:pt idx="177">
                  <c:v>0.99810591791284842</c:v>
                </c:pt>
                <c:pt idx="178">
                  <c:v>0.99823391832763453</c:v>
                </c:pt>
                <c:pt idx="179">
                  <c:v>0.99836110861321314</c:v>
                </c:pt>
                <c:pt idx="180">
                  <c:v>0.9984777672190942</c:v>
                </c:pt>
                <c:pt idx="181">
                  <c:v>0.99858794479131519</c:v>
                </c:pt>
                <c:pt idx="182">
                  <c:v>0.99869164132987609</c:v>
                </c:pt>
                <c:pt idx="183">
                  <c:v>0.998793717610022</c:v>
                </c:pt>
                <c:pt idx="184">
                  <c:v>0.99888688246888535</c:v>
                </c:pt>
                <c:pt idx="185">
                  <c:v>0.99897842706933371</c:v>
                </c:pt>
                <c:pt idx="186">
                  <c:v>0.99906349063612199</c:v>
                </c:pt>
                <c:pt idx="187">
                  <c:v>0.99914450355687268</c:v>
                </c:pt>
                <c:pt idx="188">
                  <c:v>0.99922065570237839</c:v>
                </c:pt>
                <c:pt idx="189">
                  <c:v>0.99928870655580904</c:v>
                </c:pt>
                <c:pt idx="190">
                  <c:v>0.9993502763755796</c:v>
                </c:pt>
                <c:pt idx="191">
                  <c:v>0.99940941580772769</c:v>
                </c:pt>
                <c:pt idx="192">
                  <c:v>0.99946612485225317</c:v>
                </c:pt>
                <c:pt idx="193">
                  <c:v>0.99952202376757115</c:v>
                </c:pt>
                <c:pt idx="194">
                  <c:v>0.99957711255368165</c:v>
                </c:pt>
                <c:pt idx="195">
                  <c:v>0.99962572030613206</c:v>
                </c:pt>
                <c:pt idx="196">
                  <c:v>0.99967189767095999</c:v>
                </c:pt>
                <c:pt idx="197">
                  <c:v>0.99970754335609036</c:v>
                </c:pt>
                <c:pt idx="198">
                  <c:v>0.99974318904122073</c:v>
                </c:pt>
                <c:pt idx="199">
                  <c:v>0.99977397395110601</c:v>
                </c:pt>
                <c:pt idx="200">
                  <c:v>0.99980475886099129</c:v>
                </c:pt>
                <c:pt idx="201">
                  <c:v>0.99983392351246159</c:v>
                </c:pt>
                <c:pt idx="202">
                  <c:v>0.99986227803472438</c:v>
                </c:pt>
                <c:pt idx="203">
                  <c:v>0.99989063255698718</c:v>
                </c:pt>
                <c:pt idx="204">
                  <c:v>0.99991736682083487</c:v>
                </c:pt>
                <c:pt idx="205">
                  <c:v>0.99994167069706008</c:v>
                </c:pt>
                <c:pt idx="206">
                  <c:v>0.9999643543148703</c:v>
                </c:pt>
                <c:pt idx="207">
                  <c:v>0.99998298728664292</c:v>
                </c:pt>
                <c:pt idx="208">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6</c:f>
              <c:strCache>
                <c:ptCount val="205"/>
                <c:pt idx="0">
                  <c:v>Ruinart</c:v>
                </c:pt>
                <c:pt idx="1">
                  <c:v>Nicolas</c:v>
                </c:pt>
                <c:pt idx="2">
                  <c:v>Ruinart</c:v>
                </c:pt>
                <c:pt idx="3">
                  <c:v>Deutz</c:v>
                </c:pt>
                <c:pt idx="4">
                  <c:v>De Bligny</c:v>
                </c:pt>
                <c:pt idx="5">
                  <c:v>Heidsieck &amp;</c:v>
                </c:pt>
                <c:pt idx="6">
                  <c:v>Nicolas Feu</c:v>
                </c:pt>
                <c:pt idx="7">
                  <c:v>Malard</c:v>
                </c:pt>
                <c:pt idx="8">
                  <c:v>Ayala</c:v>
                </c:pt>
                <c:pt idx="9">
                  <c:v>Canard Duch</c:v>
                </c:pt>
                <c:pt idx="10">
                  <c:v>Laurent Per</c:v>
                </c:pt>
                <c:pt idx="11">
                  <c:v>Ruinart</c:v>
                </c:pt>
                <c:pt idx="12">
                  <c:v>Bollinger</c:v>
                </c:pt>
                <c:pt idx="13">
                  <c:v>Demoiselle</c:v>
                </c:pt>
                <c:pt idx="14">
                  <c:v>Taittinger</c:v>
                </c:pt>
                <c:pt idx="15">
                  <c:v>Ruinart</c:v>
                </c:pt>
                <c:pt idx="16">
                  <c:v>Ruinart</c:v>
                </c:pt>
                <c:pt idx="17">
                  <c:v>Deutz</c:v>
                </c:pt>
                <c:pt idx="18">
                  <c:v>Besserat De</c:v>
                </c:pt>
                <c:pt idx="19">
                  <c:v>Malard</c:v>
                </c:pt>
                <c:pt idx="20">
                  <c:v>Ruinart</c:v>
                </c:pt>
                <c:pt idx="21">
                  <c:v>Perrier Jou</c:v>
                </c:pt>
                <c:pt idx="22">
                  <c:v>Vesselle</c:v>
                </c:pt>
                <c:pt idx="23">
                  <c:v>Savian</c:v>
                </c:pt>
                <c:pt idx="24">
                  <c:v>Laurent Per</c:v>
                </c:pt>
                <c:pt idx="25">
                  <c:v>Ruinart</c:v>
                </c:pt>
                <c:pt idx="26">
                  <c:v>All Others</c:v>
                </c:pt>
                <c:pt idx="27">
                  <c:v>Nicolas</c:v>
                </c:pt>
                <c:pt idx="28">
                  <c:v>Dom Perigno</c:v>
                </c:pt>
                <c:pt idx="29">
                  <c:v>Moët &amp; Chan</c:v>
                </c:pt>
                <c:pt idx="30">
                  <c:v>Campari: Al</c:v>
                </c:pt>
                <c:pt idx="31">
                  <c:v>Nicolas</c:v>
                </c:pt>
                <c:pt idx="32">
                  <c:v>Pommery</c:v>
                </c:pt>
                <c:pt idx="33">
                  <c:v>Dom Perigno</c:v>
                </c:pt>
                <c:pt idx="34">
                  <c:v>Moët &amp; Chan</c:v>
                </c:pt>
                <c:pt idx="35">
                  <c:v>Roederer</c:v>
                </c:pt>
                <c:pt idx="36">
                  <c:v>Veuve Clicq</c:v>
                </c:pt>
                <c:pt idx="37">
                  <c:v>Henriot</c:v>
                </c:pt>
                <c:pt idx="38">
                  <c:v>Deutz</c:v>
                </c:pt>
                <c:pt idx="39">
                  <c:v>Demoiselle</c:v>
                </c:pt>
                <c:pt idx="40">
                  <c:v>De Bligny</c:v>
                </c:pt>
                <c:pt idx="41">
                  <c:v>All Others</c:v>
                </c:pt>
                <c:pt idx="42">
                  <c:v>Taittinger</c:v>
                </c:pt>
                <c:pt idx="43">
                  <c:v>Ruinart</c:v>
                </c:pt>
                <c:pt idx="44">
                  <c:v>Laurent Per</c:v>
                </c:pt>
                <c:pt idx="45">
                  <c:v>Veuve Clicq</c:v>
                </c:pt>
                <c:pt idx="46">
                  <c:v>Canard Duch</c:v>
                </c:pt>
                <c:pt idx="47">
                  <c:v>Roederer</c:v>
                </c:pt>
                <c:pt idx="48">
                  <c:v>Veuve Clicq</c:v>
                </c:pt>
                <c:pt idx="49">
                  <c:v>Besserat De</c:v>
                </c:pt>
                <c:pt idx="50">
                  <c:v>Malard</c:v>
                </c:pt>
                <c:pt idx="51">
                  <c:v>Nicolas</c:v>
                </c:pt>
                <c:pt idx="52">
                  <c:v>De Venoge</c:v>
                </c:pt>
                <c:pt idx="53">
                  <c:v>Ruinart</c:v>
                </c:pt>
                <c:pt idx="54">
                  <c:v>Bollinger</c:v>
                </c:pt>
                <c:pt idx="55">
                  <c:v>Malard</c:v>
                </c:pt>
                <c:pt idx="56">
                  <c:v>Ruinart</c:v>
                </c:pt>
                <c:pt idx="57">
                  <c:v>De Venoge</c:v>
                </c:pt>
                <c:pt idx="58">
                  <c:v>Nicolas Feu</c:v>
                </c:pt>
                <c:pt idx="59">
                  <c:v>All Others</c:v>
                </c:pt>
                <c:pt idx="60">
                  <c:v>Deutz</c:v>
                </c:pt>
                <c:pt idx="61">
                  <c:v>Canard Duch</c:v>
                </c:pt>
                <c:pt idx="62">
                  <c:v>Besserat De</c:v>
                </c:pt>
                <c:pt idx="63">
                  <c:v>Malard</c:v>
                </c:pt>
                <c:pt idx="64">
                  <c:v>De Venoge</c:v>
                </c:pt>
                <c:pt idx="65">
                  <c:v>Nicolas Feu</c:v>
                </c:pt>
                <c:pt idx="66">
                  <c:v>Piper Heids</c:v>
                </c:pt>
                <c:pt idx="67">
                  <c:v>Laurent Per</c:v>
                </c:pt>
                <c:pt idx="68">
                  <c:v>Louis Marti</c:v>
                </c:pt>
                <c:pt idx="69">
                  <c:v>Krug</c:v>
                </c:pt>
                <c:pt idx="70">
                  <c:v>Henriot</c:v>
                </c:pt>
                <c:pt idx="71">
                  <c:v>Lanson</c:v>
                </c:pt>
                <c:pt idx="72">
                  <c:v>Ruinart</c:v>
                </c:pt>
                <c:pt idx="73">
                  <c:v>Campari: Al</c:v>
                </c:pt>
                <c:pt idx="74">
                  <c:v>De Venoge</c:v>
                </c:pt>
                <c:pt idx="75">
                  <c:v>Nicolas</c:v>
                </c:pt>
                <c:pt idx="76">
                  <c:v>Pommery</c:v>
                </c:pt>
                <c:pt idx="77">
                  <c:v>Delamotte</c:v>
                </c:pt>
                <c:pt idx="78">
                  <c:v>Nicolas Feu</c:v>
                </c:pt>
                <c:pt idx="79">
                  <c:v>Roederer</c:v>
                </c:pt>
                <c:pt idx="80">
                  <c:v>Roederer</c:v>
                </c:pt>
                <c:pt idx="81">
                  <c:v>Pommery</c:v>
                </c:pt>
                <c:pt idx="82">
                  <c:v>Henriot</c:v>
                </c:pt>
                <c:pt idx="83">
                  <c:v>Canard Duch</c:v>
                </c:pt>
                <c:pt idx="84">
                  <c:v>Nicolas</c:v>
                </c:pt>
                <c:pt idx="85">
                  <c:v>Dom Perigno</c:v>
                </c:pt>
                <c:pt idx="86">
                  <c:v>Henriot</c:v>
                </c:pt>
                <c:pt idx="87">
                  <c:v>Roederer</c:v>
                </c:pt>
                <c:pt idx="88">
                  <c:v>Ruinart</c:v>
                </c:pt>
                <c:pt idx="89">
                  <c:v>Moët &amp; Chan</c:v>
                </c:pt>
                <c:pt idx="90">
                  <c:v>Veuve Clicq</c:v>
                </c:pt>
                <c:pt idx="91">
                  <c:v>Roederer</c:v>
                </c:pt>
                <c:pt idx="92">
                  <c:v>Deutz</c:v>
                </c:pt>
                <c:pt idx="93">
                  <c:v>Deutz</c:v>
                </c:pt>
                <c:pt idx="94">
                  <c:v>Nicolas</c:v>
                </c:pt>
                <c:pt idx="95">
                  <c:v>Malard</c:v>
                </c:pt>
                <c:pt idx="96">
                  <c:v>All Others</c:v>
                </c:pt>
                <c:pt idx="97">
                  <c:v>Ruinart</c:v>
                </c:pt>
                <c:pt idx="98">
                  <c:v>Roederer</c:v>
                </c:pt>
                <c:pt idx="99">
                  <c:v>Taittinger</c:v>
                </c:pt>
                <c:pt idx="100">
                  <c:v>Vranken</c:v>
                </c:pt>
                <c:pt idx="101">
                  <c:v>Ruinart</c:v>
                </c:pt>
                <c:pt idx="102">
                  <c:v>Vranken</c:v>
                </c:pt>
                <c:pt idx="103">
                  <c:v>Nicolas</c:v>
                </c:pt>
                <c:pt idx="104">
                  <c:v>Nicolas</c:v>
                </c:pt>
                <c:pt idx="105">
                  <c:v>Laurent Per</c:v>
                </c:pt>
                <c:pt idx="106">
                  <c:v>Demoiselle</c:v>
                </c:pt>
                <c:pt idx="107">
                  <c:v>Perrier Jou</c:v>
                </c:pt>
                <c:pt idx="108">
                  <c:v>Nicolas</c:v>
                </c:pt>
                <c:pt idx="109">
                  <c:v>Nicolas</c:v>
                </c:pt>
                <c:pt idx="110">
                  <c:v>Nicolas</c:v>
                </c:pt>
                <c:pt idx="111">
                  <c:v>Ruinart</c:v>
                </c:pt>
                <c:pt idx="112">
                  <c:v>Laurent Per</c:v>
                </c:pt>
                <c:pt idx="113">
                  <c:v>Ayala</c:v>
                </c:pt>
                <c:pt idx="114">
                  <c:v>Roederer</c:v>
                </c:pt>
                <c:pt idx="115">
                  <c:v>Canard Duch</c:v>
                </c:pt>
                <c:pt idx="116">
                  <c:v>Roederer</c:v>
                </c:pt>
                <c:pt idx="117">
                  <c:v>Ruinart</c:v>
                </c:pt>
                <c:pt idx="118">
                  <c:v>Canard Duch</c:v>
                </c:pt>
                <c:pt idx="119">
                  <c:v>Ayala</c:v>
                </c:pt>
                <c:pt idx="120">
                  <c:v>Nicolas Feu</c:v>
                </c:pt>
                <c:pt idx="121">
                  <c:v>All Others</c:v>
                </c:pt>
                <c:pt idx="122">
                  <c:v>Piper Heids</c:v>
                </c:pt>
                <c:pt idx="123">
                  <c:v>Ruinart</c:v>
                </c:pt>
                <c:pt idx="124">
                  <c:v>Ruinart</c:v>
                </c:pt>
                <c:pt idx="125">
                  <c:v>Nicolas</c:v>
                </c:pt>
                <c:pt idx="126">
                  <c:v>Nicolas</c:v>
                </c:pt>
                <c:pt idx="127">
                  <c:v>All Others</c:v>
                </c:pt>
                <c:pt idx="128">
                  <c:v>Pommery</c:v>
                </c:pt>
                <c:pt idx="129">
                  <c:v>Bollinger</c:v>
                </c:pt>
                <c:pt idx="130">
                  <c:v>Besserat De</c:v>
                </c:pt>
                <c:pt idx="131">
                  <c:v>Roederer</c:v>
                </c:pt>
                <c:pt idx="132">
                  <c:v>Roederer</c:v>
                </c:pt>
                <c:pt idx="133">
                  <c:v>Taittinger</c:v>
                </c:pt>
                <c:pt idx="134">
                  <c:v>Pommery</c:v>
                </c:pt>
                <c:pt idx="135">
                  <c:v>Ruinart</c:v>
                </c:pt>
                <c:pt idx="136">
                  <c:v>Roederer</c:v>
                </c:pt>
                <c:pt idx="137">
                  <c:v>Roederer</c:v>
                </c:pt>
                <c:pt idx="138">
                  <c:v>Ruinart</c:v>
                </c:pt>
                <c:pt idx="139">
                  <c:v>Perrier Jou</c:v>
                </c:pt>
                <c:pt idx="140">
                  <c:v>Taittinger</c:v>
                </c:pt>
                <c:pt idx="141">
                  <c:v>Louis Marti</c:v>
                </c:pt>
                <c:pt idx="142">
                  <c:v>Pommery</c:v>
                </c:pt>
                <c:pt idx="143">
                  <c:v>All Others</c:v>
                </c:pt>
                <c:pt idx="144">
                  <c:v>Deutz</c:v>
                </c:pt>
                <c:pt idx="145">
                  <c:v>Roederer</c:v>
                </c:pt>
                <c:pt idx="146">
                  <c:v>Canard Duch</c:v>
                </c:pt>
                <c:pt idx="147">
                  <c:v>Nicolas</c:v>
                </c:pt>
                <c:pt idx="148">
                  <c:v>Demoiselle</c:v>
                </c:pt>
                <c:pt idx="149">
                  <c:v>Vranken</c:v>
                </c:pt>
                <c:pt idx="150">
                  <c:v>Moët &amp; Chan</c:v>
                </c:pt>
                <c:pt idx="151">
                  <c:v>Lanson</c:v>
                </c:pt>
                <c:pt idx="152">
                  <c:v>Vesselle</c:v>
                </c:pt>
                <c:pt idx="153">
                  <c:v>Nicolas</c:v>
                </c:pt>
                <c:pt idx="154">
                  <c:v>Ruinart</c:v>
                </c:pt>
                <c:pt idx="155">
                  <c:v>Dom Perigno</c:v>
                </c:pt>
                <c:pt idx="156">
                  <c:v>Nicolas Feu</c:v>
                </c:pt>
                <c:pt idx="157">
                  <c:v>Besserat De</c:v>
                </c:pt>
                <c:pt idx="158">
                  <c:v>Roederer</c:v>
                </c:pt>
                <c:pt idx="159">
                  <c:v>All Others</c:v>
                </c:pt>
                <c:pt idx="160">
                  <c:v>All Others</c:v>
                </c:pt>
                <c:pt idx="161">
                  <c:v>De Venoge</c:v>
                </c:pt>
                <c:pt idx="162">
                  <c:v>Piper Heids</c:v>
                </c:pt>
                <c:pt idx="163">
                  <c:v>Laurent Per</c:v>
                </c:pt>
                <c:pt idx="164">
                  <c:v>Bollinger</c:v>
                </c:pt>
                <c:pt idx="165">
                  <c:v>Nicolas</c:v>
                </c:pt>
                <c:pt idx="166">
                  <c:v>Laurent Per</c:v>
                </c:pt>
                <c:pt idx="167">
                  <c:v>Deutz</c:v>
                </c:pt>
                <c:pt idx="168">
                  <c:v>Ruinart</c:v>
                </c:pt>
                <c:pt idx="169">
                  <c:v>Pommery</c:v>
                </c:pt>
                <c:pt idx="170">
                  <c:v>Pommery</c:v>
                </c:pt>
                <c:pt idx="171">
                  <c:v>De Venoge</c:v>
                </c:pt>
                <c:pt idx="172">
                  <c:v>Roederer</c:v>
                </c:pt>
                <c:pt idx="173">
                  <c:v>Pommery</c:v>
                </c:pt>
                <c:pt idx="174">
                  <c:v>Moët &amp; Chan</c:v>
                </c:pt>
                <c:pt idx="175">
                  <c:v>Laurent Per</c:v>
                </c:pt>
                <c:pt idx="176">
                  <c:v>Martel</c:v>
                </c:pt>
                <c:pt idx="177">
                  <c:v>Piper Heids</c:v>
                </c:pt>
                <c:pt idx="178">
                  <c:v>Lanson</c:v>
                </c:pt>
                <c:pt idx="179">
                  <c:v>Piper Heids</c:v>
                </c:pt>
                <c:pt idx="180">
                  <c:v>Bollinger</c:v>
                </c:pt>
                <c:pt idx="181">
                  <c:v>De Venoge</c:v>
                </c:pt>
                <c:pt idx="182">
                  <c:v>De Venoge</c:v>
                </c:pt>
                <c:pt idx="183">
                  <c:v>Laurent Per</c:v>
                </c:pt>
                <c:pt idx="184">
                  <c:v>Bollinger</c:v>
                </c:pt>
                <c:pt idx="185">
                  <c:v>Malard</c:v>
                </c:pt>
                <c:pt idx="186">
                  <c:v>Delamotte</c:v>
                </c:pt>
                <c:pt idx="187">
                  <c:v>Nicolas</c:v>
                </c:pt>
                <c:pt idx="188">
                  <c:v>Roederer</c:v>
                </c:pt>
                <c:pt idx="189">
                  <c:v>Vesselle</c:v>
                </c:pt>
                <c:pt idx="190">
                  <c:v>Henriot</c:v>
                </c:pt>
                <c:pt idx="191">
                  <c:v>Canard Duch</c:v>
                </c:pt>
                <c:pt idx="192">
                  <c:v>Roederer</c:v>
                </c:pt>
                <c:pt idx="193">
                  <c:v>Nicolas</c:v>
                </c:pt>
                <c:pt idx="194">
                  <c:v>Malard</c:v>
                </c:pt>
                <c:pt idx="195">
                  <c:v>Deutz</c:v>
                </c:pt>
                <c:pt idx="196">
                  <c:v>Laurent Per</c:v>
                </c:pt>
                <c:pt idx="197">
                  <c:v>All Others</c:v>
                </c:pt>
                <c:pt idx="198">
                  <c:v>Henriot</c:v>
                </c:pt>
                <c:pt idx="199">
                  <c:v>Moët &amp; Chan</c:v>
                </c:pt>
                <c:pt idx="200">
                  <c:v>Nicolas</c:v>
                </c:pt>
                <c:pt idx="201">
                  <c:v>Veuve Clicq</c:v>
                </c:pt>
                <c:pt idx="202">
                  <c:v>Bollinger</c:v>
                </c:pt>
                <c:pt idx="203">
                  <c:v>All Others</c:v>
                </c:pt>
                <c:pt idx="204">
                  <c:v>All Others</c:v>
                </c:pt>
              </c:strCache>
            </c:strRef>
          </c:cat>
          <c:val>
            <c:numRef>
              <c:f>Sheet1!$B$2:$B$206</c:f>
              <c:numCache>
                <c:formatCode>General</c:formatCode>
                <c:ptCount val="205"/>
                <c:pt idx="0">
                  <c:v>1</c:v>
                </c:pt>
                <c:pt idx="1">
                  <c:v>1</c:v>
                </c:pt>
                <c:pt idx="2">
                  <c:v>0.88</c:v>
                </c:pt>
                <c:pt idx="3">
                  <c:v>0.97</c:v>
                </c:pt>
                <c:pt idx="4">
                  <c:v>1</c:v>
                </c:pt>
                <c:pt idx="5">
                  <c:v>1</c:v>
                </c:pt>
                <c:pt idx="6">
                  <c:v>0.93</c:v>
                </c:pt>
                <c:pt idx="7">
                  <c:v>0.97</c:v>
                </c:pt>
                <c:pt idx="8">
                  <c:v>1</c:v>
                </c:pt>
                <c:pt idx="9">
                  <c:v>1</c:v>
                </c:pt>
                <c:pt idx="10">
                  <c:v>1</c:v>
                </c:pt>
                <c:pt idx="11">
                  <c:v>0.92</c:v>
                </c:pt>
                <c:pt idx="12">
                  <c:v>1</c:v>
                </c:pt>
                <c:pt idx="13">
                  <c:v>0.91</c:v>
                </c:pt>
                <c:pt idx="14">
                  <c:v>0.93</c:v>
                </c:pt>
                <c:pt idx="15">
                  <c:v>0.65</c:v>
                </c:pt>
                <c:pt idx="16">
                  <c:v>0.65</c:v>
                </c:pt>
                <c:pt idx="17">
                  <c:v>0.61</c:v>
                </c:pt>
                <c:pt idx="18">
                  <c:v>1</c:v>
                </c:pt>
                <c:pt idx="19">
                  <c:v>0.85</c:v>
                </c:pt>
                <c:pt idx="20">
                  <c:v>0.72</c:v>
                </c:pt>
                <c:pt idx="21">
                  <c:v>0.7</c:v>
                </c:pt>
                <c:pt idx="22">
                  <c:v>0.7</c:v>
                </c:pt>
                <c:pt idx="23">
                  <c:v>0.75</c:v>
                </c:pt>
                <c:pt idx="24">
                  <c:v>0.79</c:v>
                </c:pt>
                <c:pt idx="25">
                  <c:v>0.31</c:v>
                </c:pt>
                <c:pt idx="26">
                  <c:v>0.67</c:v>
                </c:pt>
                <c:pt idx="27">
                  <c:v>0.63</c:v>
                </c:pt>
                <c:pt idx="28">
                  <c:v>0.28000000000000003</c:v>
                </c:pt>
                <c:pt idx="29">
                  <c:v>0.55000000000000004</c:v>
                </c:pt>
                <c:pt idx="30">
                  <c:v>0.64</c:v>
                </c:pt>
                <c:pt idx="31">
                  <c:v>0.79</c:v>
                </c:pt>
                <c:pt idx="32">
                  <c:v>0.77</c:v>
                </c:pt>
                <c:pt idx="33">
                  <c:v>0.38</c:v>
                </c:pt>
                <c:pt idx="34">
                  <c:v>0.71</c:v>
                </c:pt>
                <c:pt idx="35">
                  <c:v>0.73</c:v>
                </c:pt>
                <c:pt idx="36">
                  <c:v>0.66</c:v>
                </c:pt>
                <c:pt idx="37">
                  <c:v>0.47</c:v>
                </c:pt>
                <c:pt idx="38">
                  <c:v>0.79</c:v>
                </c:pt>
                <c:pt idx="39">
                  <c:v>0.8</c:v>
                </c:pt>
                <c:pt idx="40">
                  <c:v>0.7</c:v>
                </c:pt>
                <c:pt idx="41">
                  <c:v>0.59</c:v>
                </c:pt>
                <c:pt idx="42">
                  <c:v>0.41</c:v>
                </c:pt>
                <c:pt idx="43">
                  <c:v>0.64</c:v>
                </c:pt>
                <c:pt idx="44">
                  <c:v>0.64</c:v>
                </c:pt>
                <c:pt idx="45">
                  <c:v>0.42</c:v>
                </c:pt>
                <c:pt idx="46">
                  <c:v>0.86</c:v>
                </c:pt>
                <c:pt idx="47">
                  <c:v>0.46</c:v>
                </c:pt>
                <c:pt idx="48">
                  <c:v>0.65</c:v>
                </c:pt>
                <c:pt idx="49">
                  <c:v>0.48</c:v>
                </c:pt>
                <c:pt idx="50">
                  <c:v>0.67</c:v>
                </c:pt>
                <c:pt idx="51">
                  <c:v>0.56000000000000005</c:v>
                </c:pt>
                <c:pt idx="52">
                  <c:v>0.56999999999999995</c:v>
                </c:pt>
                <c:pt idx="53">
                  <c:v>0.55000000000000004</c:v>
                </c:pt>
                <c:pt idx="54">
                  <c:v>0.41</c:v>
                </c:pt>
                <c:pt idx="55">
                  <c:v>0.46</c:v>
                </c:pt>
                <c:pt idx="56">
                  <c:v>0.28000000000000003</c:v>
                </c:pt>
                <c:pt idx="57">
                  <c:v>0.37</c:v>
                </c:pt>
                <c:pt idx="58">
                  <c:v>0.4</c:v>
                </c:pt>
                <c:pt idx="59">
                  <c:v>0.61</c:v>
                </c:pt>
                <c:pt idx="60">
                  <c:v>0.69</c:v>
                </c:pt>
                <c:pt idx="61">
                  <c:v>0.42</c:v>
                </c:pt>
                <c:pt idx="62">
                  <c:v>0.37</c:v>
                </c:pt>
                <c:pt idx="63">
                  <c:v>0.46</c:v>
                </c:pt>
                <c:pt idx="64">
                  <c:v>0.31</c:v>
                </c:pt>
                <c:pt idx="65">
                  <c:v>0.48</c:v>
                </c:pt>
                <c:pt idx="66">
                  <c:v>0.39</c:v>
                </c:pt>
                <c:pt idx="67">
                  <c:v>0.37</c:v>
                </c:pt>
                <c:pt idx="68">
                  <c:v>0.3</c:v>
                </c:pt>
                <c:pt idx="69">
                  <c:v>0.31</c:v>
                </c:pt>
                <c:pt idx="70">
                  <c:v>0.5</c:v>
                </c:pt>
                <c:pt idx="71">
                  <c:v>0.37</c:v>
                </c:pt>
                <c:pt idx="72">
                  <c:v>0.36</c:v>
                </c:pt>
                <c:pt idx="73">
                  <c:v>0.33</c:v>
                </c:pt>
                <c:pt idx="74">
                  <c:v>0.6</c:v>
                </c:pt>
                <c:pt idx="75">
                  <c:v>0.56999999999999995</c:v>
                </c:pt>
                <c:pt idx="76">
                  <c:v>0.44</c:v>
                </c:pt>
                <c:pt idx="77">
                  <c:v>0.32</c:v>
                </c:pt>
                <c:pt idx="78">
                  <c:v>0.47</c:v>
                </c:pt>
                <c:pt idx="79">
                  <c:v>0.28000000000000003</c:v>
                </c:pt>
                <c:pt idx="80">
                  <c:v>0.21</c:v>
                </c:pt>
                <c:pt idx="81">
                  <c:v>0.27</c:v>
                </c:pt>
                <c:pt idx="82">
                  <c:v>0.46</c:v>
                </c:pt>
                <c:pt idx="83">
                  <c:v>0.28000000000000003</c:v>
                </c:pt>
                <c:pt idx="84">
                  <c:v>0.23</c:v>
                </c:pt>
                <c:pt idx="85">
                  <c:v>0.18</c:v>
                </c:pt>
                <c:pt idx="86">
                  <c:v>0.31</c:v>
                </c:pt>
                <c:pt idx="87">
                  <c:v>0.4</c:v>
                </c:pt>
                <c:pt idx="88">
                  <c:v>0.25</c:v>
                </c:pt>
                <c:pt idx="89">
                  <c:v>0.45</c:v>
                </c:pt>
                <c:pt idx="90">
                  <c:v>0.28000000000000003</c:v>
                </c:pt>
                <c:pt idx="91">
                  <c:v>0.26</c:v>
                </c:pt>
                <c:pt idx="92">
                  <c:v>0.23</c:v>
                </c:pt>
                <c:pt idx="93">
                  <c:v>0.71</c:v>
                </c:pt>
                <c:pt idx="94">
                  <c:v>0.25</c:v>
                </c:pt>
                <c:pt idx="95">
                  <c:v>0.27</c:v>
                </c:pt>
                <c:pt idx="96">
                  <c:v>0.3</c:v>
                </c:pt>
                <c:pt idx="97">
                  <c:v>0.18</c:v>
                </c:pt>
                <c:pt idx="98">
                  <c:v>0.23</c:v>
                </c:pt>
                <c:pt idx="99">
                  <c:v>0.11</c:v>
                </c:pt>
                <c:pt idx="100">
                  <c:v>0.35</c:v>
                </c:pt>
                <c:pt idx="101">
                  <c:v>0.23</c:v>
                </c:pt>
                <c:pt idx="102">
                  <c:v>0.35</c:v>
                </c:pt>
                <c:pt idx="103">
                  <c:v>0.26</c:v>
                </c:pt>
                <c:pt idx="104">
                  <c:v>0.15</c:v>
                </c:pt>
                <c:pt idx="105">
                  <c:v>0.21</c:v>
                </c:pt>
                <c:pt idx="106">
                  <c:v>0.69</c:v>
                </c:pt>
                <c:pt idx="107">
                  <c:v>0.23</c:v>
                </c:pt>
                <c:pt idx="108">
                  <c:v>0.28000000000000003</c:v>
                </c:pt>
                <c:pt idx="109">
                  <c:v>0.32</c:v>
                </c:pt>
                <c:pt idx="110">
                  <c:v>0.18</c:v>
                </c:pt>
                <c:pt idx="111">
                  <c:v>0.25</c:v>
                </c:pt>
                <c:pt idx="112">
                  <c:v>0.17</c:v>
                </c:pt>
                <c:pt idx="113">
                  <c:v>0.31</c:v>
                </c:pt>
                <c:pt idx="114">
                  <c:v>0.33</c:v>
                </c:pt>
                <c:pt idx="115">
                  <c:v>0.41</c:v>
                </c:pt>
                <c:pt idx="116">
                  <c:v>0.28000000000000003</c:v>
                </c:pt>
                <c:pt idx="117">
                  <c:v>0.15</c:v>
                </c:pt>
                <c:pt idx="118">
                  <c:v>0.25</c:v>
                </c:pt>
                <c:pt idx="119">
                  <c:v>0.2</c:v>
                </c:pt>
                <c:pt idx="120">
                  <c:v>0.23</c:v>
                </c:pt>
                <c:pt idx="121">
                  <c:v>0.14000000000000001</c:v>
                </c:pt>
                <c:pt idx="122">
                  <c:v>0.14000000000000001</c:v>
                </c:pt>
                <c:pt idx="123">
                  <c:v>0.37</c:v>
                </c:pt>
                <c:pt idx="124">
                  <c:v>0.19</c:v>
                </c:pt>
                <c:pt idx="125">
                  <c:v>0.31</c:v>
                </c:pt>
                <c:pt idx="126">
                  <c:v>0.26</c:v>
                </c:pt>
                <c:pt idx="127">
                  <c:v>0.36</c:v>
                </c:pt>
                <c:pt idx="128">
                  <c:v>0.2</c:v>
                </c:pt>
                <c:pt idx="129">
                  <c:v>0.19</c:v>
                </c:pt>
                <c:pt idx="130">
                  <c:v>0.32</c:v>
                </c:pt>
                <c:pt idx="131">
                  <c:v>0.2</c:v>
                </c:pt>
                <c:pt idx="132">
                  <c:v>0.26</c:v>
                </c:pt>
                <c:pt idx="133">
                  <c:v>0.11</c:v>
                </c:pt>
                <c:pt idx="134">
                  <c:v>0.21</c:v>
                </c:pt>
                <c:pt idx="135">
                  <c:v>0.15</c:v>
                </c:pt>
                <c:pt idx="136">
                  <c:v>0.28000000000000003</c:v>
                </c:pt>
                <c:pt idx="137">
                  <c:v>0.19</c:v>
                </c:pt>
                <c:pt idx="138">
                  <c:v>0.18</c:v>
                </c:pt>
                <c:pt idx="139">
                  <c:v>0.2</c:v>
                </c:pt>
                <c:pt idx="140">
                  <c:v>0.12</c:v>
                </c:pt>
                <c:pt idx="141">
                  <c:v>0.22</c:v>
                </c:pt>
                <c:pt idx="142">
                  <c:v>0.26</c:v>
                </c:pt>
                <c:pt idx="143">
                  <c:v>0.12</c:v>
                </c:pt>
                <c:pt idx="144">
                  <c:v>0.13</c:v>
                </c:pt>
                <c:pt idx="145">
                  <c:v>0.18</c:v>
                </c:pt>
                <c:pt idx="146">
                  <c:v>0.22</c:v>
                </c:pt>
                <c:pt idx="147">
                  <c:v>0.27</c:v>
                </c:pt>
                <c:pt idx="148">
                  <c:v>0.27</c:v>
                </c:pt>
                <c:pt idx="149">
                  <c:v>0.14000000000000001</c:v>
                </c:pt>
                <c:pt idx="150">
                  <c:v>0.15</c:v>
                </c:pt>
                <c:pt idx="151">
                  <c:v>0.08</c:v>
                </c:pt>
                <c:pt idx="152">
                  <c:v>0.14000000000000001</c:v>
                </c:pt>
                <c:pt idx="153">
                  <c:v>0.44</c:v>
                </c:pt>
                <c:pt idx="154">
                  <c:v>0.09</c:v>
                </c:pt>
                <c:pt idx="155">
                  <c:v>0.06</c:v>
                </c:pt>
                <c:pt idx="156">
                  <c:v>0.15</c:v>
                </c:pt>
                <c:pt idx="157">
                  <c:v>0.19</c:v>
                </c:pt>
                <c:pt idx="158">
                  <c:v>0.05</c:v>
                </c:pt>
                <c:pt idx="159">
                  <c:v>0.06</c:v>
                </c:pt>
                <c:pt idx="160">
                  <c:v>0.12</c:v>
                </c:pt>
                <c:pt idx="161">
                  <c:v>0.06</c:v>
                </c:pt>
                <c:pt idx="162">
                  <c:v>0.12</c:v>
                </c:pt>
                <c:pt idx="163">
                  <c:v>0.18</c:v>
                </c:pt>
                <c:pt idx="164">
                  <c:v>0.1</c:v>
                </c:pt>
                <c:pt idx="165">
                  <c:v>0.11</c:v>
                </c:pt>
                <c:pt idx="166">
                  <c:v>0.15</c:v>
                </c:pt>
                <c:pt idx="167">
                  <c:v>0.08</c:v>
                </c:pt>
                <c:pt idx="168">
                  <c:v>0.1</c:v>
                </c:pt>
                <c:pt idx="169">
                  <c:v>0.14000000000000001</c:v>
                </c:pt>
                <c:pt idx="170">
                  <c:v>0.1</c:v>
                </c:pt>
                <c:pt idx="171">
                  <c:v>7.0000000000000007E-2</c:v>
                </c:pt>
                <c:pt idx="172">
                  <c:v>0.14000000000000001</c:v>
                </c:pt>
                <c:pt idx="173">
                  <c:v>0.18</c:v>
                </c:pt>
                <c:pt idx="174">
                  <c:v>0.13</c:v>
                </c:pt>
                <c:pt idx="175">
                  <c:v>0.11</c:v>
                </c:pt>
                <c:pt idx="176">
                  <c:v>0.14000000000000001</c:v>
                </c:pt>
                <c:pt idx="177">
                  <c:v>0.14000000000000001</c:v>
                </c:pt>
                <c:pt idx="178">
                  <c:v>0.19</c:v>
                </c:pt>
                <c:pt idx="179">
                  <c:v>0.18</c:v>
                </c:pt>
                <c:pt idx="180">
                  <c:v>0.06</c:v>
                </c:pt>
                <c:pt idx="181">
                  <c:v>0.06</c:v>
                </c:pt>
                <c:pt idx="182">
                  <c:v>7.0000000000000007E-2</c:v>
                </c:pt>
                <c:pt idx="183">
                  <c:v>0.06</c:v>
                </c:pt>
                <c:pt idx="184">
                  <c:v>0.06</c:v>
                </c:pt>
                <c:pt idx="185">
                  <c:v>0.11</c:v>
                </c:pt>
                <c:pt idx="186">
                  <c:v>0.05</c:v>
                </c:pt>
                <c:pt idx="187">
                  <c:v>0.11</c:v>
                </c:pt>
                <c:pt idx="188">
                  <c:v>0.17</c:v>
                </c:pt>
                <c:pt idx="189">
                  <c:v>0.23</c:v>
                </c:pt>
                <c:pt idx="190">
                  <c:v>0.06</c:v>
                </c:pt>
                <c:pt idx="191">
                  <c:v>0.09</c:v>
                </c:pt>
                <c:pt idx="192">
                  <c:v>0.11</c:v>
                </c:pt>
                <c:pt idx="193">
                  <c:v>0.06</c:v>
                </c:pt>
                <c:pt idx="194">
                  <c:v>0.1</c:v>
                </c:pt>
                <c:pt idx="195">
                  <c:v>0.05</c:v>
                </c:pt>
                <c:pt idx="196">
                  <c:v>0.05</c:v>
                </c:pt>
                <c:pt idx="197">
                  <c:v>0.05</c:v>
                </c:pt>
                <c:pt idx="198">
                  <c:v>0.12</c:v>
                </c:pt>
                <c:pt idx="199">
                  <c:v>0.04</c:v>
                </c:pt>
                <c:pt idx="200">
                  <c:v>0.1</c:v>
                </c:pt>
                <c:pt idx="201">
                  <c:v>0.17</c:v>
                </c:pt>
                <c:pt idx="202">
                  <c:v>0.06</c:v>
                </c:pt>
                <c:pt idx="203">
                  <c:v>0.13</c:v>
                </c:pt>
                <c:pt idx="204">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6</c:f>
              <c:strCache>
                <c:ptCount val="205"/>
                <c:pt idx="0">
                  <c:v>Ruinart</c:v>
                </c:pt>
                <c:pt idx="1">
                  <c:v>Nicolas</c:v>
                </c:pt>
                <c:pt idx="2">
                  <c:v>Ruinart</c:v>
                </c:pt>
                <c:pt idx="3">
                  <c:v>Deutz</c:v>
                </c:pt>
                <c:pt idx="4">
                  <c:v>De Bligny</c:v>
                </c:pt>
                <c:pt idx="5">
                  <c:v>Heidsieck &amp;</c:v>
                </c:pt>
                <c:pt idx="6">
                  <c:v>Nicolas Feu</c:v>
                </c:pt>
                <c:pt idx="7">
                  <c:v>Malard</c:v>
                </c:pt>
                <c:pt idx="8">
                  <c:v>Ayala</c:v>
                </c:pt>
                <c:pt idx="9">
                  <c:v>Canard Duch</c:v>
                </c:pt>
                <c:pt idx="10">
                  <c:v>Laurent Per</c:v>
                </c:pt>
                <c:pt idx="11">
                  <c:v>Ruinart</c:v>
                </c:pt>
                <c:pt idx="12">
                  <c:v>Bollinger</c:v>
                </c:pt>
                <c:pt idx="13">
                  <c:v>Demoiselle</c:v>
                </c:pt>
                <c:pt idx="14">
                  <c:v>Taittinger</c:v>
                </c:pt>
                <c:pt idx="15">
                  <c:v>Ruinart</c:v>
                </c:pt>
                <c:pt idx="16">
                  <c:v>Ruinart</c:v>
                </c:pt>
                <c:pt idx="17">
                  <c:v>Deutz</c:v>
                </c:pt>
                <c:pt idx="18">
                  <c:v>Besserat De</c:v>
                </c:pt>
                <c:pt idx="19">
                  <c:v>Malard</c:v>
                </c:pt>
                <c:pt idx="20">
                  <c:v>Ruinart</c:v>
                </c:pt>
                <c:pt idx="21">
                  <c:v>Perrier Jou</c:v>
                </c:pt>
                <c:pt idx="22">
                  <c:v>Vesselle</c:v>
                </c:pt>
                <c:pt idx="23">
                  <c:v>Savian</c:v>
                </c:pt>
                <c:pt idx="24">
                  <c:v>Laurent Per</c:v>
                </c:pt>
                <c:pt idx="25">
                  <c:v>Ruinart</c:v>
                </c:pt>
                <c:pt idx="26">
                  <c:v>All Others</c:v>
                </c:pt>
                <c:pt idx="27">
                  <c:v>Nicolas</c:v>
                </c:pt>
                <c:pt idx="28">
                  <c:v>Dom Perigno</c:v>
                </c:pt>
                <c:pt idx="29">
                  <c:v>Moët &amp; Chan</c:v>
                </c:pt>
                <c:pt idx="30">
                  <c:v>Campari: Al</c:v>
                </c:pt>
                <c:pt idx="31">
                  <c:v>Nicolas</c:v>
                </c:pt>
                <c:pt idx="32">
                  <c:v>Pommery</c:v>
                </c:pt>
                <c:pt idx="33">
                  <c:v>Dom Perigno</c:v>
                </c:pt>
                <c:pt idx="34">
                  <c:v>Moët &amp; Chan</c:v>
                </c:pt>
                <c:pt idx="35">
                  <c:v>Roederer</c:v>
                </c:pt>
                <c:pt idx="36">
                  <c:v>Veuve Clicq</c:v>
                </c:pt>
                <c:pt idx="37">
                  <c:v>Henriot</c:v>
                </c:pt>
                <c:pt idx="38">
                  <c:v>Deutz</c:v>
                </c:pt>
                <c:pt idx="39">
                  <c:v>Demoiselle</c:v>
                </c:pt>
                <c:pt idx="40">
                  <c:v>De Bligny</c:v>
                </c:pt>
                <c:pt idx="41">
                  <c:v>All Others</c:v>
                </c:pt>
                <c:pt idx="42">
                  <c:v>Taittinger</c:v>
                </c:pt>
                <c:pt idx="43">
                  <c:v>Ruinart</c:v>
                </c:pt>
                <c:pt idx="44">
                  <c:v>Laurent Per</c:v>
                </c:pt>
                <c:pt idx="45">
                  <c:v>Veuve Clicq</c:v>
                </c:pt>
                <c:pt idx="46">
                  <c:v>Canard Duch</c:v>
                </c:pt>
                <c:pt idx="47">
                  <c:v>Roederer</c:v>
                </c:pt>
                <c:pt idx="48">
                  <c:v>Veuve Clicq</c:v>
                </c:pt>
                <c:pt idx="49">
                  <c:v>Besserat De</c:v>
                </c:pt>
                <c:pt idx="50">
                  <c:v>Malard</c:v>
                </c:pt>
                <c:pt idx="51">
                  <c:v>Nicolas</c:v>
                </c:pt>
                <c:pt idx="52">
                  <c:v>De Venoge</c:v>
                </c:pt>
                <c:pt idx="53">
                  <c:v>Ruinart</c:v>
                </c:pt>
                <c:pt idx="54">
                  <c:v>Bollinger</c:v>
                </c:pt>
                <c:pt idx="55">
                  <c:v>Malard</c:v>
                </c:pt>
                <c:pt idx="56">
                  <c:v>Ruinart</c:v>
                </c:pt>
                <c:pt idx="57">
                  <c:v>De Venoge</c:v>
                </c:pt>
                <c:pt idx="58">
                  <c:v>Nicolas Feu</c:v>
                </c:pt>
                <c:pt idx="59">
                  <c:v>All Others</c:v>
                </c:pt>
                <c:pt idx="60">
                  <c:v>Deutz</c:v>
                </c:pt>
                <c:pt idx="61">
                  <c:v>Canard Duch</c:v>
                </c:pt>
                <c:pt idx="62">
                  <c:v>Besserat De</c:v>
                </c:pt>
                <c:pt idx="63">
                  <c:v>Malard</c:v>
                </c:pt>
                <c:pt idx="64">
                  <c:v>De Venoge</c:v>
                </c:pt>
                <c:pt idx="65">
                  <c:v>Nicolas Feu</c:v>
                </c:pt>
                <c:pt idx="66">
                  <c:v>Piper Heids</c:v>
                </c:pt>
                <c:pt idx="67">
                  <c:v>Laurent Per</c:v>
                </c:pt>
                <c:pt idx="68">
                  <c:v>Louis Marti</c:v>
                </c:pt>
                <c:pt idx="69">
                  <c:v>Krug</c:v>
                </c:pt>
                <c:pt idx="70">
                  <c:v>Henriot</c:v>
                </c:pt>
                <c:pt idx="71">
                  <c:v>Lanson</c:v>
                </c:pt>
                <c:pt idx="72">
                  <c:v>Ruinart</c:v>
                </c:pt>
                <c:pt idx="73">
                  <c:v>Campari: Al</c:v>
                </c:pt>
                <c:pt idx="74">
                  <c:v>De Venoge</c:v>
                </c:pt>
                <c:pt idx="75">
                  <c:v>Nicolas</c:v>
                </c:pt>
                <c:pt idx="76">
                  <c:v>Pommery</c:v>
                </c:pt>
                <c:pt idx="77">
                  <c:v>Delamotte</c:v>
                </c:pt>
                <c:pt idx="78">
                  <c:v>Nicolas Feu</c:v>
                </c:pt>
                <c:pt idx="79">
                  <c:v>Roederer</c:v>
                </c:pt>
                <c:pt idx="80">
                  <c:v>Roederer</c:v>
                </c:pt>
                <c:pt idx="81">
                  <c:v>Pommery</c:v>
                </c:pt>
                <c:pt idx="82">
                  <c:v>Henriot</c:v>
                </c:pt>
                <c:pt idx="83">
                  <c:v>Canard Duch</c:v>
                </c:pt>
                <c:pt idx="84">
                  <c:v>Nicolas</c:v>
                </c:pt>
                <c:pt idx="85">
                  <c:v>Dom Perigno</c:v>
                </c:pt>
                <c:pt idx="86">
                  <c:v>Henriot</c:v>
                </c:pt>
                <c:pt idx="87">
                  <c:v>Roederer</c:v>
                </c:pt>
                <c:pt idx="88">
                  <c:v>Ruinart</c:v>
                </c:pt>
                <c:pt idx="89">
                  <c:v>Moët &amp; Chan</c:v>
                </c:pt>
                <c:pt idx="90">
                  <c:v>Veuve Clicq</c:v>
                </c:pt>
                <c:pt idx="91">
                  <c:v>Roederer</c:v>
                </c:pt>
                <c:pt idx="92">
                  <c:v>Deutz</c:v>
                </c:pt>
                <c:pt idx="93">
                  <c:v>Deutz</c:v>
                </c:pt>
                <c:pt idx="94">
                  <c:v>Nicolas</c:v>
                </c:pt>
                <c:pt idx="95">
                  <c:v>Malard</c:v>
                </c:pt>
                <c:pt idx="96">
                  <c:v>All Others</c:v>
                </c:pt>
                <c:pt idx="97">
                  <c:v>Ruinart</c:v>
                </c:pt>
                <c:pt idx="98">
                  <c:v>Roederer</c:v>
                </c:pt>
                <c:pt idx="99">
                  <c:v>Taittinger</c:v>
                </c:pt>
                <c:pt idx="100">
                  <c:v>Vranken</c:v>
                </c:pt>
                <c:pt idx="101">
                  <c:v>Ruinart</c:v>
                </c:pt>
                <c:pt idx="102">
                  <c:v>Vranken</c:v>
                </c:pt>
                <c:pt idx="103">
                  <c:v>Nicolas</c:v>
                </c:pt>
                <c:pt idx="104">
                  <c:v>Nicolas</c:v>
                </c:pt>
                <c:pt idx="105">
                  <c:v>Laurent Per</c:v>
                </c:pt>
                <c:pt idx="106">
                  <c:v>Demoiselle</c:v>
                </c:pt>
                <c:pt idx="107">
                  <c:v>Perrier Jou</c:v>
                </c:pt>
                <c:pt idx="108">
                  <c:v>Nicolas</c:v>
                </c:pt>
                <c:pt idx="109">
                  <c:v>Nicolas</c:v>
                </c:pt>
                <c:pt idx="110">
                  <c:v>Nicolas</c:v>
                </c:pt>
                <c:pt idx="111">
                  <c:v>Ruinart</c:v>
                </c:pt>
                <c:pt idx="112">
                  <c:v>Laurent Per</c:v>
                </c:pt>
                <c:pt idx="113">
                  <c:v>Ayala</c:v>
                </c:pt>
                <c:pt idx="114">
                  <c:v>Roederer</c:v>
                </c:pt>
                <c:pt idx="115">
                  <c:v>Canard Duch</c:v>
                </c:pt>
                <c:pt idx="116">
                  <c:v>Roederer</c:v>
                </c:pt>
                <c:pt idx="117">
                  <c:v>Ruinart</c:v>
                </c:pt>
                <c:pt idx="118">
                  <c:v>Canard Duch</c:v>
                </c:pt>
                <c:pt idx="119">
                  <c:v>Ayala</c:v>
                </c:pt>
                <c:pt idx="120">
                  <c:v>Nicolas Feu</c:v>
                </c:pt>
                <c:pt idx="121">
                  <c:v>All Others</c:v>
                </c:pt>
                <c:pt idx="122">
                  <c:v>Piper Heids</c:v>
                </c:pt>
                <c:pt idx="123">
                  <c:v>Ruinart</c:v>
                </c:pt>
                <c:pt idx="124">
                  <c:v>Ruinart</c:v>
                </c:pt>
                <c:pt idx="125">
                  <c:v>Nicolas</c:v>
                </c:pt>
                <c:pt idx="126">
                  <c:v>Nicolas</c:v>
                </c:pt>
                <c:pt idx="127">
                  <c:v>All Others</c:v>
                </c:pt>
                <c:pt idx="128">
                  <c:v>Pommery</c:v>
                </c:pt>
                <c:pt idx="129">
                  <c:v>Bollinger</c:v>
                </c:pt>
                <c:pt idx="130">
                  <c:v>Besserat De</c:v>
                </c:pt>
                <c:pt idx="131">
                  <c:v>Roederer</c:v>
                </c:pt>
                <c:pt idx="132">
                  <c:v>Roederer</c:v>
                </c:pt>
                <c:pt idx="133">
                  <c:v>Taittinger</c:v>
                </c:pt>
                <c:pt idx="134">
                  <c:v>Pommery</c:v>
                </c:pt>
                <c:pt idx="135">
                  <c:v>Ruinart</c:v>
                </c:pt>
                <c:pt idx="136">
                  <c:v>Roederer</c:v>
                </c:pt>
                <c:pt idx="137">
                  <c:v>Roederer</c:v>
                </c:pt>
                <c:pt idx="138">
                  <c:v>Ruinart</c:v>
                </c:pt>
                <c:pt idx="139">
                  <c:v>Perrier Jou</c:v>
                </c:pt>
                <c:pt idx="140">
                  <c:v>Taittinger</c:v>
                </c:pt>
                <c:pt idx="141">
                  <c:v>Louis Marti</c:v>
                </c:pt>
                <c:pt idx="142">
                  <c:v>Pommery</c:v>
                </c:pt>
                <c:pt idx="143">
                  <c:v>All Others</c:v>
                </c:pt>
                <c:pt idx="144">
                  <c:v>Deutz</c:v>
                </c:pt>
                <c:pt idx="145">
                  <c:v>Roederer</c:v>
                </c:pt>
                <c:pt idx="146">
                  <c:v>Canard Duch</c:v>
                </c:pt>
                <c:pt idx="147">
                  <c:v>Nicolas</c:v>
                </c:pt>
                <c:pt idx="148">
                  <c:v>Demoiselle</c:v>
                </c:pt>
                <c:pt idx="149">
                  <c:v>Vranken</c:v>
                </c:pt>
                <c:pt idx="150">
                  <c:v>Moët &amp; Chan</c:v>
                </c:pt>
                <c:pt idx="151">
                  <c:v>Lanson</c:v>
                </c:pt>
                <c:pt idx="152">
                  <c:v>Vesselle</c:v>
                </c:pt>
                <c:pt idx="153">
                  <c:v>Nicolas</c:v>
                </c:pt>
                <c:pt idx="154">
                  <c:v>Ruinart</c:v>
                </c:pt>
                <c:pt idx="155">
                  <c:v>Dom Perigno</c:v>
                </c:pt>
                <c:pt idx="156">
                  <c:v>Nicolas Feu</c:v>
                </c:pt>
                <c:pt idx="157">
                  <c:v>Besserat De</c:v>
                </c:pt>
                <c:pt idx="158">
                  <c:v>Roederer</c:v>
                </c:pt>
                <c:pt idx="159">
                  <c:v>All Others</c:v>
                </c:pt>
                <c:pt idx="160">
                  <c:v>All Others</c:v>
                </c:pt>
                <c:pt idx="161">
                  <c:v>De Venoge</c:v>
                </c:pt>
                <c:pt idx="162">
                  <c:v>Piper Heids</c:v>
                </c:pt>
                <c:pt idx="163">
                  <c:v>Laurent Per</c:v>
                </c:pt>
                <c:pt idx="164">
                  <c:v>Bollinger</c:v>
                </c:pt>
                <c:pt idx="165">
                  <c:v>Nicolas</c:v>
                </c:pt>
                <c:pt idx="166">
                  <c:v>Laurent Per</c:v>
                </c:pt>
                <c:pt idx="167">
                  <c:v>Deutz</c:v>
                </c:pt>
                <c:pt idx="168">
                  <c:v>Ruinart</c:v>
                </c:pt>
                <c:pt idx="169">
                  <c:v>Pommery</c:v>
                </c:pt>
                <c:pt idx="170">
                  <c:v>Pommery</c:v>
                </c:pt>
                <c:pt idx="171">
                  <c:v>De Venoge</c:v>
                </c:pt>
                <c:pt idx="172">
                  <c:v>Roederer</c:v>
                </c:pt>
                <c:pt idx="173">
                  <c:v>Pommery</c:v>
                </c:pt>
                <c:pt idx="174">
                  <c:v>Moët &amp; Chan</c:v>
                </c:pt>
                <c:pt idx="175">
                  <c:v>Laurent Per</c:v>
                </c:pt>
                <c:pt idx="176">
                  <c:v>Martel</c:v>
                </c:pt>
                <c:pt idx="177">
                  <c:v>Piper Heids</c:v>
                </c:pt>
                <c:pt idx="178">
                  <c:v>Lanson</c:v>
                </c:pt>
                <c:pt idx="179">
                  <c:v>Piper Heids</c:v>
                </c:pt>
                <c:pt idx="180">
                  <c:v>Bollinger</c:v>
                </c:pt>
                <c:pt idx="181">
                  <c:v>De Venoge</c:v>
                </c:pt>
                <c:pt idx="182">
                  <c:v>De Venoge</c:v>
                </c:pt>
                <c:pt idx="183">
                  <c:v>Laurent Per</c:v>
                </c:pt>
                <c:pt idx="184">
                  <c:v>Bollinger</c:v>
                </c:pt>
                <c:pt idx="185">
                  <c:v>Malard</c:v>
                </c:pt>
                <c:pt idx="186">
                  <c:v>Delamotte</c:v>
                </c:pt>
                <c:pt idx="187">
                  <c:v>Nicolas</c:v>
                </c:pt>
                <c:pt idx="188">
                  <c:v>Roederer</c:v>
                </c:pt>
                <c:pt idx="189">
                  <c:v>Vesselle</c:v>
                </c:pt>
                <c:pt idx="190">
                  <c:v>Henriot</c:v>
                </c:pt>
                <c:pt idx="191">
                  <c:v>Canard Duch</c:v>
                </c:pt>
                <c:pt idx="192">
                  <c:v>Roederer</c:v>
                </c:pt>
                <c:pt idx="193">
                  <c:v>Nicolas</c:v>
                </c:pt>
                <c:pt idx="194">
                  <c:v>Malard</c:v>
                </c:pt>
                <c:pt idx="195">
                  <c:v>Deutz</c:v>
                </c:pt>
                <c:pt idx="196">
                  <c:v>Laurent Per</c:v>
                </c:pt>
                <c:pt idx="197">
                  <c:v>All Others</c:v>
                </c:pt>
                <c:pt idx="198">
                  <c:v>Henriot</c:v>
                </c:pt>
                <c:pt idx="199">
                  <c:v>Moët &amp; Chan</c:v>
                </c:pt>
                <c:pt idx="200">
                  <c:v>Nicolas</c:v>
                </c:pt>
                <c:pt idx="201">
                  <c:v>Veuve Clicq</c:v>
                </c:pt>
                <c:pt idx="202">
                  <c:v>Bollinger</c:v>
                </c:pt>
                <c:pt idx="203">
                  <c:v>All Others</c:v>
                </c:pt>
                <c:pt idx="204">
                  <c:v>All Others</c:v>
                </c:pt>
              </c:strCache>
            </c:strRef>
          </c:cat>
          <c:val>
            <c:numRef>
              <c:f>Sheet1!$C$2:$C$206</c:f>
              <c:numCache>
                <c:formatCode>General</c:formatCode>
                <c:ptCount val="205"/>
                <c:pt idx="0">
                  <c:v>0.1115567535099091</c:v>
                </c:pt>
                <c:pt idx="1">
                  <c:v>0.19185412160081508</c:v>
                </c:pt>
                <c:pt idx="2">
                  <c:v>0.24076759896746136</c:v>
                </c:pt>
                <c:pt idx="3">
                  <c:v>0.28451743264358031</c:v>
                </c:pt>
                <c:pt idx="4">
                  <c:v>0.32799354473257025</c:v>
                </c:pt>
                <c:pt idx="5">
                  <c:v>0.37077774947631742</c:v>
                </c:pt>
                <c:pt idx="6">
                  <c:v>0.40749731030523761</c:v>
                </c:pt>
                <c:pt idx="7">
                  <c:v>0.44064233332446273</c:v>
                </c:pt>
                <c:pt idx="8">
                  <c:v>0.46829771784626734</c:v>
                </c:pt>
                <c:pt idx="9">
                  <c:v>0.49427085511384161</c:v>
                </c:pt>
                <c:pt idx="10">
                  <c:v>0.51865583692276118</c:v>
                </c:pt>
                <c:pt idx="11">
                  <c:v>0.53592215662197162</c:v>
                </c:pt>
                <c:pt idx="12">
                  <c:v>0.55235780733801965</c:v>
                </c:pt>
                <c:pt idx="13">
                  <c:v>0.56837527229595397</c:v>
                </c:pt>
                <c:pt idx="14">
                  <c:v>0.5842653806820991</c:v>
                </c:pt>
                <c:pt idx="15">
                  <c:v>0.59996445421056044</c:v>
                </c:pt>
                <c:pt idx="16">
                  <c:v>0.61398223090696902</c:v>
                </c:pt>
                <c:pt idx="17">
                  <c:v>0.62763884717591567</c:v>
                </c:pt>
                <c:pt idx="18">
                  <c:v>0.64126409951300378</c:v>
                </c:pt>
                <c:pt idx="19">
                  <c:v>0.65167882573439129</c:v>
                </c:pt>
                <c:pt idx="20">
                  <c:v>0.66157081975813659</c:v>
                </c:pt>
                <c:pt idx="21">
                  <c:v>0.67117483586208992</c:v>
                </c:pt>
                <c:pt idx="22">
                  <c:v>0.68015442459540532</c:v>
                </c:pt>
                <c:pt idx="23">
                  <c:v>0.6890931451750868</c:v>
                </c:pt>
                <c:pt idx="24">
                  <c:v>0.69777049965594717</c:v>
                </c:pt>
                <c:pt idx="25">
                  <c:v>0.70554970517904048</c:v>
                </c:pt>
                <c:pt idx="26">
                  <c:v>0.71312742120049721</c:v>
                </c:pt>
                <c:pt idx="27">
                  <c:v>0.72064240935823687</c:v>
                </c:pt>
                <c:pt idx="28">
                  <c:v>0.72805095023209299</c:v>
                </c:pt>
                <c:pt idx="29">
                  <c:v>0.73532928326762736</c:v>
                </c:pt>
                <c:pt idx="30">
                  <c:v>0.74229777867328661</c:v>
                </c:pt>
                <c:pt idx="31">
                  <c:v>0.7491180082192509</c:v>
                </c:pt>
                <c:pt idx="32">
                  <c:v>0.7558983200337589</c:v>
                </c:pt>
                <c:pt idx="33">
                  <c:v>0.76263966453898813</c:v>
                </c:pt>
                <c:pt idx="34">
                  <c:v>0.76924985078371799</c:v>
                </c:pt>
                <c:pt idx="35">
                  <c:v>0.775833425207477</c:v>
                </c:pt>
                <c:pt idx="36">
                  <c:v>0.78215563353241491</c:v>
                </c:pt>
                <c:pt idx="37">
                  <c:v>0.78847404016864275</c:v>
                </c:pt>
                <c:pt idx="38">
                  <c:v>0.79447690664193016</c:v>
                </c:pt>
                <c:pt idx="39">
                  <c:v>0.80044365707247145</c:v>
                </c:pt>
                <c:pt idx="40">
                  <c:v>0.80633057204010006</c:v>
                </c:pt>
                <c:pt idx="41">
                  <c:v>0.8120340555274651</c:v>
                </c:pt>
                <c:pt idx="42">
                  <c:v>0.81770902634950426</c:v>
                </c:pt>
                <c:pt idx="43">
                  <c:v>0.82280614048760436</c:v>
                </c:pt>
                <c:pt idx="44">
                  <c:v>0.82770461639060045</c:v>
                </c:pt>
                <c:pt idx="45">
                  <c:v>0.83254226527423458</c:v>
                </c:pt>
                <c:pt idx="46">
                  <c:v>0.83735425275907538</c:v>
                </c:pt>
                <c:pt idx="47">
                  <c:v>0.84207880140358327</c:v>
                </c:pt>
                <c:pt idx="48">
                  <c:v>0.84674442387308424</c:v>
                </c:pt>
                <c:pt idx="49">
                  <c:v>0.85120095346352831</c:v>
                </c:pt>
                <c:pt idx="50">
                  <c:v>0.85561756532251609</c:v>
                </c:pt>
                <c:pt idx="51">
                  <c:v>0.85939074136731519</c:v>
                </c:pt>
                <c:pt idx="52">
                  <c:v>0.86316296698993678</c:v>
                </c:pt>
                <c:pt idx="53">
                  <c:v>0.86636208803950698</c:v>
                </c:pt>
                <c:pt idx="54">
                  <c:v>0.86946141476043637</c:v>
                </c:pt>
                <c:pt idx="55">
                  <c:v>0.87249421192893861</c:v>
                </c:pt>
                <c:pt idx="56">
                  <c:v>0.87545002490106083</c:v>
                </c:pt>
                <c:pt idx="57">
                  <c:v>0.87840203618447288</c:v>
                </c:pt>
                <c:pt idx="58">
                  <c:v>0.88130747678118593</c:v>
                </c:pt>
                <c:pt idx="59">
                  <c:v>0.88418630555692812</c:v>
                </c:pt>
                <c:pt idx="60">
                  <c:v>0.88704517546694217</c:v>
                </c:pt>
                <c:pt idx="61">
                  <c:v>0.88985177215719202</c:v>
                </c:pt>
                <c:pt idx="62">
                  <c:v>0.89256427705186625</c:v>
                </c:pt>
                <c:pt idx="63">
                  <c:v>0.89519789690580542</c:v>
                </c:pt>
                <c:pt idx="64">
                  <c:v>0.89782201253796923</c:v>
                </c:pt>
                <c:pt idx="65">
                  <c:v>0.9004271197265824</c:v>
                </c:pt>
                <c:pt idx="66">
                  <c:v>0.90303127649301806</c:v>
                </c:pt>
                <c:pt idx="67">
                  <c:v>0.90554894484129833</c:v>
                </c:pt>
                <c:pt idx="68">
                  <c:v>0.90800768701457168</c:v>
                </c:pt>
                <c:pt idx="69">
                  <c:v>0.91043696610034164</c:v>
                </c:pt>
                <c:pt idx="70">
                  <c:v>0.91281302154416977</c:v>
                </c:pt>
                <c:pt idx="71">
                  <c:v>0.91515581221178433</c:v>
                </c:pt>
                <c:pt idx="72">
                  <c:v>0.91745963557012011</c:v>
                </c:pt>
                <c:pt idx="73">
                  <c:v>0.91971213613086922</c:v>
                </c:pt>
                <c:pt idx="74">
                  <c:v>0.92193137191540475</c:v>
                </c:pt>
                <c:pt idx="75">
                  <c:v>0.92397953170798464</c:v>
                </c:pt>
                <c:pt idx="76">
                  <c:v>0.92581479693279745</c:v>
                </c:pt>
                <c:pt idx="77">
                  <c:v>0.92762535118099454</c:v>
                </c:pt>
                <c:pt idx="78">
                  <c:v>0.92941309529693084</c:v>
                </c:pt>
                <c:pt idx="79">
                  <c:v>0.93113145859390734</c:v>
                </c:pt>
                <c:pt idx="80">
                  <c:v>0.93281750753684778</c:v>
                </c:pt>
                <c:pt idx="81">
                  <c:v>0.93449405225801296</c:v>
                </c:pt>
                <c:pt idx="82">
                  <c:v>0.93615539022433758</c:v>
                </c:pt>
                <c:pt idx="83">
                  <c:v>0.93774544652734737</c:v>
                </c:pt>
                <c:pt idx="84">
                  <c:v>0.93923760934607148</c:v>
                </c:pt>
                <c:pt idx="85">
                  <c:v>0.94070981329906744</c:v>
                </c:pt>
                <c:pt idx="86">
                  <c:v>0.94217346345246555</c:v>
                </c:pt>
                <c:pt idx="87">
                  <c:v>0.94363426233933112</c:v>
                </c:pt>
                <c:pt idx="88">
                  <c:v>0.94509125953748652</c:v>
                </c:pt>
                <c:pt idx="89">
                  <c:v>0.9464836280275698</c:v>
                </c:pt>
                <c:pt idx="90">
                  <c:v>0.94784083089708449</c:v>
                </c:pt>
                <c:pt idx="91">
                  <c:v>0.94917617405651589</c:v>
                </c:pt>
                <c:pt idx="92">
                  <c:v>0.9504544918852954</c:v>
                </c:pt>
                <c:pt idx="93">
                  <c:v>0.95170619789310407</c:v>
                </c:pt>
                <c:pt idx="94">
                  <c:v>0.95293034165776436</c:v>
                </c:pt>
                <c:pt idx="95">
                  <c:v>0.95407750122604462</c:v>
                </c:pt>
                <c:pt idx="96">
                  <c:v>0.95522085910561472</c:v>
                </c:pt>
                <c:pt idx="97">
                  <c:v>0.95634425811945667</c:v>
                </c:pt>
                <c:pt idx="98">
                  <c:v>0.95745815291152325</c:v>
                </c:pt>
                <c:pt idx="99">
                  <c:v>0.95855589052657186</c:v>
                </c:pt>
                <c:pt idx="100">
                  <c:v>0.9596317684315373</c:v>
                </c:pt>
                <c:pt idx="101">
                  <c:v>0.96069624127037234</c:v>
                </c:pt>
                <c:pt idx="102">
                  <c:v>0.96175786284267473</c:v>
                </c:pt>
                <c:pt idx="103">
                  <c:v>0.96271303713109369</c:v>
                </c:pt>
                <c:pt idx="104">
                  <c:v>0.96363874833200913</c:v>
                </c:pt>
                <c:pt idx="105">
                  <c:v>0.96456160826639203</c:v>
                </c:pt>
                <c:pt idx="106">
                  <c:v>0.96547021186811188</c:v>
                </c:pt>
                <c:pt idx="107">
                  <c:v>0.96637786504765422</c:v>
                </c:pt>
                <c:pt idx="108">
                  <c:v>0.96728361738284152</c:v>
                </c:pt>
                <c:pt idx="109">
                  <c:v>0.96818461760714114</c:v>
                </c:pt>
                <c:pt idx="110">
                  <c:v>0.96908371698708573</c:v>
                </c:pt>
                <c:pt idx="111">
                  <c:v>0.96998091552267529</c:v>
                </c:pt>
                <c:pt idx="112">
                  <c:v>0.97086290730342428</c:v>
                </c:pt>
                <c:pt idx="113">
                  <c:v>0.97172969232933282</c:v>
                </c:pt>
                <c:pt idx="114">
                  <c:v>0.97256226215685015</c:v>
                </c:pt>
                <c:pt idx="115">
                  <c:v>0.97337392269646184</c:v>
                </c:pt>
                <c:pt idx="116">
                  <c:v>0.97417988070300832</c:v>
                </c:pt>
                <c:pt idx="117">
                  <c:v>0.97497918575431208</c:v>
                </c:pt>
                <c:pt idx="118">
                  <c:v>0.97577563953908331</c:v>
                </c:pt>
                <c:pt idx="119">
                  <c:v>0.97654833276941622</c:v>
                </c:pt>
                <c:pt idx="120">
                  <c:v>0.97729536460095578</c:v>
                </c:pt>
                <c:pt idx="121">
                  <c:v>0.97801198292281433</c:v>
                </c:pt>
                <c:pt idx="122">
                  <c:v>0.97871054322329976</c:v>
                </c:pt>
                <c:pt idx="123">
                  <c:v>0.97939959930200993</c:v>
                </c:pt>
                <c:pt idx="124">
                  <c:v>0.98006964693716947</c:v>
                </c:pt>
                <c:pt idx="125">
                  <c:v>0.98070072726305024</c:v>
                </c:pt>
                <c:pt idx="126">
                  <c:v>0.98131850167844559</c:v>
                </c:pt>
                <c:pt idx="127">
                  <c:v>0.98193152398295325</c:v>
                </c:pt>
                <c:pt idx="128">
                  <c:v>0.98253124037697548</c:v>
                </c:pt>
                <c:pt idx="129">
                  <c:v>0.98312335339357748</c:v>
                </c:pt>
                <c:pt idx="130">
                  <c:v>0.98369075543356366</c:v>
                </c:pt>
                <c:pt idx="131">
                  <c:v>0.98425150451830712</c:v>
                </c:pt>
                <c:pt idx="132">
                  <c:v>0.98480465022563035</c:v>
                </c:pt>
                <c:pt idx="133">
                  <c:v>0.98532928326762759</c:v>
                </c:pt>
                <c:pt idx="134">
                  <c:v>0.98585296588744731</c:v>
                </c:pt>
                <c:pt idx="135">
                  <c:v>0.98636619386331414</c:v>
                </c:pt>
                <c:pt idx="136">
                  <c:v>0.98686516550651804</c:v>
                </c:pt>
                <c:pt idx="137">
                  <c:v>0.9873622363053669</c:v>
                </c:pt>
                <c:pt idx="138">
                  <c:v>0.98783554654977745</c:v>
                </c:pt>
                <c:pt idx="139">
                  <c:v>0.98830315426112281</c:v>
                </c:pt>
                <c:pt idx="140">
                  <c:v>0.98874224930714227</c:v>
                </c:pt>
                <c:pt idx="141">
                  <c:v>0.98912907113339754</c:v>
                </c:pt>
                <c:pt idx="142">
                  <c:v>0.98950638873787744</c:v>
                </c:pt>
                <c:pt idx="143">
                  <c:v>0.98987895423146965</c:v>
                </c:pt>
                <c:pt idx="144">
                  <c:v>0.99024011465893158</c:v>
                </c:pt>
                <c:pt idx="145">
                  <c:v>0.99060032466421588</c:v>
                </c:pt>
                <c:pt idx="146">
                  <c:v>0.99095958424732267</c:v>
                </c:pt>
                <c:pt idx="147">
                  <c:v>0.99131694298607442</c:v>
                </c:pt>
                <c:pt idx="148">
                  <c:v>0.99165909496998572</c:v>
                </c:pt>
                <c:pt idx="149">
                  <c:v>0.99199744526518685</c:v>
                </c:pt>
                <c:pt idx="150">
                  <c:v>0.9923196383833699</c:v>
                </c:pt>
                <c:pt idx="151">
                  <c:v>0.99263232727977768</c:v>
                </c:pt>
                <c:pt idx="152">
                  <c:v>0.99294406575400795</c:v>
                </c:pt>
                <c:pt idx="153">
                  <c:v>0.99325295296170557</c:v>
                </c:pt>
                <c:pt idx="154">
                  <c:v>0.99354758383674024</c:v>
                </c:pt>
                <c:pt idx="155">
                  <c:v>0.99380894993556135</c:v>
                </c:pt>
                <c:pt idx="156">
                  <c:v>0.99405796054607454</c:v>
                </c:pt>
                <c:pt idx="157">
                  <c:v>0.99429651651263484</c:v>
                </c:pt>
                <c:pt idx="158">
                  <c:v>0.9945208161465322</c:v>
                </c:pt>
                <c:pt idx="159">
                  <c:v>0.99474131409171951</c:v>
                </c:pt>
                <c:pt idx="160">
                  <c:v>0.99495610950384161</c:v>
                </c:pt>
                <c:pt idx="161">
                  <c:v>0.99516995449378609</c:v>
                </c:pt>
                <c:pt idx="162">
                  <c:v>0.99538094821719802</c:v>
                </c:pt>
                <c:pt idx="163">
                  <c:v>0.99558718982972227</c:v>
                </c:pt>
                <c:pt idx="164">
                  <c:v>0.99578677848700381</c:v>
                </c:pt>
                <c:pt idx="165">
                  <c:v>0.99598256545557529</c:v>
                </c:pt>
                <c:pt idx="166">
                  <c:v>0.99617169946890405</c:v>
                </c:pt>
                <c:pt idx="167">
                  <c:v>0.99634087461650456</c:v>
                </c:pt>
                <c:pt idx="168">
                  <c:v>0.99650434723103998</c:v>
                </c:pt>
                <c:pt idx="169">
                  <c:v>0.9966678198455754</c:v>
                </c:pt>
                <c:pt idx="170">
                  <c:v>0.99682844119357816</c:v>
                </c:pt>
                <c:pt idx="171">
                  <c:v>0.99698526085287087</c:v>
                </c:pt>
                <c:pt idx="172">
                  <c:v>0.99713257629038821</c:v>
                </c:pt>
                <c:pt idx="173">
                  <c:v>0.99727799088355051</c:v>
                </c:pt>
                <c:pt idx="174">
                  <c:v>0.99742055421018017</c:v>
                </c:pt>
                <c:pt idx="175">
                  <c:v>0.9975621671146323</c:v>
                </c:pt>
                <c:pt idx="176">
                  <c:v>0.99770282959690693</c:v>
                </c:pt>
                <c:pt idx="177">
                  <c:v>0.99784254165700403</c:v>
                </c:pt>
                <c:pt idx="178">
                  <c:v>0.99797845202839097</c:v>
                </c:pt>
                <c:pt idx="179">
                  <c:v>0.99811056071106785</c:v>
                </c:pt>
                <c:pt idx="180">
                  <c:v>0.99823411559414688</c:v>
                </c:pt>
                <c:pt idx="181">
                  <c:v>0.9983576704772259</c:v>
                </c:pt>
                <c:pt idx="182">
                  <c:v>0.9984793245159499</c:v>
                </c:pt>
                <c:pt idx="183">
                  <c:v>0.99859242475507615</c:v>
                </c:pt>
                <c:pt idx="184">
                  <c:v>0.99870172330549223</c:v>
                </c:pt>
                <c:pt idx="185">
                  <c:v>0.9988100714337308</c:v>
                </c:pt>
                <c:pt idx="186">
                  <c:v>0.99891461787325919</c:v>
                </c:pt>
                <c:pt idx="187">
                  <c:v>0.99901916431278759</c:v>
                </c:pt>
                <c:pt idx="188">
                  <c:v>0.99910945441965304</c:v>
                </c:pt>
                <c:pt idx="189">
                  <c:v>0.9991940419934533</c:v>
                </c:pt>
                <c:pt idx="190">
                  <c:v>0.99927387745636598</c:v>
                </c:pt>
                <c:pt idx="191">
                  <c:v>0.99935371291927866</c:v>
                </c:pt>
                <c:pt idx="192">
                  <c:v>0.9994316475378362</c:v>
                </c:pt>
                <c:pt idx="193">
                  <c:v>0.99950387962332854</c:v>
                </c:pt>
                <c:pt idx="194">
                  <c:v>0.99957611170882088</c:v>
                </c:pt>
                <c:pt idx="195">
                  <c:v>0.99963408746165028</c:v>
                </c:pt>
                <c:pt idx="196">
                  <c:v>0.99969111279230216</c:v>
                </c:pt>
                <c:pt idx="197">
                  <c:v>0.99974528685642139</c:v>
                </c:pt>
                <c:pt idx="198">
                  <c:v>0.99979946092054062</c:v>
                </c:pt>
                <c:pt idx="199">
                  <c:v>0.99984222991852956</c:v>
                </c:pt>
                <c:pt idx="200">
                  <c:v>0.99988119722780833</c:v>
                </c:pt>
                <c:pt idx="201">
                  <c:v>0.99991541242619941</c:v>
                </c:pt>
                <c:pt idx="202">
                  <c:v>0.99994582593588044</c:v>
                </c:pt>
                <c:pt idx="203">
                  <c:v>0.99997338817902881</c:v>
                </c:pt>
                <c:pt idx="204">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82</c:f>
              <c:strCache>
                <c:ptCount val="181"/>
                <c:pt idx="0">
                  <c:v>Ruinart</c:v>
                </c:pt>
                <c:pt idx="1">
                  <c:v>Nicolas</c:v>
                </c:pt>
                <c:pt idx="2">
                  <c:v>Heidsieck &amp;</c:v>
                </c:pt>
                <c:pt idx="3">
                  <c:v>Malard</c:v>
                </c:pt>
                <c:pt idx="4">
                  <c:v>Deutz</c:v>
                </c:pt>
                <c:pt idx="5">
                  <c:v>Ruinart</c:v>
                </c:pt>
                <c:pt idx="6">
                  <c:v>De Bligny</c:v>
                </c:pt>
                <c:pt idx="7">
                  <c:v>Ayala</c:v>
                </c:pt>
                <c:pt idx="8">
                  <c:v>Nicolas Feu</c:v>
                </c:pt>
                <c:pt idx="9">
                  <c:v>Demoiselle</c:v>
                </c:pt>
                <c:pt idx="10">
                  <c:v>Besserat De</c:v>
                </c:pt>
                <c:pt idx="11">
                  <c:v>Canard Duch</c:v>
                </c:pt>
                <c:pt idx="12">
                  <c:v>Bollinger</c:v>
                </c:pt>
                <c:pt idx="13">
                  <c:v>Taittinger</c:v>
                </c:pt>
                <c:pt idx="14">
                  <c:v>Laurent Per</c:v>
                </c:pt>
                <c:pt idx="15">
                  <c:v>Ruinart</c:v>
                </c:pt>
                <c:pt idx="16">
                  <c:v>Deutz</c:v>
                </c:pt>
                <c:pt idx="17">
                  <c:v>Ruinart</c:v>
                </c:pt>
                <c:pt idx="18">
                  <c:v>Vesselle</c:v>
                </c:pt>
                <c:pt idx="19">
                  <c:v>Ruinart</c:v>
                </c:pt>
                <c:pt idx="20">
                  <c:v>All Others</c:v>
                </c:pt>
                <c:pt idx="21">
                  <c:v>Malard</c:v>
                </c:pt>
                <c:pt idx="22">
                  <c:v>Demoiselle</c:v>
                </c:pt>
                <c:pt idx="23">
                  <c:v>Laurent Per</c:v>
                </c:pt>
                <c:pt idx="24">
                  <c:v>Ruinart</c:v>
                </c:pt>
                <c:pt idx="25">
                  <c:v>Malard</c:v>
                </c:pt>
                <c:pt idx="26">
                  <c:v>Roederer</c:v>
                </c:pt>
                <c:pt idx="27">
                  <c:v>Louis Marti</c:v>
                </c:pt>
                <c:pt idx="28">
                  <c:v>All Others</c:v>
                </c:pt>
                <c:pt idx="29">
                  <c:v>Pommery</c:v>
                </c:pt>
                <c:pt idx="30">
                  <c:v>Henriot</c:v>
                </c:pt>
                <c:pt idx="31">
                  <c:v>Perrier Jou</c:v>
                </c:pt>
                <c:pt idx="32">
                  <c:v>All Others</c:v>
                </c:pt>
                <c:pt idx="33">
                  <c:v>Savian</c:v>
                </c:pt>
                <c:pt idx="34">
                  <c:v>Ruinart</c:v>
                </c:pt>
                <c:pt idx="35">
                  <c:v>Moët &amp; Chan</c:v>
                </c:pt>
                <c:pt idx="36">
                  <c:v>Nicolas</c:v>
                </c:pt>
                <c:pt idx="37">
                  <c:v>Deutz</c:v>
                </c:pt>
                <c:pt idx="38">
                  <c:v>Roederer</c:v>
                </c:pt>
                <c:pt idx="39">
                  <c:v>Laurent Per</c:v>
                </c:pt>
                <c:pt idx="40">
                  <c:v>Besserat De</c:v>
                </c:pt>
                <c:pt idx="41">
                  <c:v>Nicolas</c:v>
                </c:pt>
                <c:pt idx="42">
                  <c:v>Henriot</c:v>
                </c:pt>
                <c:pt idx="43">
                  <c:v>Campari: Al</c:v>
                </c:pt>
                <c:pt idx="44">
                  <c:v>Deutz</c:v>
                </c:pt>
                <c:pt idx="45">
                  <c:v>Nicolas</c:v>
                </c:pt>
                <c:pt idx="46">
                  <c:v>Dom Perigno</c:v>
                </c:pt>
                <c:pt idx="47">
                  <c:v>Veuve Clicq</c:v>
                </c:pt>
                <c:pt idx="48">
                  <c:v>Taittinger</c:v>
                </c:pt>
                <c:pt idx="49">
                  <c:v>Canard Duch</c:v>
                </c:pt>
                <c:pt idx="50">
                  <c:v>De Venoge</c:v>
                </c:pt>
                <c:pt idx="51">
                  <c:v>Ruinart</c:v>
                </c:pt>
                <c:pt idx="52">
                  <c:v>Nicolas Feu</c:v>
                </c:pt>
                <c:pt idx="53">
                  <c:v>Nicolas Feu</c:v>
                </c:pt>
                <c:pt idx="54">
                  <c:v>Piper Heids</c:v>
                </c:pt>
                <c:pt idx="55">
                  <c:v>Veuve Clicq</c:v>
                </c:pt>
                <c:pt idx="56">
                  <c:v>Malard</c:v>
                </c:pt>
                <c:pt idx="57">
                  <c:v>Campari: Al</c:v>
                </c:pt>
                <c:pt idx="58">
                  <c:v>Bollinger</c:v>
                </c:pt>
                <c:pt idx="59">
                  <c:v>Delamotte</c:v>
                </c:pt>
                <c:pt idx="60">
                  <c:v>Ruinart</c:v>
                </c:pt>
                <c:pt idx="61">
                  <c:v>Besserat De</c:v>
                </c:pt>
                <c:pt idx="62">
                  <c:v>Dom Perigno</c:v>
                </c:pt>
                <c:pt idx="63">
                  <c:v>Dom Perigno</c:v>
                </c:pt>
                <c:pt idx="64">
                  <c:v>De Bligny</c:v>
                </c:pt>
                <c:pt idx="65">
                  <c:v>Henriot</c:v>
                </c:pt>
                <c:pt idx="66">
                  <c:v>Nicolas</c:v>
                </c:pt>
                <c:pt idx="67">
                  <c:v>Deutz</c:v>
                </c:pt>
                <c:pt idx="68">
                  <c:v>Vranken</c:v>
                </c:pt>
                <c:pt idx="69">
                  <c:v>De Venoge</c:v>
                </c:pt>
                <c:pt idx="70">
                  <c:v>Nicolas</c:v>
                </c:pt>
                <c:pt idx="71">
                  <c:v>Malard</c:v>
                </c:pt>
                <c:pt idx="72">
                  <c:v>Pommery</c:v>
                </c:pt>
                <c:pt idx="73">
                  <c:v>Lanson</c:v>
                </c:pt>
                <c:pt idx="74">
                  <c:v>Laurent Per</c:v>
                </c:pt>
                <c:pt idx="75">
                  <c:v>All Others</c:v>
                </c:pt>
                <c:pt idx="76">
                  <c:v>Ruinart</c:v>
                </c:pt>
                <c:pt idx="77">
                  <c:v>De Venoge</c:v>
                </c:pt>
                <c:pt idx="78">
                  <c:v>Ruinart</c:v>
                </c:pt>
                <c:pt idx="79">
                  <c:v>Veuve Clicq</c:v>
                </c:pt>
                <c:pt idx="80">
                  <c:v>Laurent Per</c:v>
                </c:pt>
                <c:pt idx="81">
                  <c:v>Roederer</c:v>
                </c:pt>
                <c:pt idx="82">
                  <c:v>Malard</c:v>
                </c:pt>
                <c:pt idx="83">
                  <c:v>Nicolas</c:v>
                </c:pt>
                <c:pt idx="84">
                  <c:v>Nicolas Feu</c:v>
                </c:pt>
                <c:pt idx="85">
                  <c:v>Roederer</c:v>
                </c:pt>
                <c:pt idx="86">
                  <c:v>Roederer</c:v>
                </c:pt>
                <c:pt idx="87">
                  <c:v>Canard Duch</c:v>
                </c:pt>
                <c:pt idx="88">
                  <c:v>Roederer</c:v>
                </c:pt>
                <c:pt idx="89">
                  <c:v>Roederer</c:v>
                </c:pt>
                <c:pt idx="90">
                  <c:v>Ruinart</c:v>
                </c:pt>
                <c:pt idx="91">
                  <c:v>Besserat De</c:v>
                </c:pt>
                <c:pt idx="92">
                  <c:v>Ruinart</c:v>
                </c:pt>
                <c:pt idx="93">
                  <c:v>Veuve Clicq</c:v>
                </c:pt>
                <c:pt idx="94">
                  <c:v>Ayala</c:v>
                </c:pt>
                <c:pt idx="95">
                  <c:v>Roederer</c:v>
                </c:pt>
                <c:pt idx="96">
                  <c:v>Krug</c:v>
                </c:pt>
                <c:pt idx="97">
                  <c:v>Roederer</c:v>
                </c:pt>
                <c:pt idx="98">
                  <c:v>Louis Marti</c:v>
                </c:pt>
                <c:pt idx="99">
                  <c:v>Moët &amp; Chan</c:v>
                </c:pt>
                <c:pt idx="100">
                  <c:v>Canard Duch</c:v>
                </c:pt>
                <c:pt idx="101">
                  <c:v>Nicolas</c:v>
                </c:pt>
                <c:pt idx="102">
                  <c:v>Nicolas</c:v>
                </c:pt>
                <c:pt idx="103">
                  <c:v>Ayala</c:v>
                </c:pt>
                <c:pt idx="104">
                  <c:v>Nicolas</c:v>
                </c:pt>
                <c:pt idx="105">
                  <c:v>Ruinart</c:v>
                </c:pt>
                <c:pt idx="106">
                  <c:v>Laurent Per</c:v>
                </c:pt>
                <c:pt idx="107">
                  <c:v>Nicolas</c:v>
                </c:pt>
                <c:pt idx="108">
                  <c:v>Roederer</c:v>
                </c:pt>
                <c:pt idx="109">
                  <c:v>De Venoge</c:v>
                </c:pt>
                <c:pt idx="110">
                  <c:v>Nicolas Feu</c:v>
                </c:pt>
                <c:pt idx="111">
                  <c:v>Roederer</c:v>
                </c:pt>
                <c:pt idx="112">
                  <c:v>Moët &amp; Chan</c:v>
                </c:pt>
                <c:pt idx="113">
                  <c:v>Roederer</c:v>
                </c:pt>
                <c:pt idx="114">
                  <c:v>De Venoge</c:v>
                </c:pt>
                <c:pt idx="115">
                  <c:v>All Others</c:v>
                </c:pt>
                <c:pt idx="116">
                  <c:v>Henriot</c:v>
                </c:pt>
                <c:pt idx="117">
                  <c:v>Laurent Per</c:v>
                </c:pt>
                <c:pt idx="118">
                  <c:v>Perrier Jou</c:v>
                </c:pt>
                <c:pt idx="119">
                  <c:v>Nicolas</c:v>
                </c:pt>
                <c:pt idx="120">
                  <c:v>Nicolas</c:v>
                </c:pt>
                <c:pt idx="121">
                  <c:v>Nicolas</c:v>
                </c:pt>
                <c:pt idx="122">
                  <c:v>Taittinger</c:v>
                </c:pt>
                <c:pt idx="123">
                  <c:v>Bollinger</c:v>
                </c:pt>
                <c:pt idx="124">
                  <c:v>Pommery</c:v>
                </c:pt>
                <c:pt idx="125">
                  <c:v>Demoiselle</c:v>
                </c:pt>
                <c:pt idx="126">
                  <c:v>All Others</c:v>
                </c:pt>
                <c:pt idx="127">
                  <c:v>Deutz</c:v>
                </c:pt>
                <c:pt idx="128">
                  <c:v>Bollinger</c:v>
                </c:pt>
                <c:pt idx="129">
                  <c:v>Taittinger</c:v>
                </c:pt>
                <c:pt idx="130">
                  <c:v>Nicolas</c:v>
                </c:pt>
                <c:pt idx="131">
                  <c:v>Besserat De</c:v>
                </c:pt>
                <c:pt idx="132">
                  <c:v>Nicolas</c:v>
                </c:pt>
                <c:pt idx="133">
                  <c:v>Canard Duch</c:v>
                </c:pt>
                <c:pt idx="134">
                  <c:v>Roederer</c:v>
                </c:pt>
                <c:pt idx="135">
                  <c:v>Vranken</c:v>
                </c:pt>
                <c:pt idx="136">
                  <c:v>Deutz</c:v>
                </c:pt>
                <c:pt idx="137">
                  <c:v>Canard Duch</c:v>
                </c:pt>
                <c:pt idx="138">
                  <c:v>Piper Heids</c:v>
                </c:pt>
                <c:pt idx="139">
                  <c:v>Nicolas</c:v>
                </c:pt>
                <c:pt idx="140">
                  <c:v>Laurent Per</c:v>
                </c:pt>
                <c:pt idx="141">
                  <c:v>Pommery</c:v>
                </c:pt>
                <c:pt idx="142">
                  <c:v>Piper Heids</c:v>
                </c:pt>
                <c:pt idx="143">
                  <c:v>Nicolas</c:v>
                </c:pt>
                <c:pt idx="144">
                  <c:v>All Others</c:v>
                </c:pt>
                <c:pt idx="145">
                  <c:v>Henriot</c:v>
                </c:pt>
                <c:pt idx="146">
                  <c:v>Ruinart</c:v>
                </c:pt>
                <c:pt idx="147">
                  <c:v>Taittinger</c:v>
                </c:pt>
                <c:pt idx="148">
                  <c:v>All Others</c:v>
                </c:pt>
                <c:pt idx="149">
                  <c:v>Pommery</c:v>
                </c:pt>
                <c:pt idx="150">
                  <c:v>Nicolas</c:v>
                </c:pt>
                <c:pt idx="151">
                  <c:v>Ruinart</c:v>
                </c:pt>
                <c:pt idx="152">
                  <c:v>All Others</c:v>
                </c:pt>
                <c:pt idx="153">
                  <c:v>Demoiselle</c:v>
                </c:pt>
                <c:pt idx="154">
                  <c:v>De Venoge</c:v>
                </c:pt>
                <c:pt idx="155">
                  <c:v>Ruinart</c:v>
                </c:pt>
                <c:pt idx="156">
                  <c:v>Deutz</c:v>
                </c:pt>
                <c:pt idx="157">
                  <c:v>Vesselle</c:v>
                </c:pt>
                <c:pt idx="158">
                  <c:v>All Others</c:v>
                </c:pt>
                <c:pt idx="159">
                  <c:v>Vesselle</c:v>
                </c:pt>
                <c:pt idx="160">
                  <c:v>Bollinger</c:v>
                </c:pt>
                <c:pt idx="161">
                  <c:v>Ruinart</c:v>
                </c:pt>
                <c:pt idx="162">
                  <c:v>Roederer</c:v>
                </c:pt>
                <c:pt idx="163">
                  <c:v>De Venoge</c:v>
                </c:pt>
                <c:pt idx="164">
                  <c:v>Roederer</c:v>
                </c:pt>
                <c:pt idx="165">
                  <c:v>Henriot</c:v>
                </c:pt>
                <c:pt idx="166">
                  <c:v>Nicolas</c:v>
                </c:pt>
                <c:pt idx="167">
                  <c:v>Bollinger</c:v>
                </c:pt>
                <c:pt idx="168">
                  <c:v>Roederer</c:v>
                </c:pt>
                <c:pt idx="169">
                  <c:v>Lanson</c:v>
                </c:pt>
                <c:pt idx="170">
                  <c:v>Vranken</c:v>
                </c:pt>
                <c:pt idx="171">
                  <c:v>De Venoge</c:v>
                </c:pt>
                <c:pt idx="172">
                  <c:v>Ayala</c:v>
                </c:pt>
                <c:pt idx="173">
                  <c:v>Laurent Per</c:v>
                </c:pt>
                <c:pt idx="174">
                  <c:v>Ayala</c:v>
                </c:pt>
                <c:pt idx="175">
                  <c:v>Delamotte</c:v>
                </c:pt>
                <c:pt idx="176">
                  <c:v>Ayala</c:v>
                </c:pt>
                <c:pt idx="177">
                  <c:v>Lanson</c:v>
                </c:pt>
                <c:pt idx="178">
                  <c:v>Besserat De</c:v>
                </c:pt>
                <c:pt idx="179">
                  <c:v>All Others</c:v>
                </c:pt>
                <c:pt idx="180">
                  <c:v>Besserat De</c:v>
                </c:pt>
              </c:strCache>
            </c:strRef>
          </c:cat>
          <c:val>
            <c:numRef>
              <c:f>Sheet1!$B$2:$B$182</c:f>
              <c:numCache>
                <c:formatCode>General</c:formatCode>
                <c:ptCount val="181"/>
                <c:pt idx="0">
                  <c:v>1</c:v>
                </c:pt>
                <c:pt idx="1">
                  <c:v>1</c:v>
                </c:pt>
                <c:pt idx="2">
                  <c:v>0.95</c:v>
                </c:pt>
                <c:pt idx="3">
                  <c:v>1</c:v>
                </c:pt>
                <c:pt idx="4">
                  <c:v>1</c:v>
                </c:pt>
                <c:pt idx="5">
                  <c:v>0.82</c:v>
                </c:pt>
                <c:pt idx="6">
                  <c:v>1</c:v>
                </c:pt>
                <c:pt idx="7">
                  <c:v>1</c:v>
                </c:pt>
                <c:pt idx="8">
                  <c:v>0.93</c:v>
                </c:pt>
                <c:pt idx="9">
                  <c:v>1</c:v>
                </c:pt>
                <c:pt idx="10">
                  <c:v>0.94</c:v>
                </c:pt>
                <c:pt idx="11">
                  <c:v>1</c:v>
                </c:pt>
                <c:pt idx="12">
                  <c:v>1</c:v>
                </c:pt>
                <c:pt idx="13">
                  <c:v>0.94</c:v>
                </c:pt>
                <c:pt idx="14">
                  <c:v>0.86</c:v>
                </c:pt>
                <c:pt idx="15">
                  <c:v>0.55000000000000004</c:v>
                </c:pt>
                <c:pt idx="16">
                  <c:v>0.79</c:v>
                </c:pt>
                <c:pt idx="17">
                  <c:v>0.56000000000000005</c:v>
                </c:pt>
                <c:pt idx="18">
                  <c:v>0.8</c:v>
                </c:pt>
                <c:pt idx="19">
                  <c:v>0.93</c:v>
                </c:pt>
                <c:pt idx="20">
                  <c:v>0.72</c:v>
                </c:pt>
                <c:pt idx="21">
                  <c:v>0.85</c:v>
                </c:pt>
                <c:pt idx="22">
                  <c:v>0.77</c:v>
                </c:pt>
                <c:pt idx="23">
                  <c:v>0.76</c:v>
                </c:pt>
                <c:pt idx="24">
                  <c:v>0.56999999999999995</c:v>
                </c:pt>
                <c:pt idx="25">
                  <c:v>0.77</c:v>
                </c:pt>
                <c:pt idx="26">
                  <c:v>0.59</c:v>
                </c:pt>
                <c:pt idx="27">
                  <c:v>0.66</c:v>
                </c:pt>
                <c:pt idx="28">
                  <c:v>0.76</c:v>
                </c:pt>
                <c:pt idx="29">
                  <c:v>0.69</c:v>
                </c:pt>
                <c:pt idx="30">
                  <c:v>0.83</c:v>
                </c:pt>
                <c:pt idx="31">
                  <c:v>0.7</c:v>
                </c:pt>
                <c:pt idx="32">
                  <c:v>0.64</c:v>
                </c:pt>
                <c:pt idx="33">
                  <c:v>0.6</c:v>
                </c:pt>
                <c:pt idx="34">
                  <c:v>0.35</c:v>
                </c:pt>
                <c:pt idx="35">
                  <c:v>0.55000000000000004</c:v>
                </c:pt>
                <c:pt idx="36">
                  <c:v>0.76</c:v>
                </c:pt>
                <c:pt idx="37">
                  <c:v>0.85</c:v>
                </c:pt>
                <c:pt idx="38">
                  <c:v>0.65</c:v>
                </c:pt>
                <c:pt idx="39">
                  <c:v>0.42</c:v>
                </c:pt>
                <c:pt idx="40">
                  <c:v>0.62</c:v>
                </c:pt>
                <c:pt idx="41">
                  <c:v>0.56000000000000005</c:v>
                </c:pt>
                <c:pt idx="42">
                  <c:v>0.77</c:v>
                </c:pt>
                <c:pt idx="43">
                  <c:v>0.56000000000000005</c:v>
                </c:pt>
                <c:pt idx="44">
                  <c:v>0.64</c:v>
                </c:pt>
                <c:pt idx="45">
                  <c:v>0.51</c:v>
                </c:pt>
                <c:pt idx="46">
                  <c:v>0.45</c:v>
                </c:pt>
                <c:pt idx="47">
                  <c:v>0.44</c:v>
                </c:pt>
                <c:pt idx="48">
                  <c:v>0.62</c:v>
                </c:pt>
                <c:pt idx="49">
                  <c:v>0.8</c:v>
                </c:pt>
                <c:pt idx="50">
                  <c:v>0.68</c:v>
                </c:pt>
                <c:pt idx="51">
                  <c:v>0.55000000000000004</c:v>
                </c:pt>
                <c:pt idx="52">
                  <c:v>0.53</c:v>
                </c:pt>
                <c:pt idx="53">
                  <c:v>0.52</c:v>
                </c:pt>
                <c:pt idx="54">
                  <c:v>0.56000000000000005</c:v>
                </c:pt>
                <c:pt idx="55">
                  <c:v>0.56000000000000005</c:v>
                </c:pt>
                <c:pt idx="56">
                  <c:v>0.6</c:v>
                </c:pt>
                <c:pt idx="57">
                  <c:v>0.56999999999999995</c:v>
                </c:pt>
                <c:pt idx="58">
                  <c:v>0.51</c:v>
                </c:pt>
                <c:pt idx="59">
                  <c:v>0.55000000000000004</c:v>
                </c:pt>
                <c:pt idx="60">
                  <c:v>0.66</c:v>
                </c:pt>
                <c:pt idx="61">
                  <c:v>0.41</c:v>
                </c:pt>
                <c:pt idx="62">
                  <c:v>0.36</c:v>
                </c:pt>
                <c:pt idx="63">
                  <c:v>0.45</c:v>
                </c:pt>
                <c:pt idx="64">
                  <c:v>0.38</c:v>
                </c:pt>
                <c:pt idx="65">
                  <c:v>0.47</c:v>
                </c:pt>
                <c:pt idx="66">
                  <c:v>0.49</c:v>
                </c:pt>
                <c:pt idx="67">
                  <c:v>0.38</c:v>
                </c:pt>
                <c:pt idx="68">
                  <c:v>0.34</c:v>
                </c:pt>
                <c:pt idx="69">
                  <c:v>0.73</c:v>
                </c:pt>
                <c:pt idx="70">
                  <c:v>0.85</c:v>
                </c:pt>
                <c:pt idx="71">
                  <c:v>0.47</c:v>
                </c:pt>
                <c:pt idx="72">
                  <c:v>0.38</c:v>
                </c:pt>
                <c:pt idx="73">
                  <c:v>0.37</c:v>
                </c:pt>
                <c:pt idx="74">
                  <c:v>0.36</c:v>
                </c:pt>
                <c:pt idx="75">
                  <c:v>0.44</c:v>
                </c:pt>
                <c:pt idx="76">
                  <c:v>0.35</c:v>
                </c:pt>
                <c:pt idx="77">
                  <c:v>0.39</c:v>
                </c:pt>
                <c:pt idx="78">
                  <c:v>0.52</c:v>
                </c:pt>
                <c:pt idx="79">
                  <c:v>0.46</c:v>
                </c:pt>
                <c:pt idx="80">
                  <c:v>0.18</c:v>
                </c:pt>
                <c:pt idx="81">
                  <c:v>0.21</c:v>
                </c:pt>
                <c:pt idx="82">
                  <c:v>0.43</c:v>
                </c:pt>
                <c:pt idx="83">
                  <c:v>0.46</c:v>
                </c:pt>
                <c:pt idx="84">
                  <c:v>0.36</c:v>
                </c:pt>
                <c:pt idx="85">
                  <c:v>0.38</c:v>
                </c:pt>
                <c:pt idx="86">
                  <c:v>0.46</c:v>
                </c:pt>
                <c:pt idx="87">
                  <c:v>0.32</c:v>
                </c:pt>
                <c:pt idx="88">
                  <c:v>0.28000000000000003</c:v>
                </c:pt>
                <c:pt idx="89">
                  <c:v>0.28000000000000003</c:v>
                </c:pt>
                <c:pt idx="90">
                  <c:v>0.45</c:v>
                </c:pt>
                <c:pt idx="91">
                  <c:v>0.33</c:v>
                </c:pt>
                <c:pt idx="92">
                  <c:v>0.25</c:v>
                </c:pt>
                <c:pt idx="93">
                  <c:v>0.38</c:v>
                </c:pt>
                <c:pt idx="94">
                  <c:v>0.36</c:v>
                </c:pt>
                <c:pt idx="95">
                  <c:v>0.32</c:v>
                </c:pt>
                <c:pt idx="96">
                  <c:v>0.36</c:v>
                </c:pt>
                <c:pt idx="97">
                  <c:v>0.26</c:v>
                </c:pt>
                <c:pt idx="98">
                  <c:v>0.13</c:v>
                </c:pt>
                <c:pt idx="99">
                  <c:v>0.22</c:v>
                </c:pt>
                <c:pt idx="100">
                  <c:v>0.24</c:v>
                </c:pt>
                <c:pt idx="101">
                  <c:v>0.4</c:v>
                </c:pt>
                <c:pt idx="102">
                  <c:v>0.62</c:v>
                </c:pt>
                <c:pt idx="103">
                  <c:v>0.31</c:v>
                </c:pt>
                <c:pt idx="104">
                  <c:v>0.38</c:v>
                </c:pt>
                <c:pt idx="105">
                  <c:v>0.25</c:v>
                </c:pt>
                <c:pt idx="106">
                  <c:v>0.18</c:v>
                </c:pt>
                <c:pt idx="107">
                  <c:v>0.62</c:v>
                </c:pt>
                <c:pt idx="108">
                  <c:v>0.36</c:v>
                </c:pt>
                <c:pt idx="109">
                  <c:v>0.22</c:v>
                </c:pt>
                <c:pt idx="110">
                  <c:v>0.45</c:v>
                </c:pt>
                <c:pt idx="111">
                  <c:v>0.26</c:v>
                </c:pt>
                <c:pt idx="112">
                  <c:v>0.27</c:v>
                </c:pt>
                <c:pt idx="113">
                  <c:v>0.42</c:v>
                </c:pt>
                <c:pt idx="114">
                  <c:v>0.27</c:v>
                </c:pt>
                <c:pt idx="115">
                  <c:v>0.26</c:v>
                </c:pt>
                <c:pt idx="116">
                  <c:v>0.27</c:v>
                </c:pt>
                <c:pt idx="117">
                  <c:v>0.25</c:v>
                </c:pt>
                <c:pt idx="118">
                  <c:v>0.24</c:v>
                </c:pt>
                <c:pt idx="119">
                  <c:v>0.24</c:v>
                </c:pt>
                <c:pt idx="120">
                  <c:v>0.26</c:v>
                </c:pt>
                <c:pt idx="121">
                  <c:v>0.48</c:v>
                </c:pt>
                <c:pt idx="122">
                  <c:v>0.25</c:v>
                </c:pt>
                <c:pt idx="123">
                  <c:v>0.34</c:v>
                </c:pt>
                <c:pt idx="124">
                  <c:v>0.27</c:v>
                </c:pt>
                <c:pt idx="125">
                  <c:v>0.32</c:v>
                </c:pt>
                <c:pt idx="126">
                  <c:v>0.23</c:v>
                </c:pt>
                <c:pt idx="127">
                  <c:v>0.22</c:v>
                </c:pt>
                <c:pt idx="128">
                  <c:v>0.16</c:v>
                </c:pt>
                <c:pt idx="129">
                  <c:v>0.06</c:v>
                </c:pt>
                <c:pt idx="130">
                  <c:v>0.14000000000000001</c:v>
                </c:pt>
                <c:pt idx="131">
                  <c:v>0.32</c:v>
                </c:pt>
                <c:pt idx="132">
                  <c:v>0.11</c:v>
                </c:pt>
                <c:pt idx="133">
                  <c:v>0.16</c:v>
                </c:pt>
                <c:pt idx="134">
                  <c:v>0.26</c:v>
                </c:pt>
                <c:pt idx="135">
                  <c:v>0.3</c:v>
                </c:pt>
                <c:pt idx="136">
                  <c:v>0.24</c:v>
                </c:pt>
                <c:pt idx="137">
                  <c:v>0.45</c:v>
                </c:pt>
                <c:pt idx="138">
                  <c:v>0.14000000000000001</c:v>
                </c:pt>
                <c:pt idx="139">
                  <c:v>0.1</c:v>
                </c:pt>
                <c:pt idx="140">
                  <c:v>0.12</c:v>
                </c:pt>
                <c:pt idx="141">
                  <c:v>0.2</c:v>
                </c:pt>
                <c:pt idx="142">
                  <c:v>0.26</c:v>
                </c:pt>
                <c:pt idx="143">
                  <c:v>0.35</c:v>
                </c:pt>
                <c:pt idx="144">
                  <c:v>0.09</c:v>
                </c:pt>
                <c:pt idx="145">
                  <c:v>0.08</c:v>
                </c:pt>
                <c:pt idx="146">
                  <c:v>0.16</c:v>
                </c:pt>
                <c:pt idx="147">
                  <c:v>0.32</c:v>
                </c:pt>
                <c:pt idx="148">
                  <c:v>7.0000000000000007E-2</c:v>
                </c:pt>
                <c:pt idx="149">
                  <c:v>0.22</c:v>
                </c:pt>
                <c:pt idx="150">
                  <c:v>0.66</c:v>
                </c:pt>
                <c:pt idx="151">
                  <c:v>0.04</c:v>
                </c:pt>
                <c:pt idx="152">
                  <c:v>0.17</c:v>
                </c:pt>
                <c:pt idx="153">
                  <c:v>0.24</c:v>
                </c:pt>
                <c:pt idx="154">
                  <c:v>0.2</c:v>
                </c:pt>
                <c:pt idx="155">
                  <c:v>0.11</c:v>
                </c:pt>
                <c:pt idx="156">
                  <c:v>0.11</c:v>
                </c:pt>
                <c:pt idx="157">
                  <c:v>0.34</c:v>
                </c:pt>
                <c:pt idx="158">
                  <c:v>0.12</c:v>
                </c:pt>
                <c:pt idx="159">
                  <c:v>0.15</c:v>
                </c:pt>
                <c:pt idx="160">
                  <c:v>0.2</c:v>
                </c:pt>
                <c:pt idx="161">
                  <c:v>0.21</c:v>
                </c:pt>
                <c:pt idx="162">
                  <c:v>0.06</c:v>
                </c:pt>
                <c:pt idx="163">
                  <c:v>0.12</c:v>
                </c:pt>
                <c:pt idx="164">
                  <c:v>0.04</c:v>
                </c:pt>
                <c:pt idx="165">
                  <c:v>0.21</c:v>
                </c:pt>
                <c:pt idx="166">
                  <c:v>7.0000000000000007E-2</c:v>
                </c:pt>
                <c:pt idx="167">
                  <c:v>0.32</c:v>
                </c:pt>
                <c:pt idx="168">
                  <c:v>0.13</c:v>
                </c:pt>
                <c:pt idx="169">
                  <c:v>0.22</c:v>
                </c:pt>
                <c:pt idx="170">
                  <c:v>0.16</c:v>
                </c:pt>
                <c:pt idx="171">
                  <c:v>0.45</c:v>
                </c:pt>
                <c:pt idx="172">
                  <c:v>0.21</c:v>
                </c:pt>
                <c:pt idx="173">
                  <c:v>0.28000000000000003</c:v>
                </c:pt>
                <c:pt idx="174">
                  <c:v>0.08</c:v>
                </c:pt>
                <c:pt idx="175">
                  <c:v>0.06</c:v>
                </c:pt>
                <c:pt idx="176">
                  <c:v>0.06</c:v>
                </c:pt>
                <c:pt idx="177">
                  <c:v>0.08</c:v>
                </c:pt>
                <c:pt idx="178">
                  <c:v>0.08</c:v>
                </c:pt>
                <c:pt idx="179">
                  <c:v>0.1</c:v>
                </c:pt>
                <c:pt idx="180">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82</c:f>
              <c:strCache>
                <c:ptCount val="181"/>
                <c:pt idx="0">
                  <c:v>Ruinart</c:v>
                </c:pt>
                <c:pt idx="1">
                  <c:v>Nicolas</c:v>
                </c:pt>
                <c:pt idx="2">
                  <c:v>Heidsieck &amp;</c:v>
                </c:pt>
                <c:pt idx="3">
                  <c:v>Malard</c:v>
                </c:pt>
                <c:pt idx="4">
                  <c:v>Deutz</c:v>
                </c:pt>
                <c:pt idx="5">
                  <c:v>Ruinart</c:v>
                </c:pt>
                <c:pt idx="6">
                  <c:v>De Bligny</c:v>
                </c:pt>
                <c:pt idx="7">
                  <c:v>Ayala</c:v>
                </c:pt>
                <c:pt idx="8">
                  <c:v>Nicolas Feu</c:v>
                </c:pt>
                <c:pt idx="9">
                  <c:v>Demoiselle</c:v>
                </c:pt>
                <c:pt idx="10">
                  <c:v>Besserat De</c:v>
                </c:pt>
                <c:pt idx="11">
                  <c:v>Canard Duch</c:v>
                </c:pt>
                <c:pt idx="12">
                  <c:v>Bollinger</c:v>
                </c:pt>
                <c:pt idx="13">
                  <c:v>Taittinger</c:v>
                </c:pt>
                <c:pt idx="14">
                  <c:v>Laurent Per</c:v>
                </c:pt>
                <c:pt idx="15">
                  <c:v>Ruinart</c:v>
                </c:pt>
                <c:pt idx="16">
                  <c:v>Deutz</c:v>
                </c:pt>
                <c:pt idx="17">
                  <c:v>Ruinart</c:v>
                </c:pt>
                <c:pt idx="18">
                  <c:v>Vesselle</c:v>
                </c:pt>
                <c:pt idx="19">
                  <c:v>Ruinart</c:v>
                </c:pt>
                <c:pt idx="20">
                  <c:v>All Others</c:v>
                </c:pt>
                <c:pt idx="21">
                  <c:v>Malard</c:v>
                </c:pt>
                <c:pt idx="22">
                  <c:v>Demoiselle</c:v>
                </c:pt>
                <c:pt idx="23">
                  <c:v>Laurent Per</c:v>
                </c:pt>
                <c:pt idx="24">
                  <c:v>Ruinart</c:v>
                </c:pt>
                <c:pt idx="25">
                  <c:v>Malard</c:v>
                </c:pt>
                <c:pt idx="26">
                  <c:v>Roederer</c:v>
                </c:pt>
                <c:pt idx="27">
                  <c:v>Louis Marti</c:v>
                </c:pt>
                <c:pt idx="28">
                  <c:v>All Others</c:v>
                </c:pt>
                <c:pt idx="29">
                  <c:v>Pommery</c:v>
                </c:pt>
                <c:pt idx="30">
                  <c:v>Henriot</c:v>
                </c:pt>
                <c:pt idx="31">
                  <c:v>Perrier Jou</c:v>
                </c:pt>
                <c:pt idx="32">
                  <c:v>All Others</c:v>
                </c:pt>
                <c:pt idx="33">
                  <c:v>Savian</c:v>
                </c:pt>
                <c:pt idx="34">
                  <c:v>Ruinart</c:v>
                </c:pt>
                <c:pt idx="35">
                  <c:v>Moët &amp; Chan</c:v>
                </c:pt>
                <c:pt idx="36">
                  <c:v>Nicolas</c:v>
                </c:pt>
                <c:pt idx="37">
                  <c:v>Deutz</c:v>
                </c:pt>
                <c:pt idx="38">
                  <c:v>Roederer</c:v>
                </c:pt>
                <c:pt idx="39">
                  <c:v>Laurent Per</c:v>
                </c:pt>
                <c:pt idx="40">
                  <c:v>Besserat De</c:v>
                </c:pt>
                <c:pt idx="41">
                  <c:v>Nicolas</c:v>
                </c:pt>
                <c:pt idx="42">
                  <c:v>Henriot</c:v>
                </c:pt>
                <c:pt idx="43">
                  <c:v>Campari: Al</c:v>
                </c:pt>
                <c:pt idx="44">
                  <c:v>Deutz</c:v>
                </c:pt>
                <c:pt idx="45">
                  <c:v>Nicolas</c:v>
                </c:pt>
                <c:pt idx="46">
                  <c:v>Dom Perigno</c:v>
                </c:pt>
                <c:pt idx="47">
                  <c:v>Veuve Clicq</c:v>
                </c:pt>
                <c:pt idx="48">
                  <c:v>Taittinger</c:v>
                </c:pt>
                <c:pt idx="49">
                  <c:v>Canard Duch</c:v>
                </c:pt>
                <c:pt idx="50">
                  <c:v>De Venoge</c:v>
                </c:pt>
                <c:pt idx="51">
                  <c:v>Ruinart</c:v>
                </c:pt>
                <c:pt idx="52">
                  <c:v>Nicolas Feu</c:v>
                </c:pt>
                <c:pt idx="53">
                  <c:v>Nicolas Feu</c:v>
                </c:pt>
                <c:pt idx="54">
                  <c:v>Piper Heids</c:v>
                </c:pt>
                <c:pt idx="55">
                  <c:v>Veuve Clicq</c:v>
                </c:pt>
                <c:pt idx="56">
                  <c:v>Malard</c:v>
                </c:pt>
                <c:pt idx="57">
                  <c:v>Campari: Al</c:v>
                </c:pt>
                <c:pt idx="58">
                  <c:v>Bollinger</c:v>
                </c:pt>
                <c:pt idx="59">
                  <c:v>Delamotte</c:v>
                </c:pt>
                <c:pt idx="60">
                  <c:v>Ruinart</c:v>
                </c:pt>
                <c:pt idx="61">
                  <c:v>Besserat De</c:v>
                </c:pt>
                <c:pt idx="62">
                  <c:v>Dom Perigno</c:v>
                </c:pt>
                <c:pt idx="63">
                  <c:v>Dom Perigno</c:v>
                </c:pt>
                <c:pt idx="64">
                  <c:v>De Bligny</c:v>
                </c:pt>
                <c:pt idx="65">
                  <c:v>Henriot</c:v>
                </c:pt>
                <c:pt idx="66">
                  <c:v>Nicolas</c:v>
                </c:pt>
                <c:pt idx="67">
                  <c:v>Deutz</c:v>
                </c:pt>
                <c:pt idx="68">
                  <c:v>Vranken</c:v>
                </c:pt>
                <c:pt idx="69">
                  <c:v>De Venoge</c:v>
                </c:pt>
                <c:pt idx="70">
                  <c:v>Nicolas</c:v>
                </c:pt>
                <c:pt idx="71">
                  <c:v>Malard</c:v>
                </c:pt>
                <c:pt idx="72">
                  <c:v>Pommery</c:v>
                </c:pt>
                <c:pt idx="73">
                  <c:v>Lanson</c:v>
                </c:pt>
                <c:pt idx="74">
                  <c:v>Laurent Per</c:v>
                </c:pt>
                <c:pt idx="75">
                  <c:v>All Others</c:v>
                </c:pt>
                <c:pt idx="76">
                  <c:v>Ruinart</c:v>
                </c:pt>
                <c:pt idx="77">
                  <c:v>De Venoge</c:v>
                </c:pt>
                <c:pt idx="78">
                  <c:v>Ruinart</c:v>
                </c:pt>
                <c:pt idx="79">
                  <c:v>Veuve Clicq</c:v>
                </c:pt>
                <c:pt idx="80">
                  <c:v>Laurent Per</c:v>
                </c:pt>
                <c:pt idx="81">
                  <c:v>Roederer</c:v>
                </c:pt>
                <c:pt idx="82">
                  <c:v>Malard</c:v>
                </c:pt>
                <c:pt idx="83">
                  <c:v>Nicolas</c:v>
                </c:pt>
                <c:pt idx="84">
                  <c:v>Nicolas Feu</c:v>
                </c:pt>
                <c:pt idx="85">
                  <c:v>Roederer</c:v>
                </c:pt>
                <c:pt idx="86">
                  <c:v>Roederer</c:v>
                </c:pt>
                <c:pt idx="87">
                  <c:v>Canard Duch</c:v>
                </c:pt>
                <c:pt idx="88">
                  <c:v>Roederer</c:v>
                </c:pt>
                <c:pt idx="89">
                  <c:v>Roederer</c:v>
                </c:pt>
                <c:pt idx="90">
                  <c:v>Ruinart</c:v>
                </c:pt>
                <c:pt idx="91">
                  <c:v>Besserat De</c:v>
                </c:pt>
                <c:pt idx="92">
                  <c:v>Ruinart</c:v>
                </c:pt>
                <c:pt idx="93">
                  <c:v>Veuve Clicq</c:v>
                </c:pt>
                <c:pt idx="94">
                  <c:v>Ayala</c:v>
                </c:pt>
                <c:pt idx="95">
                  <c:v>Roederer</c:v>
                </c:pt>
                <c:pt idx="96">
                  <c:v>Krug</c:v>
                </c:pt>
                <c:pt idx="97">
                  <c:v>Roederer</c:v>
                </c:pt>
                <c:pt idx="98">
                  <c:v>Louis Marti</c:v>
                </c:pt>
                <c:pt idx="99">
                  <c:v>Moët &amp; Chan</c:v>
                </c:pt>
                <c:pt idx="100">
                  <c:v>Canard Duch</c:v>
                </c:pt>
                <c:pt idx="101">
                  <c:v>Nicolas</c:v>
                </c:pt>
                <c:pt idx="102">
                  <c:v>Nicolas</c:v>
                </c:pt>
                <c:pt idx="103">
                  <c:v>Ayala</c:v>
                </c:pt>
                <c:pt idx="104">
                  <c:v>Nicolas</c:v>
                </c:pt>
                <c:pt idx="105">
                  <c:v>Ruinart</c:v>
                </c:pt>
                <c:pt idx="106">
                  <c:v>Laurent Per</c:v>
                </c:pt>
                <c:pt idx="107">
                  <c:v>Nicolas</c:v>
                </c:pt>
                <c:pt idx="108">
                  <c:v>Roederer</c:v>
                </c:pt>
                <c:pt idx="109">
                  <c:v>De Venoge</c:v>
                </c:pt>
                <c:pt idx="110">
                  <c:v>Nicolas Feu</c:v>
                </c:pt>
                <c:pt idx="111">
                  <c:v>Roederer</c:v>
                </c:pt>
                <c:pt idx="112">
                  <c:v>Moët &amp; Chan</c:v>
                </c:pt>
                <c:pt idx="113">
                  <c:v>Roederer</c:v>
                </c:pt>
                <c:pt idx="114">
                  <c:v>De Venoge</c:v>
                </c:pt>
                <c:pt idx="115">
                  <c:v>All Others</c:v>
                </c:pt>
                <c:pt idx="116">
                  <c:v>Henriot</c:v>
                </c:pt>
                <c:pt idx="117">
                  <c:v>Laurent Per</c:v>
                </c:pt>
                <c:pt idx="118">
                  <c:v>Perrier Jou</c:v>
                </c:pt>
                <c:pt idx="119">
                  <c:v>Nicolas</c:v>
                </c:pt>
                <c:pt idx="120">
                  <c:v>Nicolas</c:v>
                </c:pt>
                <c:pt idx="121">
                  <c:v>Nicolas</c:v>
                </c:pt>
                <c:pt idx="122">
                  <c:v>Taittinger</c:v>
                </c:pt>
                <c:pt idx="123">
                  <c:v>Bollinger</c:v>
                </c:pt>
                <c:pt idx="124">
                  <c:v>Pommery</c:v>
                </c:pt>
                <c:pt idx="125">
                  <c:v>Demoiselle</c:v>
                </c:pt>
                <c:pt idx="126">
                  <c:v>All Others</c:v>
                </c:pt>
                <c:pt idx="127">
                  <c:v>Deutz</c:v>
                </c:pt>
                <c:pt idx="128">
                  <c:v>Bollinger</c:v>
                </c:pt>
                <c:pt idx="129">
                  <c:v>Taittinger</c:v>
                </c:pt>
                <c:pt idx="130">
                  <c:v>Nicolas</c:v>
                </c:pt>
                <c:pt idx="131">
                  <c:v>Besserat De</c:v>
                </c:pt>
                <c:pt idx="132">
                  <c:v>Nicolas</c:v>
                </c:pt>
                <c:pt idx="133">
                  <c:v>Canard Duch</c:v>
                </c:pt>
                <c:pt idx="134">
                  <c:v>Roederer</c:v>
                </c:pt>
                <c:pt idx="135">
                  <c:v>Vranken</c:v>
                </c:pt>
                <c:pt idx="136">
                  <c:v>Deutz</c:v>
                </c:pt>
                <c:pt idx="137">
                  <c:v>Canard Duch</c:v>
                </c:pt>
                <c:pt idx="138">
                  <c:v>Piper Heids</c:v>
                </c:pt>
                <c:pt idx="139">
                  <c:v>Nicolas</c:v>
                </c:pt>
                <c:pt idx="140">
                  <c:v>Laurent Per</c:v>
                </c:pt>
                <c:pt idx="141">
                  <c:v>Pommery</c:v>
                </c:pt>
                <c:pt idx="142">
                  <c:v>Piper Heids</c:v>
                </c:pt>
                <c:pt idx="143">
                  <c:v>Nicolas</c:v>
                </c:pt>
                <c:pt idx="144">
                  <c:v>All Others</c:v>
                </c:pt>
                <c:pt idx="145">
                  <c:v>Henriot</c:v>
                </c:pt>
                <c:pt idx="146">
                  <c:v>Ruinart</c:v>
                </c:pt>
                <c:pt idx="147">
                  <c:v>Taittinger</c:v>
                </c:pt>
                <c:pt idx="148">
                  <c:v>All Others</c:v>
                </c:pt>
                <c:pt idx="149">
                  <c:v>Pommery</c:v>
                </c:pt>
                <c:pt idx="150">
                  <c:v>Nicolas</c:v>
                </c:pt>
                <c:pt idx="151">
                  <c:v>Ruinart</c:v>
                </c:pt>
                <c:pt idx="152">
                  <c:v>All Others</c:v>
                </c:pt>
                <c:pt idx="153">
                  <c:v>Demoiselle</c:v>
                </c:pt>
                <c:pt idx="154">
                  <c:v>De Venoge</c:v>
                </c:pt>
                <c:pt idx="155">
                  <c:v>Ruinart</c:v>
                </c:pt>
                <c:pt idx="156">
                  <c:v>Deutz</c:v>
                </c:pt>
                <c:pt idx="157">
                  <c:v>Vesselle</c:v>
                </c:pt>
                <c:pt idx="158">
                  <c:v>All Others</c:v>
                </c:pt>
                <c:pt idx="159">
                  <c:v>Vesselle</c:v>
                </c:pt>
                <c:pt idx="160">
                  <c:v>Bollinger</c:v>
                </c:pt>
                <c:pt idx="161">
                  <c:v>Ruinart</c:v>
                </c:pt>
                <c:pt idx="162">
                  <c:v>Roederer</c:v>
                </c:pt>
                <c:pt idx="163">
                  <c:v>De Venoge</c:v>
                </c:pt>
                <c:pt idx="164">
                  <c:v>Roederer</c:v>
                </c:pt>
                <c:pt idx="165">
                  <c:v>Henriot</c:v>
                </c:pt>
                <c:pt idx="166">
                  <c:v>Nicolas</c:v>
                </c:pt>
                <c:pt idx="167">
                  <c:v>Bollinger</c:v>
                </c:pt>
                <c:pt idx="168">
                  <c:v>Roederer</c:v>
                </c:pt>
                <c:pt idx="169">
                  <c:v>Lanson</c:v>
                </c:pt>
                <c:pt idx="170">
                  <c:v>Vranken</c:v>
                </c:pt>
                <c:pt idx="171">
                  <c:v>De Venoge</c:v>
                </c:pt>
                <c:pt idx="172">
                  <c:v>Ayala</c:v>
                </c:pt>
                <c:pt idx="173">
                  <c:v>Laurent Per</c:v>
                </c:pt>
                <c:pt idx="174">
                  <c:v>Ayala</c:v>
                </c:pt>
                <c:pt idx="175">
                  <c:v>Delamotte</c:v>
                </c:pt>
                <c:pt idx="176">
                  <c:v>Ayala</c:v>
                </c:pt>
                <c:pt idx="177">
                  <c:v>Lanson</c:v>
                </c:pt>
                <c:pt idx="178">
                  <c:v>Besserat De</c:v>
                </c:pt>
                <c:pt idx="179">
                  <c:v>All Others</c:v>
                </c:pt>
                <c:pt idx="180">
                  <c:v>Besserat De</c:v>
                </c:pt>
              </c:strCache>
            </c:strRef>
          </c:cat>
          <c:val>
            <c:numRef>
              <c:f>Sheet1!$C$2:$C$182</c:f>
              <c:numCache>
                <c:formatCode>General</c:formatCode>
                <c:ptCount val="181"/>
                <c:pt idx="0">
                  <c:v>0.10617439708298385</c:v>
                </c:pt>
                <c:pt idx="1">
                  <c:v>0.19427410801555556</c:v>
                </c:pt>
                <c:pt idx="2">
                  <c:v>0.24670553248715832</c:v>
                </c:pt>
                <c:pt idx="3">
                  <c:v>0.29786700125470511</c:v>
                </c:pt>
                <c:pt idx="4">
                  <c:v>0.34312511697872544</c:v>
                </c:pt>
                <c:pt idx="5">
                  <c:v>0.38269754673949963</c:v>
                </c:pt>
                <c:pt idx="6">
                  <c:v>0.41725254233763354</c:v>
                </c:pt>
                <c:pt idx="7">
                  <c:v>0.45107135182348168</c:v>
                </c:pt>
                <c:pt idx="8">
                  <c:v>0.47551661271203477</c:v>
                </c:pt>
                <c:pt idx="9">
                  <c:v>0.49798207366020364</c:v>
                </c:pt>
                <c:pt idx="10">
                  <c:v>0.5184483248646512</c:v>
                </c:pt>
                <c:pt idx="11">
                  <c:v>0.53808550018369983</c:v>
                </c:pt>
                <c:pt idx="12">
                  <c:v>0.55678407286994724</c:v>
                </c:pt>
                <c:pt idx="13">
                  <c:v>0.57547432706905022</c:v>
                </c:pt>
                <c:pt idx="14">
                  <c:v>0.59380827273546499</c:v>
                </c:pt>
                <c:pt idx="15">
                  <c:v>0.61010834829505656</c:v>
                </c:pt>
                <c:pt idx="16">
                  <c:v>0.62539356842302263</c:v>
                </c:pt>
                <c:pt idx="17">
                  <c:v>0.64002994655371992</c:v>
                </c:pt>
                <c:pt idx="18">
                  <c:v>0.65305808383648611</c:v>
                </c:pt>
                <c:pt idx="19">
                  <c:v>0.66567445600560093</c:v>
                </c:pt>
                <c:pt idx="20">
                  <c:v>0.67679488690323497</c:v>
                </c:pt>
                <c:pt idx="21">
                  <c:v>0.68766021752843864</c:v>
                </c:pt>
                <c:pt idx="22">
                  <c:v>0.69768399453752661</c:v>
                </c:pt>
                <c:pt idx="23">
                  <c:v>0.70765508779469954</c:v>
                </c:pt>
                <c:pt idx="24">
                  <c:v>0.71736969436491793</c:v>
                </c:pt>
                <c:pt idx="25">
                  <c:v>0.72549131064697014</c:v>
                </c:pt>
                <c:pt idx="26">
                  <c:v>0.73323998142204516</c:v>
                </c:pt>
                <c:pt idx="27">
                  <c:v>0.74057134142537251</c:v>
                </c:pt>
                <c:pt idx="28">
                  <c:v>0.74783892636059224</c:v>
                </c:pt>
                <c:pt idx="29">
                  <c:v>0.75493320948030218</c:v>
                </c:pt>
                <c:pt idx="30">
                  <c:v>0.76202194694191583</c:v>
                </c:pt>
                <c:pt idx="31">
                  <c:v>0.76908711535662011</c:v>
                </c:pt>
                <c:pt idx="32">
                  <c:v>0.77606771248535567</c:v>
                </c:pt>
                <c:pt idx="33">
                  <c:v>0.78297760247336323</c:v>
                </c:pt>
                <c:pt idx="34">
                  <c:v>0.7897197363039572</c:v>
                </c:pt>
                <c:pt idx="35">
                  <c:v>0.79505327297808737</c:v>
                </c:pt>
                <c:pt idx="36">
                  <c:v>0.80018716596075024</c:v>
                </c:pt>
                <c:pt idx="37">
                  <c:v>0.80529471706745559</c:v>
                </c:pt>
                <c:pt idx="38">
                  <c:v>0.81035790290939047</c:v>
                </c:pt>
                <c:pt idx="39">
                  <c:v>0.81535870009774181</c:v>
                </c:pt>
                <c:pt idx="40">
                  <c:v>0.82033731465370785</c:v>
                </c:pt>
                <c:pt idx="41">
                  <c:v>0.82525215414156627</c:v>
                </c:pt>
                <c:pt idx="42">
                  <c:v>0.82976077417386973</c:v>
                </c:pt>
                <c:pt idx="43">
                  <c:v>0.83408777390351885</c:v>
                </c:pt>
                <c:pt idx="44">
                  <c:v>0.83826920010813977</c:v>
                </c:pt>
                <c:pt idx="45">
                  <c:v>0.84225791469391376</c:v>
                </c:pt>
                <c:pt idx="46">
                  <c:v>0.84601925729773886</c:v>
                </c:pt>
                <c:pt idx="47">
                  <c:v>0.84972930256417312</c:v>
                </c:pt>
                <c:pt idx="48">
                  <c:v>0.85342271085631838</c:v>
                </c:pt>
                <c:pt idx="49">
                  <c:v>0.85711057349036734</c:v>
                </c:pt>
                <c:pt idx="50">
                  <c:v>0.86078041273560324</c:v>
                </c:pt>
                <c:pt idx="51">
                  <c:v>0.86444054707917062</c:v>
                </c:pt>
                <c:pt idx="52">
                  <c:v>0.86802720145296186</c:v>
                </c:pt>
                <c:pt idx="53">
                  <c:v>0.87159721885246411</c:v>
                </c:pt>
                <c:pt idx="54">
                  <c:v>0.87513396230338847</c:v>
                </c:pt>
                <c:pt idx="55">
                  <c:v>0.87831439722162463</c:v>
                </c:pt>
                <c:pt idx="56">
                  <c:v>0.88138946463603085</c:v>
                </c:pt>
                <c:pt idx="57">
                  <c:v>0.88442293961471474</c:v>
                </c:pt>
                <c:pt idx="58">
                  <c:v>0.88745502817887456</c:v>
                </c:pt>
                <c:pt idx="59">
                  <c:v>0.89044691072183613</c:v>
                </c:pt>
                <c:pt idx="60">
                  <c:v>0.89333897141906404</c:v>
                </c:pt>
                <c:pt idx="61">
                  <c:v>0.89618943968056952</c:v>
                </c:pt>
                <c:pt idx="62">
                  <c:v>0.89885828763942077</c:v>
                </c:pt>
                <c:pt idx="63">
                  <c:v>0.90151881711112747</c:v>
                </c:pt>
                <c:pt idx="64">
                  <c:v>0.90414329980520813</c:v>
                </c:pt>
                <c:pt idx="65">
                  <c:v>0.90676639608476473</c:v>
                </c:pt>
                <c:pt idx="66">
                  <c:v>0.9093853331207491</c:v>
                </c:pt>
                <c:pt idx="67">
                  <c:v>0.91186562870432564</c:v>
                </c:pt>
                <c:pt idx="68">
                  <c:v>0.91432096882646874</c:v>
                </c:pt>
                <c:pt idx="69">
                  <c:v>0.91668757841907078</c:v>
                </c:pt>
                <c:pt idx="70">
                  <c:v>0.91887534053806674</c:v>
                </c:pt>
                <c:pt idx="71">
                  <c:v>0.92095912156775683</c:v>
                </c:pt>
                <c:pt idx="72">
                  <c:v>0.92302071996506163</c:v>
                </c:pt>
                <c:pt idx="73">
                  <c:v>0.92506429497355347</c:v>
                </c:pt>
                <c:pt idx="74">
                  <c:v>0.9270593454737025</c:v>
                </c:pt>
                <c:pt idx="75">
                  <c:v>0.92899893939288836</c:v>
                </c:pt>
                <c:pt idx="76">
                  <c:v>0.93093437406850199</c:v>
                </c:pt>
                <c:pt idx="77">
                  <c:v>0.93281573857767663</c:v>
                </c:pt>
                <c:pt idx="78">
                  <c:v>0.93466244272374932</c:v>
                </c:pt>
                <c:pt idx="79">
                  <c:v>0.93650637404077375</c:v>
                </c:pt>
                <c:pt idx="80">
                  <c:v>0.93832812272541299</c:v>
                </c:pt>
                <c:pt idx="81">
                  <c:v>0.94005420880789081</c:v>
                </c:pt>
                <c:pt idx="82">
                  <c:v>0.94177197640322419</c:v>
                </c:pt>
                <c:pt idx="83">
                  <c:v>0.94345647004997968</c:v>
                </c:pt>
                <c:pt idx="84">
                  <c:v>0.94509105277386829</c:v>
                </c:pt>
                <c:pt idx="85">
                  <c:v>0.9466826566475105</c:v>
                </c:pt>
                <c:pt idx="86">
                  <c:v>0.94826316920496001</c:v>
                </c:pt>
                <c:pt idx="87">
                  <c:v>0.94976049689096487</c:v>
                </c:pt>
                <c:pt idx="88">
                  <c:v>0.95119543592338618</c:v>
                </c:pt>
                <c:pt idx="89">
                  <c:v>0.95263037495580749</c:v>
                </c:pt>
                <c:pt idx="90">
                  <c:v>0.95405976833013251</c:v>
                </c:pt>
                <c:pt idx="91">
                  <c:v>0.95540736324753683</c:v>
                </c:pt>
                <c:pt idx="92">
                  <c:v>0.95675357175041709</c:v>
                </c:pt>
                <c:pt idx="93">
                  <c:v>0.95803461877066565</c:v>
                </c:pt>
                <c:pt idx="94">
                  <c:v>0.95930180164567347</c:v>
                </c:pt>
                <c:pt idx="95">
                  <c:v>0.96055234754639229</c:v>
                </c:pt>
                <c:pt idx="96">
                  <c:v>0.9617931885454426</c:v>
                </c:pt>
                <c:pt idx="97">
                  <c:v>0.96297164089090936</c:v>
                </c:pt>
                <c:pt idx="98">
                  <c:v>0.96413068343303898</c:v>
                </c:pt>
                <c:pt idx="99">
                  <c:v>0.96525090636849442</c:v>
                </c:pt>
                <c:pt idx="100">
                  <c:v>0.96634062818442013</c:v>
                </c:pt>
                <c:pt idx="101">
                  <c:v>0.96728754930436578</c:v>
                </c:pt>
                <c:pt idx="102">
                  <c:v>0.96814019423667408</c:v>
                </c:pt>
                <c:pt idx="103">
                  <c:v>0.96898729351088608</c:v>
                </c:pt>
                <c:pt idx="104">
                  <c:v>0.96982607429795364</c:v>
                </c:pt>
                <c:pt idx="105">
                  <c:v>0.97063851320906369</c:v>
                </c:pt>
                <c:pt idx="106">
                  <c:v>0.97144956570564966</c:v>
                </c:pt>
                <c:pt idx="107">
                  <c:v>0.97224952688604294</c:v>
                </c:pt>
                <c:pt idx="108">
                  <c:v>0.97304255599381584</c:v>
                </c:pt>
                <c:pt idx="109">
                  <c:v>0.97382865302896837</c:v>
                </c:pt>
                <c:pt idx="110">
                  <c:v>0.97459949950435609</c:v>
                </c:pt>
                <c:pt idx="111">
                  <c:v>0.97536480032164741</c:v>
                </c:pt>
                <c:pt idx="112">
                  <c:v>0.97613010113893872</c:v>
                </c:pt>
                <c:pt idx="113">
                  <c:v>0.97688569705456152</c:v>
                </c:pt>
                <c:pt idx="114">
                  <c:v>0.9776315880685158</c:v>
                </c:pt>
                <c:pt idx="115">
                  <c:v>0.9783331138176995</c:v>
                </c:pt>
                <c:pt idx="116">
                  <c:v>0.97901661617807023</c:v>
                </c:pt>
                <c:pt idx="117">
                  <c:v>0.97969873212391689</c:v>
                </c:pt>
                <c:pt idx="118">
                  <c:v>0.98038084806976356</c:v>
                </c:pt>
                <c:pt idx="119">
                  <c:v>0.98105464552846577</c:v>
                </c:pt>
                <c:pt idx="120">
                  <c:v>0.98171735167097529</c:v>
                </c:pt>
                <c:pt idx="121">
                  <c:v>0.98236203442467185</c:v>
                </c:pt>
                <c:pt idx="122">
                  <c:v>0.98300255793479618</c:v>
                </c:pt>
                <c:pt idx="123">
                  <c:v>0.98360426183824623</c:v>
                </c:pt>
                <c:pt idx="124">
                  <c:v>0.98420180649812405</c:v>
                </c:pt>
                <c:pt idx="125">
                  <c:v>0.98479519191442966</c:v>
                </c:pt>
                <c:pt idx="126">
                  <c:v>0.98537748601454267</c:v>
                </c:pt>
                <c:pt idx="127">
                  <c:v>0.98591680126440928</c:v>
                </c:pt>
                <c:pt idx="128">
                  <c:v>0.98644086595451097</c:v>
                </c:pt>
                <c:pt idx="129">
                  <c:v>0.98695106649937192</c:v>
                </c:pt>
                <c:pt idx="130">
                  <c:v>0.9874598806297088</c:v>
                </c:pt>
                <c:pt idx="131">
                  <c:v>0.98795760344385297</c:v>
                </c:pt>
                <c:pt idx="132">
                  <c:v>0.98844423494180456</c:v>
                </c:pt>
                <c:pt idx="133">
                  <c:v>0.98891838870903948</c:v>
                </c:pt>
                <c:pt idx="134">
                  <c:v>0.9893759055019854</c:v>
                </c:pt>
                <c:pt idx="135">
                  <c:v>0.98981123966254603</c:v>
                </c:pt>
                <c:pt idx="136">
                  <c:v>0.99024102816501036</c:v>
                </c:pt>
                <c:pt idx="137">
                  <c:v>0.99066111176580618</c:v>
                </c:pt>
                <c:pt idx="138">
                  <c:v>0.99107980895207792</c:v>
                </c:pt>
                <c:pt idx="139">
                  <c:v>0.99149573330930152</c:v>
                </c:pt>
                <c:pt idx="140">
                  <c:v>0.99189917993580834</c:v>
                </c:pt>
                <c:pt idx="141">
                  <c:v>0.99225826129754469</c:v>
                </c:pt>
                <c:pt idx="142">
                  <c:v>0.99261734265928103</c:v>
                </c:pt>
                <c:pt idx="143">
                  <c:v>0.9929750376064933</c:v>
                </c:pt>
                <c:pt idx="144">
                  <c:v>0.99332857331013336</c:v>
                </c:pt>
                <c:pt idx="145">
                  <c:v>0.99367794977020119</c:v>
                </c:pt>
                <c:pt idx="146">
                  <c:v>0.99402316698669679</c:v>
                </c:pt>
                <c:pt idx="147">
                  <c:v>0.99434342874175896</c:v>
                </c:pt>
                <c:pt idx="148">
                  <c:v>0.99464843993705621</c:v>
                </c:pt>
                <c:pt idx="149">
                  <c:v>0.9949506783033053</c:v>
                </c:pt>
                <c:pt idx="150">
                  <c:v>0.99525153025503033</c:v>
                </c:pt>
                <c:pt idx="151">
                  <c:v>0.9955496093777072</c:v>
                </c:pt>
                <c:pt idx="152">
                  <c:v>0.99582689228252286</c:v>
                </c:pt>
                <c:pt idx="153">
                  <c:v>0.99610278877281444</c:v>
                </c:pt>
                <c:pt idx="154">
                  <c:v>0.99637175319048565</c:v>
                </c:pt>
                <c:pt idx="155">
                  <c:v>0.99664071760815687</c:v>
                </c:pt>
                <c:pt idx="156">
                  <c:v>0.99690413636773179</c:v>
                </c:pt>
                <c:pt idx="157">
                  <c:v>0.99716478229825856</c:v>
                </c:pt>
                <c:pt idx="158">
                  <c:v>0.99740185918187596</c:v>
                </c:pt>
                <c:pt idx="159">
                  <c:v>0.99761813984763226</c:v>
                </c:pt>
                <c:pt idx="160">
                  <c:v>0.99783442051338855</c:v>
                </c:pt>
                <c:pt idx="161">
                  <c:v>0.99803822344842807</c:v>
                </c:pt>
                <c:pt idx="162">
                  <c:v>0.99824063996894352</c:v>
                </c:pt>
                <c:pt idx="163">
                  <c:v>0.99842226027159786</c:v>
                </c:pt>
                <c:pt idx="164">
                  <c:v>0.99858585718543913</c:v>
                </c:pt>
                <c:pt idx="165">
                  <c:v>0.99874252202666003</c:v>
                </c:pt>
                <c:pt idx="166">
                  <c:v>0.99889086838073649</c:v>
                </c:pt>
                <c:pt idx="167">
                  <c:v>0.99902396417504802</c:v>
                </c:pt>
                <c:pt idx="168">
                  <c:v>0.99914596865316696</c:v>
                </c:pt>
                <c:pt idx="169">
                  <c:v>0.99923608559723209</c:v>
                </c:pt>
                <c:pt idx="170">
                  <c:v>0.99932481612677315</c:v>
                </c:pt>
                <c:pt idx="171">
                  <c:v>0.99941354665631421</c:v>
                </c:pt>
                <c:pt idx="172">
                  <c:v>0.9995008907713312</c:v>
                </c:pt>
                <c:pt idx="173">
                  <c:v>0.99958268922825189</c:v>
                </c:pt>
                <c:pt idx="174">
                  <c:v>0.99966310127064839</c:v>
                </c:pt>
                <c:pt idx="175">
                  <c:v>0.99973935406947267</c:v>
                </c:pt>
                <c:pt idx="176">
                  <c:v>0.99980867479567659</c:v>
                </c:pt>
                <c:pt idx="177">
                  <c:v>0.99986274496211569</c:v>
                </c:pt>
                <c:pt idx="178">
                  <c:v>0.99991126947045839</c:v>
                </c:pt>
                <c:pt idx="179">
                  <c:v>0.99995840756427701</c:v>
                </c:pt>
                <c:pt idx="180">
                  <c:v>0.9999999999999993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87</c:f>
              <c:strCache>
                <c:ptCount val="186"/>
                <c:pt idx="0">
                  <c:v>Ruinart</c:v>
                </c:pt>
                <c:pt idx="1">
                  <c:v>Heidsieck &amp;</c:v>
                </c:pt>
                <c:pt idx="2">
                  <c:v>Nicolas</c:v>
                </c:pt>
                <c:pt idx="3">
                  <c:v>Deutz</c:v>
                </c:pt>
                <c:pt idx="4">
                  <c:v>Ruinart</c:v>
                </c:pt>
                <c:pt idx="5">
                  <c:v>De Bligny</c:v>
                </c:pt>
                <c:pt idx="6">
                  <c:v>Malard</c:v>
                </c:pt>
                <c:pt idx="7">
                  <c:v>Besserat De</c:v>
                </c:pt>
                <c:pt idx="8">
                  <c:v>Canard Duch</c:v>
                </c:pt>
                <c:pt idx="9">
                  <c:v>Ayala</c:v>
                </c:pt>
                <c:pt idx="10">
                  <c:v>Laurent Per</c:v>
                </c:pt>
                <c:pt idx="11">
                  <c:v>Ruinart</c:v>
                </c:pt>
                <c:pt idx="12">
                  <c:v>Vesselle</c:v>
                </c:pt>
                <c:pt idx="13">
                  <c:v>Taittinger</c:v>
                </c:pt>
                <c:pt idx="14">
                  <c:v>Nicolas Feu</c:v>
                </c:pt>
                <c:pt idx="15">
                  <c:v>Bollinger</c:v>
                </c:pt>
                <c:pt idx="16">
                  <c:v>Roederer</c:v>
                </c:pt>
                <c:pt idx="17">
                  <c:v>Demoiselle</c:v>
                </c:pt>
                <c:pt idx="18">
                  <c:v>Ruinart</c:v>
                </c:pt>
                <c:pt idx="19">
                  <c:v>Deutz</c:v>
                </c:pt>
                <c:pt idx="20">
                  <c:v>Ruinart</c:v>
                </c:pt>
                <c:pt idx="21">
                  <c:v>Malard</c:v>
                </c:pt>
                <c:pt idx="22">
                  <c:v>Perrier Jou</c:v>
                </c:pt>
                <c:pt idx="23">
                  <c:v>Besserat De</c:v>
                </c:pt>
                <c:pt idx="24">
                  <c:v>All Others</c:v>
                </c:pt>
                <c:pt idx="25">
                  <c:v>Pommery</c:v>
                </c:pt>
                <c:pt idx="26">
                  <c:v>Laurent Per</c:v>
                </c:pt>
                <c:pt idx="27">
                  <c:v>Lanson</c:v>
                </c:pt>
                <c:pt idx="28">
                  <c:v>Campari: Al</c:v>
                </c:pt>
                <c:pt idx="29">
                  <c:v>Ruinart</c:v>
                </c:pt>
                <c:pt idx="30">
                  <c:v>Ruinart</c:v>
                </c:pt>
                <c:pt idx="31">
                  <c:v>Besserat De</c:v>
                </c:pt>
                <c:pt idx="32">
                  <c:v>Deutz</c:v>
                </c:pt>
                <c:pt idx="33">
                  <c:v>De Venoge</c:v>
                </c:pt>
                <c:pt idx="34">
                  <c:v>Moët &amp; Chan</c:v>
                </c:pt>
                <c:pt idx="35">
                  <c:v>Taittinger</c:v>
                </c:pt>
                <c:pt idx="36">
                  <c:v>Veuve Clicq</c:v>
                </c:pt>
                <c:pt idx="37">
                  <c:v>Roederer</c:v>
                </c:pt>
                <c:pt idx="38">
                  <c:v>Savian</c:v>
                </c:pt>
                <c:pt idx="39">
                  <c:v>Nicolas</c:v>
                </c:pt>
                <c:pt idx="40">
                  <c:v>Roederer</c:v>
                </c:pt>
                <c:pt idx="41">
                  <c:v>Roederer</c:v>
                </c:pt>
                <c:pt idx="42">
                  <c:v>De Venoge</c:v>
                </c:pt>
                <c:pt idx="43">
                  <c:v>Henriot</c:v>
                </c:pt>
                <c:pt idx="44">
                  <c:v>Bollinger</c:v>
                </c:pt>
                <c:pt idx="45">
                  <c:v>Dom Perigno</c:v>
                </c:pt>
                <c:pt idx="46">
                  <c:v>Ruinart</c:v>
                </c:pt>
                <c:pt idx="47">
                  <c:v>All Others</c:v>
                </c:pt>
                <c:pt idx="48">
                  <c:v>Nicolas</c:v>
                </c:pt>
                <c:pt idx="49">
                  <c:v>Laurent Per</c:v>
                </c:pt>
                <c:pt idx="50">
                  <c:v>Veuve Clicq</c:v>
                </c:pt>
                <c:pt idx="51">
                  <c:v>All Others</c:v>
                </c:pt>
                <c:pt idx="52">
                  <c:v>Roederer</c:v>
                </c:pt>
                <c:pt idx="53">
                  <c:v>All Others</c:v>
                </c:pt>
                <c:pt idx="54">
                  <c:v>De Bligny</c:v>
                </c:pt>
                <c:pt idx="55">
                  <c:v>Dom Perigno</c:v>
                </c:pt>
                <c:pt idx="56">
                  <c:v>Henriot</c:v>
                </c:pt>
                <c:pt idx="57">
                  <c:v>Malard</c:v>
                </c:pt>
                <c:pt idx="58">
                  <c:v>Nicolas Feu</c:v>
                </c:pt>
                <c:pt idx="59">
                  <c:v>Malard</c:v>
                </c:pt>
                <c:pt idx="60">
                  <c:v>Laurent Per</c:v>
                </c:pt>
                <c:pt idx="61">
                  <c:v>Canard Duch</c:v>
                </c:pt>
                <c:pt idx="62">
                  <c:v>Nicolas</c:v>
                </c:pt>
                <c:pt idx="63">
                  <c:v>Krug</c:v>
                </c:pt>
                <c:pt idx="64">
                  <c:v>Demoiselle</c:v>
                </c:pt>
                <c:pt idx="65">
                  <c:v>Veuve Clicq</c:v>
                </c:pt>
                <c:pt idx="66">
                  <c:v>Ruinart</c:v>
                </c:pt>
                <c:pt idx="67">
                  <c:v>Ruinart</c:v>
                </c:pt>
                <c:pt idx="68">
                  <c:v>Nicolas Feu</c:v>
                </c:pt>
                <c:pt idx="69">
                  <c:v>Malard</c:v>
                </c:pt>
                <c:pt idx="70">
                  <c:v>Henriot</c:v>
                </c:pt>
                <c:pt idx="71">
                  <c:v>Deutz</c:v>
                </c:pt>
                <c:pt idx="72">
                  <c:v>Pommery</c:v>
                </c:pt>
                <c:pt idx="73">
                  <c:v>Nicolas Feu</c:v>
                </c:pt>
                <c:pt idx="74">
                  <c:v>Piper Heids</c:v>
                </c:pt>
                <c:pt idx="75">
                  <c:v>Canard Duch</c:v>
                </c:pt>
                <c:pt idx="76">
                  <c:v>Delamotte</c:v>
                </c:pt>
                <c:pt idx="77">
                  <c:v>Canard Duch</c:v>
                </c:pt>
                <c:pt idx="78">
                  <c:v>Veuve Clicq</c:v>
                </c:pt>
                <c:pt idx="79">
                  <c:v>Malard</c:v>
                </c:pt>
                <c:pt idx="80">
                  <c:v>Roederer</c:v>
                </c:pt>
                <c:pt idx="81">
                  <c:v>Louis Marti</c:v>
                </c:pt>
                <c:pt idx="82">
                  <c:v>Campari: Al</c:v>
                </c:pt>
                <c:pt idx="83">
                  <c:v>De Venoge</c:v>
                </c:pt>
                <c:pt idx="84">
                  <c:v>Nicolas</c:v>
                </c:pt>
                <c:pt idx="85">
                  <c:v>Henriot</c:v>
                </c:pt>
                <c:pt idx="86">
                  <c:v>Ruinart</c:v>
                </c:pt>
                <c:pt idx="87">
                  <c:v>Dom Perigno</c:v>
                </c:pt>
                <c:pt idx="88">
                  <c:v>Vranken</c:v>
                </c:pt>
                <c:pt idx="89">
                  <c:v>Deutz</c:v>
                </c:pt>
                <c:pt idx="90">
                  <c:v>Nicolas</c:v>
                </c:pt>
                <c:pt idx="91">
                  <c:v>Nicolas</c:v>
                </c:pt>
                <c:pt idx="92">
                  <c:v>Deutz</c:v>
                </c:pt>
                <c:pt idx="93">
                  <c:v>Deutz</c:v>
                </c:pt>
                <c:pt idx="94">
                  <c:v>Canard Duch</c:v>
                </c:pt>
                <c:pt idx="95">
                  <c:v>Ayala</c:v>
                </c:pt>
                <c:pt idx="96">
                  <c:v>Roederer</c:v>
                </c:pt>
                <c:pt idx="97">
                  <c:v>Ruinart</c:v>
                </c:pt>
                <c:pt idx="98">
                  <c:v>Ruinart</c:v>
                </c:pt>
                <c:pt idx="99">
                  <c:v>Ayala</c:v>
                </c:pt>
                <c:pt idx="100">
                  <c:v>Nicolas</c:v>
                </c:pt>
                <c:pt idx="101">
                  <c:v>Roederer</c:v>
                </c:pt>
                <c:pt idx="102">
                  <c:v>Roederer</c:v>
                </c:pt>
                <c:pt idx="103">
                  <c:v>Roederer</c:v>
                </c:pt>
                <c:pt idx="104">
                  <c:v>Ruinart</c:v>
                </c:pt>
                <c:pt idx="105">
                  <c:v>Nicolas</c:v>
                </c:pt>
                <c:pt idx="106">
                  <c:v>Laurent Per</c:v>
                </c:pt>
                <c:pt idx="107">
                  <c:v>Moët &amp; Chan</c:v>
                </c:pt>
                <c:pt idx="108">
                  <c:v>Demoiselle</c:v>
                </c:pt>
                <c:pt idx="109">
                  <c:v>Louis Marti</c:v>
                </c:pt>
                <c:pt idx="110">
                  <c:v>Nicolas</c:v>
                </c:pt>
                <c:pt idx="111">
                  <c:v>Besserat De</c:v>
                </c:pt>
                <c:pt idx="112">
                  <c:v>Nicolas</c:v>
                </c:pt>
                <c:pt idx="113">
                  <c:v>Piper Heids</c:v>
                </c:pt>
                <c:pt idx="114">
                  <c:v>Moët &amp; Chan</c:v>
                </c:pt>
                <c:pt idx="115">
                  <c:v>All Others</c:v>
                </c:pt>
                <c:pt idx="116">
                  <c:v>Roederer</c:v>
                </c:pt>
                <c:pt idx="117">
                  <c:v>Nicolas</c:v>
                </c:pt>
                <c:pt idx="118">
                  <c:v>Bollinger</c:v>
                </c:pt>
                <c:pt idx="119">
                  <c:v>Vranken</c:v>
                </c:pt>
                <c:pt idx="120">
                  <c:v>Ruinart</c:v>
                </c:pt>
                <c:pt idx="121">
                  <c:v>Nicolas</c:v>
                </c:pt>
                <c:pt idx="122">
                  <c:v>Piper Heids</c:v>
                </c:pt>
                <c:pt idx="123">
                  <c:v>All Others</c:v>
                </c:pt>
                <c:pt idx="124">
                  <c:v>Pommery</c:v>
                </c:pt>
                <c:pt idx="125">
                  <c:v>Nicolas</c:v>
                </c:pt>
                <c:pt idx="126">
                  <c:v>Demoiselle</c:v>
                </c:pt>
                <c:pt idx="127">
                  <c:v>Roederer</c:v>
                </c:pt>
                <c:pt idx="128">
                  <c:v>Laurent Per</c:v>
                </c:pt>
                <c:pt idx="129">
                  <c:v>Pommery</c:v>
                </c:pt>
                <c:pt idx="130">
                  <c:v>Roederer</c:v>
                </c:pt>
                <c:pt idx="131">
                  <c:v>Ruinart</c:v>
                </c:pt>
                <c:pt idx="132">
                  <c:v>Dom Perigno</c:v>
                </c:pt>
                <c:pt idx="133">
                  <c:v>De Venoge</c:v>
                </c:pt>
                <c:pt idx="134">
                  <c:v>Canard Duch</c:v>
                </c:pt>
                <c:pt idx="135">
                  <c:v>Nicolas</c:v>
                </c:pt>
                <c:pt idx="136">
                  <c:v>Piper Heids</c:v>
                </c:pt>
                <c:pt idx="137">
                  <c:v>Nicolas Feu</c:v>
                </c:pt>
                <c:pt idx="138">
                  <c:v>Pommery</c:v>
                </c:pt>
                <c:pt idx="139">
                  <c:v>Bollinger</c:v>
                </c:pt>
                <c:pt idx="140">
                  <c:v>Besserat De</c:v>
                </c:pt>
                <c:pt idx="141">
                  <c:v>Moët &amp; Chan</c:v>
                </c:pt>
                <c:pt idx="142">
                  <c:v>Pommery</c:v>
                </c:pt>
                <c:pt idx="143">
                  <c:v>Vesselle</c:v>
                </c:pt>
                <c:pt idx="144">
                  <c:v>Roederer</c:v>
                </c:pt>
                <c:pt idx="145">
                  <c:v>Laurent Per</c:v>
                </c:pt>
                <c:pt idx="146">
                  <c:v>Ruinart</c:v>
                </c:pt>
                <c:pt idx="147">
                  <c:v>Nicolas</c:v>
                </c:pt>
                <c:pt idx="148">
                  <c:v>Nicolas</c:v>
                </c:pt>
                <c:pt idx="149">
                  <c:v>Taittinger</c:v>
                </c:pt>
                <c:pt idx="150">
                  <c:v>Pommery</c:v>
                </c:pt>
                <c:pt idx="151">
                  <c:v>All Others</c:v>
                </c:pt>
                <c:pt idx="152">
                  <c:v>Lanson</c:v>
                </c:pt>
                <c:pt idx="153">
                  <c:v>Bollinger</c:v>
                </c:pt>
                <c:pt idx="154">
                  <c:v>All Others</c:v>
                </c:pt>
                <c:pt idx="155">
                  <c:v>Roederer</c:v>
                </c:pt>
                <c:pt idx="156">
                  <c:v>All Others</c:v>
                </c:pt>
                <c:pt idx="157">
                  <c:v>All Others</c:v>
                </c:pt>
                <c:pt idx="158">
                  <c:v>Delamotte</c:v>
                </c:pt>
                <c:pt idx="159">
                  <c:v>Martel</c:v>
                </c:pt>
                <c:pt idx="160">
                  <c:v>Bollinger</c:v>
                </c:pt>
                <c:pt idx="161">
                  <c:v>Vranken</c:v>
                </c:pt>
                <c:pt idx="162">
                  <c:v>Henriot</c:v>
                </c:pt>
                <c:pt idx="163">
                  <c:v>Ruinart</c:v>
                </c:pt>
                <c:pt idx="164">
                  <c:v>Perrier Jou</c:v>
                </c:pt>
                <c:pt idx="165">
                  <c:v>Piper Heids</c:v>
                </c:pt>
                <c:pt idx="166">
                  <c:v>Nicolas</c:v>
                </c:pt>
                <c:pt idx="167">
                  <c:v>De Venoge</c:v>
                </c:pt>
                <c:pt idx="168">
                  <c:v>De Bligny</c:v>
                </c:pt>
                <c:pt idx="169">
                  <c:v>Laurent Per</c:v>
                </c:pt>
                <c:pt idx="170">
                  <c:v>Nicolas Feu</c:v>
                </c:pt>
                <c:pt idx="171">
                  <c:v>Henriot</c:v>
                </c:pt>
                <c:pt idx="172">
                  <c:v>Canard Duch</c:v>
                </c:pt>
                <c:pt idx="173">
                  <c:v>Laurent Per</c:v>
                </c:pt>
                <c:pt idx="174">
                  <c:v>Moët &amp; Chan</c:v>
                </c:pt>
                <c:pt idx="175">
                  <c:v>Vesselle</c:v>
                </c:pt>
                <c:pt idx="176">
                  <c:v>Nicolas</c:v>
                </c:pt>
                <c:pt idx="177">
                  <c:v>Vranken</c:v>
                </c:pt>
                <c:pt idx="178">
                  <c:v>Roederer</c:v>
                </c:pt>
                <c:pt idx="179">
                  <c:v>Besserat De</c:v>
                </c:pt>
                <c:pt idx="180">
                  <c:v>All Others</c:v>
                </c:pt>
                <c:pt idx="181">
                  <c:v>All Others</c:v>
                </c:pt>
                <c:pt idx="182">
                  <c:v>Besserat De</c:v>
                </c:pt>
                <c:pt idx="183">
                  <c:v>All Others</c:v>
                </c:pt>
                <c:pt idx="184">
                  <c:v>Vranken</c:v>
                </c:pt>
                <c:pt idx="185">
                  <c:v>Nicolas</c:v>
                </c:pt>
              </c:strCache>
            </c:strRef>
          </c:cat>
          <c:val>
            <c:numRef>
              <c:f>Sheet1!$B$2:$B$187</c:f>
              <c:numCache>
                <c:formatCode>General</c:formatCode>
                <c:ptCount val="186"/>
                <c:pt idx="0">
                  <c:v>1</c:v>
                </c:pt>
                <c:pt idx="1">
                  <c:v>1</c:v>
                </c:pt>
                <c:pt idx="2">
                  <c:v>1</c:v>
                </c:pt>
                <c:pt idx="3">
                  <c:v>1</c:v>
                </c:pt>
                <c:pt idx="4">
                  <c:v>0.88</c:v>
                </c:pt>
                <c:pt idx="5">
                  <c:v>1</c:v>
                </c:pt>
                <c:pt idx="6">
                  <c:v>1</c:v>
                </c:pt>
                <c:pt idx="7">
                  <c:v>0.93</c:v>
                </c:pt>
                <c:pt idx="8">
                  <c:v>1</c:v>
                </c:pt>
                <c:pt idx="9">
                  <c:v>0.83</c:v>
                </c:pt>
                <c:pt idx="10">
                  <c:v>1</c:v>
                </c:pt>
                <c:pt idx="11">
                  <c:v>0.98</c:v>
                </c:pt>
                <c:pt idx="12">
                  <c:v>0.89</c:v>
                </c:pt>
                <c:pt idx="13">
                  <c:v>0.9</c:v>
                </c:pt>
                <c:pt idx="14">
                  <c:v>1</c:v>
                </c:pt>
                <c:pt idx="15">
                  <c:v>1</c:v>
                </c:pt>
                <c:pt idx="16">
                  <c:v>0.66</c:v>
                </c:pt>
                <c:pt idx="17">
                  <c:v>0.79</c:v>
                </c:pt>
                <c:pt idx="18">
                  <c:v>0.7</c:v>
                </c:pt>
                <c:pt idx="19">
                  <c:v>0.77</c:v>
                </c:pt>
                <c:pt idx="20">
                  <c:v>0.61</c:v>
                </c:pt>
                <c:pt idx="21">
                  <c:v>0.82</c:v>
                </c:pt>
                <c:pt idx="22">
                  <c:v>0.69</c:v>
                </c:pt>
                <c:pt idx="23">
                  <c:v>0.49</c:v>
                </c:pt>
                <c:pt idx="24">
                  <c:v>0.86</c:v>
                </c:pt>
                <c:pt idx="25">
                  <c:v>0.89</c:v>
                </c:pt>
                <c:pt idx="26">
                  <c:v>0.63</c:v>
                </c:pt>
                <c:pt idx="27">
                  <c:v>0.68</c:v>
                </c:pt>
                <c:pt idx="28">
                  <c:v>0.56000000000000005</c:v>
                </c:pt>
                <c:pt idx="29">
                  <c:v>0.68</c:v>
                </c:pt>
                <c:pt idx="30">
                  <c:v>0.38</c:v>
                </c:pt>
                <c:pt idx="31">
                  <c:v>0.7</c:v>
                </c:pt>
                <c:pt idx="32">
                  <c:v>0.51</c:v>
                </c:pt>
                <c:pt idx="33">
                  <c:v>0.44</c:v>
                </c:pt>
                <c:pt idx="34">
                  <c:v>0.61</c:v>
                </c:pt>
                <c:pt idx="35">
                  <c:v>0.56999999999999995</c:v>
                </c:pt>
                <c:pt idx="36">
                  <c:v>0.75</c:v>
                </c:pt>
                <c:pt idx="37">
                  <c:v>0.51</c:v>
                </c:pt>
                <c:pt idx="38">
                  <c:v>0.63</c:v>
                </c:pt>
                <c:pt idx="39">
                  <c:v>0.69</c:v>
                </c:pt>
                <c:pt idx="40">
                  <c:v>0.53</c:v>
                </c:pt>
                <c:pt idx="41">
                  <c:v>0.59</c:v>
                </c:pt>
                <c:pt idx="42">
                  <c:v>0.63</c:v>
                </c:pt>
                <c:pt idx="43">
                  <c:v>0.68</c:v>
                </c:pt>
                <c:pt idx="44">
                  <c:v>0.42</c:v>
                </c:pt>
                <c:pt idx="45">
                  <c:v>0.27</c:v>
                </c:pt>
                <c:pt idx="46">
                  <c:v>0.56999999999999995</c:v>
                </c:pt>
                <c:pt idx="47">
                  <c:v>0.56999999999999995</c:v>
                </c:pt>
                <c:pt idx="48">
                  <c:v>0.69</c:v>
                </c:pt>
                <c:pt idx="49">
                  <c:v>0.69</c:v>
                </c:pt>
                <c:pt idx="50">
                  <c:v>0.63</c:v>
                </c:pt>
                <c:pt idx="51">
                  <c:v>0.47</c:v>
                </c:pt>
                <c:pt idx="52">
                  <c:v>0.44</c:v>
                </c:pt>
                <c:pt idx="53">
                  <c:v>0.32</c:v>
                </c:pt>
                <c:pt idx="54">
                  <c:v>0.72</c:v>
                </c:pt>
                <c:pt idx="55">
                  <c:v>0.43</c:v>
                </c:pt>
                <c:pt idx="56">
                  <c:v>0.52</c:v>
                </c:pt>
                <c:pt idx="57">
                  <c:v>0.77</c:v>
                </c:pt>
                <c:pt idx="58">
                  <c:v>0.56999999999999995</c:v>
                </c:pt>
                <c:pt idx="59">
                  <c:v>0.5</c:v>
                </c:pt>
                <c:pt idx="60">
                  <c:v>0.54</c:v>
                </c:pt>
                <c:pt idx="61">
                  <c:v>0.54</c:v>
                </c:pt>
                <c:pt idx="62">
                  <c:v>0.6</c:v>
                </c:pt>
                <c:pt idx="63">
                  <c:v>0.48</c:v>
                </c:pt>
                <c:pt idx="64">
                  <c:v>0.74</c:v>
                </c:pt>
                <c:pt idx="65">
                  <c:v>0.65</c:v>
                </c:pt>
                <c:pt idx="66">
                  <c:v>0.48</c:v>
                </c:pt>
                <c:pt idx="67">
                  <c:v>0.65</c:v>
                </c:pt>
                <c:pt idx="68">
                  <c:v>0.45</c:v>
                </c:pt>
                <c:pt idx="69">
                  <c:v>0.52</c:v>
                </c:pt>
                <c:pt idx="70">
                  <c:v>0.62</c:v>
                </c:pt>
                <c:pt idx="71">
                  <c:v>0.77</c:v>
                </c:pt>
                <c:pt idx="72">
                  <c:v>0.6</c:v>
                </c:pt>
                <c:pt idx="73">
                  <c:v>0.51</c:v>
                </c:pt>
                <c:pt idx="74">
                  <c:v>0.44</c:v>
                </c:pt>
                <c:pt idx="75">
                  <c:v>0.74</c:v>
                </c:pt>
                <c:pt idx="76">
                  <c:v>0.69</c:v>
                </c:pt>
                <c:pt idx="77">
                  <c:v>0.61</c:v>
                </c:pt>
                <c:pt idx="78">
                  <c:v>0.37</c:v>
                </c:pt>
                <c:pt idx="79">
                  <c:v>0.41</c:v>
                </c:pt>
                <c:pt idx="80">
                  <c:v>0.42</c:v>
                </c:pt>
                <c:pt idx="81">
                  <c:v>0.39</c:v>
                </c:pt>
                <c:pt idx="82">
                  <c:v>0.51</c:v>
                </c:pt>
                <c:pt idx="83">
                  <c:v>0.6</c:v>
                </c:pt>
                <c:pt idx="84">
                  <c:v>0.63</c:v>
                </c:pt>
                <c:pt idx="85">
                  <c:v>0.41</c:v>
                </c:pt>
                <c:pt idx="86">
                  <c:v>0.21</c:v>
                </c:pt>
                <c:pt idx="87">
                  <c:v>0.26</c:v>
                </c:pt>
                <c:pt idx="88">
                  <c:v>0.41</c:v>
                </c:pt>
                <c:pt idx="89">
                  <c:v>0.2</c:v>
                </c:pt>
                <c:pt idx="90">
                  <c:v>0.49</c:v>
                </c:pt>
                <c:pt idx="91">
                  <c:v>0.35</c:v>
                </c:pt>
                <c:pt idx="92">
                  <c:v>0.87</c:v>
                </c:pt>
                <c:pt idx="93">
                  <c:v>0.26</c:v>
                </c:pt>
                <c:pt idx="94">
                  <c:v>0.63</c:v>
                </c:pt>
                <c:pt idx="95">
                  <c:v>0.3</c:v>
                </c:pt>
                <c:pt idx="96">
                  <c:v>0.24</c:v>
                </c:pt>
                <c:pt idx="97">
                  <c:v>0.4</c:v>
                </c:pt>
                <c:pt idx="98">
                  <c:v>0.38</c:v>
                </c:pt>
                <c:pt idx="99">
                  <c:v>0.26</c:v>
                </c:pt>
                <c:pt idx="100">
                  <c:v>0.34</c:v>
                </c:pt>
                <c:pt idx="101">
                  <c:v>0.49</c:v>
                </c:pt>
                <c:pt idx="102">
                  <c:v>0.28000000000000003</c:v>
                </c:pt>
                <c:pt idx="103">
                  <c:v>0.34</c:v>
                </c:pt>
                <c:pt idx="104">
                  <c:v>0.17</c:v>
                </c:pt>
                <c:pt idx="105">
                  <c:v>0.41</c:v>
                </c:pt>
                <c:pt idx="106">
                  <c:v>0.36</c:v>
                </c:pt>
                <c:pt idx="107">
                  <c:v>0.5</c:v>
                </c:pt>
                <c:pt idx="108">
                  <c:v>0.48</c:v>
                </c:pt>
                <c:pt idx="109">
                  <c:v>0.56000000000000005</c:v>
                </c:pt>
                <c:pt idx="110">
                  <c:v>0.51</c:v>
                </c:pt>
                <c:pt idx="111">
                  <c:v>0.53</c:v>
                </c:pt>
                <c:pt idx="112">
                  <c:v>0.25</c:v>
                </c:pt>
                <c:pt idx="113">
                  <c:v>0.12</c:v>
                </c:pt>
                <c:pt idx="114">
                  <c:v>0.31</c:v>
                </c:pt>
                <c:pt idx="115">
                  <c:v>0.3</c:v>
                </c:pt>
                <c:pt idx="116">
                  <c:v>0.25</c:v>
                </c:pt>
                <c:pt idx="117">
                  <c:v>0.48</c:v>
                </c:pt>
                <c:pt idx="118">
                  <c:v>0.46</c:v>
                </c:pt>
                <c:pt idx="119">
                  <c:v>0.27</c:v>
                </c:pt>
                <c:pt idx="120">
                  <c:v>0.2</c:v>
                </c:pt>
                <c:pt idx="121">
                  <c:v>0.39</c:v>
                </c:pt>
                <c:pt idx="122">
                  <c:v>0.41</c:v>
                </c:pt>
                <c:pt idx="123">
                  <c:v>0.26</c:v>
                </c:pt>
                <c:pt idx="124">
                  <c:v>0.44</c:v>
                </c:pt>
                <c:pt idx="125">
                  <c:v>0.44</c:v>
                </c:pt>
                <c:pt idx="126">
                  <c:v>0.19</c:v>
                </c:pt>
                <c:pt idx="127">
                  <c:v>0.36</c:v>
                </c:pt>
                <c:pt idx="128">
                  <c:v>0.23</c:v>
                </c:pt>
                <c:pt idx="129">
                  <c:v>0.41</c:v>
                </c:pt>
                <c:pt idx="130">
                  <c:v>0.17</c:v>
                </c:pt>
                <c:pt idx="131">
                  <c:v>0.35</c:v>
                </c:pt>
                <c:pt idx="132">
                  <c:v>0.1</c:v>
                </c:pt>
                <c:pt idx="133">
                  <c:v>0.44</c:v>
                </c:pt>
                <c:pt idx="134">
                  <c:v>0.11</c:v>
                </c:pt>
                <c:pt idx="135">
                  <c:v>0.46</c:v>
                </c:pt>
                <c:pt idx="136">
                  <c:v>0.3</c:v>
                </c:pt>
                <c:pt idx="137">
                  <c:v>0.27</c:v>
                </c:pt>
                <c:pt idx="138">
                  <c:v>0.2</c:v>
                </c:pt>
                <c:pt idx="139">
                  <c:v>0.25</c:v>
                </c:pt>
                <c:pt idx="140">
                  <c:v>0.37</c:v>
                </c:pt>
                <c:pt idx="141">
                  <c:v>0.26</c:v>
                </c:pt>
                <c:pt idx="142">
                  <c:v>0.26</c:v>
                </c:pt>
                <c:pt idx="143">
                  <c:v>0.26</c:v>
                </c:pt>
                <c:pt idx="144">
                  <c:v>0.41</c:v>
                </c:pt>
                <c:pt idx="145">
                  <c:v>0.25</c:v>
                </c:pt>
                <c:pt idx="146">
                  <c:v>0.11</c:v>
                </c:pt>
                <c:pt idx="147">
                  <c:v>0.11</c:v>
                </c:pt>
                <c:pt idx="148">
                  <c:v>0.28000000000000003</c:v>
                </c:pt>
                <c:pt idx="149">
                  <c:v>0.11</c:v>
                </c:pt>
                <c:pt idx="150">
                  <c:v>0.39</c:v>
                </c:pt>
                <c:pt idx="151">
                  <c:v>0.18</c:v>
                </c:pt>
                <c:pt idx="152">
                  <c:v>0.35</c:v>
                </c:pt>
                <c:pt idx="153">
                  <c:v>0.09</c:v>
                </c:pt>
                <c:pt idx="154">
                  <c:v>0.1</c:v>
                </c:pt>
                <c:pt idx="155">
                  <c:v>0.08</c:v>
                </c:pt>
                <c:pt idx="156">
                  <c:v>0.13</c:v>
                </c:pt>
                <c:pt idx="157">
                  <c:v>0.09</c:v>
                </c:pt>
                <c:pt idx="158">
                  <c:v>0.09</c:v>
                </c:pt>
                <c:pt idx="159">
                  <c:v>0.18</c:v>
                </c:pt>
                <c:pt idx="160">
                  <c:v>0.27</c:v>
                </c:pt>
                <c:pt idx="161">
                  <c:v>0.19</c:v>
                </c:pt>
                <c:pt idx="162">
                  <c:v>0.08</c:v>
                </c:pt>
                <c:pt idx="163">
                  <c:v>0.06</c:v>
                </c:pt>
                <c:pt idx="164">
                  <c:v>0.25</c:v>
                </c:pt>
                <c:pt idx="165">
                  <c:v>0.1</c:v>
                </c:pt>
                <c:pt idx="166">
                  <c:v>0.28000000000000003</c:v>
                </c:pt>
                <c:pt idx="167">
                  <c:v>0.05</c:v>
                </c:pt>
                <c:pt idx="168">
                  <c:v>0.3</c:v>
                </c:pt>
                <c:pt idx="169">
                  <c:v>0.32</c:v>
                </c:pt>
                <c:pt idx="170">
                  <c:v>0.05</c:v>
                </c:pt>
                <c:pt idx="171">
                  <c:v>0.11</c:v>
                </c:pt>
                <c:pt idx="172">
                  <c:v>0.11</c:v>
                </c:pt>
                <c:pt idx="173">
                  <c:v>0.13</c:v>
                </c:pt>
                <c:pt idx="174">
                  <c:v>0.06</c:v>
                </c:pt>
                <c:pt idx="175">
                  <c:v>0.08</c:v>
                </c:pt>
                <c:pt idx="176">
                  <c:v>0.09</c:v>
                </c:pt>
                <c:pt idx="177">
                  <c:v>7.0000000000000007E-2</c:v>
                </c:pt>
                <c:pt idx="178">
                  <c:v>0.08</c:v>
                </c:pt>
                <c:pt idx="179">
                  <c:v>0.19</c:v>
                </c:pt>
                <c:pt idx="180">
                  <c:v>7.0000000000000007E-2</c:v>
                </c:pt>
                <c:pt idx="181">
                  <c:v>7.0000000000000007E-2</c:v>
                </c:pt>
                <c:pt idx="182">
                  <c:v>0.11</c:v>
                </c:pt>
                <c:pt idx="183">
                  <c:v>0.08</c:v>
                </c:pt>
                <c:pt idx="184">
                  <c:v>0.2</c:v>
                </c:pt>
                <c:pt idx="185">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87</c:f>
              <c:strCache>
                <c:ptCount val="186"/>
                <c:pt idx="0">
                  <c:v>Ruinart</c:v>
                </c:pt>
                <c:pt idx="1">
                  <c:v>Heidsieck &amp;</c:v>
                </c:pt>
                <c:pt idx="2">
                  <c:v>Nicolas</c:v>
                </c:pt>
                <c:pt idx="3">
                  <c:v>Deutz</c:v>
                </c:pt>
                <c:pt idx="4">
                  <c:v>Ruinart</c:v>
                </c:pt>
                <c:pt idx="5">
                  <c:v>De Bligny</c:v>
                </c:pt>
                <c:pt idx="6">
                  <c:v>Malard</c:v>
                </c:pt>
                <c:pt idx="7">
                  <c:v>Besserat De</c:v>
                </c:pt>
                <c:pt idx="8">
                  <c:v>Canard Duch</c:v>
                </c:pt>
                <c:pt idx="9">
                  <c:v>Ayala</c:v>
                </c:pt>
                <c:pt idx="10">
                  <c:v>Laurent Per</c:v>
                </c:pt>
                <c:pt idx="11">
                  <c:v>Ruinart</c:v>
                </c:pt>
                <c:pt idx="12">
                  <c:v>Vesselle</c:v>
                </c:pt>
                <c:pt idx="13">
                  <c:v>Taittinger</c:v>
                </c:pt>
                <c:pt idx="14">
                  <c:v>Nicolas Feu</c:v>
                </c:pt>
                <c:pt idx="15">
                  <c:v>Bollinger</c:v>
                </c:pt>
                <c:pt idx="16">
                  <c:v>Roederer</c:v>
                </c:pt>
                <c:pt idx="17">
                  <c:v>Demoiselle</c:v>
                </c:pt>
                <c:pt idx="18">
                  <c:v>Ruinart</c:v>
                </c:pt>
                <c:pt idx="19">
                  <c:v>Deutz</c:v>
                </c:pt>
                <c:pt idx="20">
                  <c:v>Ruinart</c:v>
                </c:pt>
                <c:pt idx="21">
                  <c:v>Malard</c:v>
                </c:pt>
                <c:pt idx="22">
                  <c:v>Perrier Jou</c:v>
                </c:pt>
                <c:pt idx="23">
                  <c:v>Besserat De</c:v>
                </c:pt>
                <c:pt idx="24">
                  <c:v>All Others</c:v>
                </c:pt>
                <c:pt idx="25">
                  <c:v>Pommery</c:v>
                </c:pt>
                <c:pt idx="26">
                  <c:v>Laurent Per</c:v>
                </c:pt>
                <c:pt idx="27">
                  <c:v>Lanson</c:v>
                </c:pt>
                <c:pt idx="28">
                  <c:v>Campari: Al</c:v>
                </c:pt>
                <c:pt idx="29">
                  <c:v>Ruinart</c:v>
                </c:pt>
                <c:pt idx="30">
                  <c:v>Ruinart</c:v>
                </c:pt>
                <c:pt idx="31">
                  <c:v>Besserat De</c:v>
                </c:pt>
                <c:pt idx="32">
                  <c:v>Deutz</c:v>
                </c:pt>
                <c:pt idx="33">
                  <c:v>De Venoge</c:v>
                </c:pt>
                <c:pt idx="34">
                  <c:v>Moët &amp; Chan</c:v>
                </c:pt>
                <c:pt idx="35">
                  <c:v>Taittinger</c:v>
                </c:pt>
                <c:pt idx="36">
                  <c:v>Veuve Clicq</c:v>
                </c:pt>
                <c:pt idx="37">
                  <c:v>Roederer</c:v>
                </c:pt>
                <c:pt idx="38">
                  <c:v>Savian</c:v>
                </c:pt>
                <c:pt idx="39">
                  <c:v>Nicolas</c:v>
                </c:pt>
                <c:pt idx="40">
                  <c:v>Roederer</c:v>
                </c:pt>
                <c:pt idx="41">
                  <c:v>Roederer</c:v>
                </c:pt>
                <c:pt idx="42">
                  <c:v>De Venoge</c:v>
                </c:pt>
                <c:pt idx="43">
                  <c:v>Henriot</c:v>
                </c:pt>
                <c:pt idx="44">
                  <c:v>Bollinger</c:v>
                </c:pt>
                <c:pt idx="45">
                  <c:v>Dom Perigno</c:v>
                </c:pt>
                <c:pt idx="46">
                  <c:v>Ruinart</c:v>
                </c:pt>
                <c:pt idx="47">
                  <c:v>All Others</c:v>
                </c:pt>
                <c:pt idx="48">
                  <c:v>Nicolas</c:v>
                </c:pt>
                <c:pt idx="49">
                  <c:v>Laurent Per</c:v>
                </c:pt>
                <c:pt idx="50">
                  <c:v>Veuve Clicq</c:v>
                </c:pt>
                <c:pt idx="51">
                  <c:v>All Others</c:v>
                </c:pt>
                <c:pt idx="52">
                  <c:v>Roederer</c:v>
                </c:pt>
                <c:pt idx="53">
                  <c:v>All Others</c:v>
                </c:pt>
                <c:pt idx="54">
                  <c:v>De Bligny</c:v>
                </c:pt>
                <c:pt idx="55">
                  <c:v>Dom Perigno</c:v>
                </c:pt>
                <c:pt idx="56">
                  <c:v>Henriot</c:v>
                </c:pt>
                <c:pt idx="57">
                  <c:v>Malard</c:v>
                </c:pt>
                <c:pt idx="58">
                  <c:v>Nicolas Feu</c:v>
                </c:pt>
                <c:pt idx="59">
                  <c:v>Malard</c:v>
                </c:pt>
                <c:pt idx="60">
                  <c:v>Laurent Per</c:v>
                </c:pt>
                <c:pt idx="61">
                  <c:v>Canard Duch</c:v>
                </c:pt>
                <c:pt idx="62">
                  <c:v>Nicolas</c:v>
                </c:pt>
                <c:pt idx="63">
                  <c:v>Krug</c:v>
                </c:pt>
                <c:pt idx="64">
                  <c:v>Demoiselle</c:v>
                </c:pt>
                <c:pt idx="65">
                  <c:v>Veuve Clicq</c:v>
                </c:pt>
                <c:pt idx="66">
                  <c:v>Ruinart</c:v>
                </c:pt>
                <c:pt idx="67">
                  <c:v>Ruinart</c:v>
                </c:pt>
                <c:pt idx="68">
                  <c:v>Nicolas Feu</c:v>
                </c:pt>
                <c:pt idx="69">
                  <c:v>Malard</c:v>
                </c:pt>
                <c:pt idx="70">
                  <c:v>Henriot</c:v>
                </c:pt>
                <c:pt idx="71">
                  <c:v>Deutz</c:v>
                </c:pt>
                <c:pt idx="72">
                  <c:v>Pommery</c:v>
                </c:pt>
                <c:pt idx="73">
                  <c:v>Nicolas Feu</c:v>
                </c:pt>
                <c:pt idx="74">
                  <c:v>Piper Heids</c:v>
                </c:pt>
                <c:pt idx="75">
                  <c:v>Canard Duch</c:v>
                </c:pt>
                <c:pt idx="76">
                  <c:v>Delamotte</c:v>
                </c:pt>
                <c:pt idx="77">
                  <c:v>Canard Duch</c:v>
                </c:pt>
                <c:pt idx="78">
                  <c:v>Veuve Clicq</c:v>
                </c:pt>
                <c:pt idx="79">
                  <c:v>Malard</c:v>
                </c:pt>
                <c:pt idx="80">
                  <c:v>Roederer</c:v>
                </c:pt>
                <c:pt idx="81">
                  <c:v>Louis Marti</c:v>
                </c:pt>
                <c:pt idx="82">
                  <c:v>Campari: Al</c:v>
                </c:pt>
                <c:pt idx="83">
                  <c:v>De Venoge</c:v>
                </c:pt>
                <c:pt idx="84">
                  <c:v>Nicolas</c:v>
                </c:pt>
                <c:pt idx="85">
                  <c:v>Henriot</c:v>
                </c:pt>
                <c:pt idx="86">
                  <c:v>Ruinart</c:v>
                </c:pt>
                <c:pt idx="87">
                  <c:v>Dom Perigno</c:v>
                </c:pt>
                <c:pt idx="88">
                  <c:v>Vranken</c:v>
                </c:pt>
                <c:pt idx="89">
                  <c:v>Deutz</c:v>
                </c:pt>
                <c:pt idx="90">
                  <c:v>Nicolas</c:v>
                </c:pt>
                <c:pt idx="91">
                  <c:v>Nicolas</c:v>
                </c:pt>
                <c:pt idx="92">
                  <c:v>Deutz</c:v>
                </c:pt>
                <c:pt idx="93">
                  <c:v>Deutz</c:v>
                </c:pt>
                <c:pt idx="94">
                  <c:v>Canard Duch</c:v>
                </c:pt>
                <c:pt idx="95">
                  <c:v>Ayala</c:v>
                </c:pt>
                <c:pt idx="96">
                  <c:v>Roederer</c:v>
                </c:pt>
                <c:pt idx="97">
                  <c:v>Ruinart</c:v>
                </c:pt>
                <c:pt idx="98">
                  <c:v>Ruinart</c:v>
                </c:pt>
                <c:pt idx="99">
                  <c:v>Ayala</c:v>
                </c:pt>
                <c:pt idx="100">
                  <c:v>Nicolas</c:v>
                </c:pt>
                <c:pt idx="101">
                  <c:v>Roederer</c:v>
                </c:pt>
                <c:pt idx="102">
                  <c:v>Roederer</c:v>
                </c:pt>
                <c:pt idx="103">
                  <c:v>Roederer</c:v>
                </c:pt>
                <c:pt idx="104">
                  <c:v>Ruinart</c:v>
                </c:pt>
                <c:pt idx="105">
                  <c:v>Nicolas</c:v>
                </c:pt>
                <c:pt idx="106">
                  <c:v>Laurent Per</c:v>
                </c:pt>
                <c:pt idx="107">
                  <c:v>Moët &amp; Chan</c:v>
                </c:pt>
                <c:pt idx="108">
                  <c:v>Demoiselle</c:v>
                </c:pt>
                <c:pt idx="109">
                  <c:v>Louis Marti</c:v>
                </c:pt>
                <c:pt idx="110">
                  <c:v>Nicolas</c:v>
                </c:pt>
                <c:pt idx="111">
                  <c:v>Besserat De</c:v>
                </c:pt>
                <c:pt idx="112">
                  <c:v>Nicolas</c:v>
                </c:pt>
                <c:pt idx="113">
                  <c:v>Piper Heids</c:v>
                </c:pt>
                <c:pt idx="114">
                  <c:v>Moët &amp; Chan</c:v>
                </c:pt>
                <c:pt idx="115">
                  <c:v>All Others</c:v>
                </c:pt>
                <c:pt idx="116">
                  <c:v>Roederer</c:v>
                </c:pt>
                <c:pt idx="117">
                  <c:v>Nicolas</c:v>
                </c:pt>
                <c:pt idx="118">
                  <c:v>Bollinger</c:v>
                </c:pt>
                <c:pt idx="119">
                  <c:v>Vranken</c:v>
                </c:pt>
                <c:pt idx="120">
                  <c:v>Ruinart</c:v>
                </c:pt>
                <c:pt idx="121">
                  <c:v>Nicolas</c:v>
                </c:pt>
                <c:pt idx="122">
                  <c:v>Piper Heids</c:v>
                </c:pt>
                <c:pt idx="123">
                  <c:v>All Others</c:v>
                </c:pt>
                <c:pt idx="124">
                  <c:v>Pommery</c:v>
                </c:pt>
                <c:pt idx="125">
                  <c:v>Nicolas</c:v>
                </c:pt>
                <c:pt idx="126">
                  <c:v>Demoiselle</c:v>
                </c:pt>
                <c:pt idx="127">
                  <c:v>Roederer</c:v>
                </c:pt>
                <c:pt idx="128">
                  <c:v>Laurent Per</c:v>
                </c:pt>
                <c:pt idx="129">
                  <c:v>Pommery</c:v>
                </c:pt>
                <c:pt idx="130">
                  <c:v>Roederer</c:v>
                </c:pt>
                <c:pt idx="131">
                  <c:v>Ruinart</c:v>
                </c:pt>
                <c:pt idx="132">
                  <c:v>Dom Perigno</c:v>
                </c:pt>
                <c:pt idx="133">
                  <c:v>De Venoge</c:v>
                </c:pt>
                <c:pt idx="134">
                  <c:v>Canard Duch</c:v>
                </c:pt>
                <c:pt idx="135">
                  <c:v>Nicolas</c:v>
                </c:pt>
                <c:pt idx="136">
                  <c:v>Piper Heids</c:v>
                </c:pt>
                <c:pt idx="137">
                  <c:v>Nicolas Feu</c:v>
                </c:pt>
                <c:pt idx="138">
                  <c:v>Pommery</c:v>
                </c:pt>
                <c:pt idx="139">
                  <c:v>Bollinger</c:v>
                </c:pt>
                <c:pt idx="140">
                  <c:v>Besserat De</c:v>
                </c:pt>
                <c:pt idx="141">
                  <c:v>Moët &amp; Chan</c:v>
                </c:pt>
                <c:pt idx="142">
                  <c:v>Pommery</c:v>
                </c:pt>
                <c:pt idx="143">
                  <c:v>Vesselle</c:v>
                </c:pt>
                <c:pt idx="144">
                  <c:v>Roederer</c:v>
                </c:pt>
                <c:pt idx="145">
                  <c:v>Laurent Per</c:v>
                </c:pt>
                <c:pt idx="146">
                  <c:v>Ruinart</c:v>
                </c:pt>
                <c:pt idx="147">
                  <c:v>Nicolas</c:v>
                </c:pt>
                <c:pt idx="148">
                  <c:v>Nicolas</c:v>
                </c:pt>
                <c:pt idx="149">
                  <c:v>Taittinger</c:v>
                </c:pt>
                <c:pt idx="150">
                  <c:v>Pommery</c:v>
                </c:pt>
                <c:pt idx="151">
                  <c:v>All Others</c:v>
                </c:pt>
                <c:pt idx="152">
                  <c:v>Lanson</c:v>
                </c:pt>
                <c:pt idx="153">
                  <c:v>Bollinger</c:v>
                </c:pt>
                <c:pt idx="154">
                  <c:v>All Others</c:v>
                </c:pt>
                <c:pt idx="155">
                  <c:v>Roederer</c:v>
                </c:pt>
                <c:pt idx="156">
                  <c:v>All Others</c:v>
                </c:pt>
                <c:pt idx="157">
                  <c:v>All Others</c:v>
                </c:pt>
                <c:pt idx="158">
                  <c:v>Delamotte</c:v>
                </c:pt>
                <c:pt idx="159">
                  <c:v>Martel</c:v>
                </c:pt>
                <c:pt idx="160">
                  <c:v>Bollinger</c:v>
                </c:pt>
                <c:pt idx="161">
                  <c:v>Vranken</c:v>
                </c:pt>
                <c:pt idx="162">
                  <c:v>Henriot</c:v>
                </c:pt>
                <c:pt idx="163">
                  <c:v>Ruinart</c:v>
                </c:pt>
                <c:pt idx="164">
                  <c:v>Perrier Jou</c:v>
                </c:pt>
                <c:pt idx="165">
                  <c:v>Piper Heids</c:v>
                </c:pt>
                <c:pt idx="166">
                  <c:v>Nicolas</c:v>
                </c:pt>
                <c:pt idx="167">
                  <c:v>De Venoge</c:v>
                </c:pt>
                <c:pt idx="168">
                  <c:v>De Bligny</c:v>
                </c:pt>
                <c:pt idx="169">
                  <c:v>Laurent Per</c:v>
                </c:pt>
                <c:pt idx="170">
                  <c:v>Nicolas Feu</c:v>
                </c:pt>
                <c:pt idx="171">
                  <c:v>Henriot</c:v>
                </c:pt>
                <c:pt idx="172">
                  <c:v>Canard Duch</c:v>
                </c:pt>
                <c:pt idx="173">
                  <c:v>Laurent Per</c:v>
                </c:pt>
                <c:pt idx="174">
                  <c:v>Moët &amp; Chan</c:v>
                </c:pt>
                <c:pt idx="175">
                  <c:v>Vesselle</c:v>
                </c:pt>
                <c:pt idx="176">
                  <c:v>Nicolas</c:v>
                </c:pt>
                <c:pt idx="177">
                  <c:v>Vranken</c:v>
                </c:pt>
                <c:pt idx="178">
                  <c:v>Roederer</c:v>
                </c:pt>
                <c:pt idx="179">
                  <c:v>Besserat De</c:v>
                </c:pt>
                <c:pt idx="180">
                  <c:v>All Others</c:v>
                </c:pt>
                <c:pt idx="181">
                  <c:v>All Others</c:v>
                </c:pt>
                <c:pt idx="182">
                  <c:v>Besserat De</c:v>
                </c:pt>
                <c:pt idx="183">
                  <c:v>All Others</c:v>
                </c:pt>
                <c:pt idx="184">
                  <c:v>Vranken</c:v>
                </c:pt>
                <c:pt idx="185">
                  <c:v>Nicolas</c:v>
                </c:pt>
              </c:strCache>
            </c:strRef>
          </c:cat>
          <c:val>
            <c:numRef>
              <c:f>Sheet1!$C$2:$C$187</c:f>
              <c:numCache>
                <c:formatCode>General</c:formatCode>
                <c:ptCount val="186"/>
                <c:pt idx="0">
                  <c:v>9.2156260597336864E-2</c:v>
                </c:pt>
                <c:pt idx="1">
                  <c:v>0.15292766667200325</c:v>
                </c:pt>
                <c:pt idx="2">
                  <c:v>0.20995134503400609</c:v>
                </c:pt>
                <c:pt idx="3">
                  <c:v>0.26005155126818741</c:v>
                </c:pt>
                <c:pt idx="4">
                  <c:v>0.30150651376907889</c:v>
                </c:pt>
                <c:pt idx="5">
                  <c:v>0.34273297403661573</c:v>
                </c:pt>
                <c:pt idx="6">
                  <c:v>0.37916670911665701</c:v>
                </c:pt>
                <c:pt idx="7">
                  <c:v>0.41151214627635968</c:v>
                </c:pt>
                <c:pt idx="8">
                  <c:v>0.44097583552496572</c:v>
                </c:pt>
                <c:pt idx="9">
                  <c:v>0.46966814780747018</c:v>
                </c:pt>
                <c:pt idx="10">
                  <c:v>0.4918284981581556</c:v>
                </c:pt>
                <c:pt idx="11">
                  <c:v>0.51224379005156584</c:v>
                </c:pt>
                <c:pt idx="12">
                  <c:v>0.53199831752495697</c:v>
                </c:pt>
                <c:pt idx="13">
                  <c:v>0.55113574342546678</c:v>
                </c:pt>
                <c:pt idx="14">
                  <c:v>0.5679532167147201</c:v>
                </c:pt>
                <c:pt idx="15">
                  <c:v>0.58387705706588577</c:v>
                </c:pt>
                <c:pt idx="16">
                  <c:v>0.59860307997723705</c:v>
                </c:pt>
                <c:pt idx="17">
                  <c:v>0.61317191663889214</c:v>
                </c:pt>
                <c:pt idx="18">
                  <c:v>0.62728665969031383</c:v>
                </c:pt>
                <c:pt idx="19">
                  <c:v>0.6412369393508498</c:v>
                </c:pt>
                <c:pt idx="20">
                  <c:v>0.65440565404761863</c:v>
                </c:pt>
                <c:pt idx="21">
                  <c:v>0.66475957053223544</c:v>
                </c:pt>
                <c:pt idx="22">
                  <c:v>0.67453131572168123</c:v>
                </c:pt>
                <c:pt idx="23">
                  <c:v>0.68333520113290525</c:v>
                </c:pt>
                <c:pt idx="24">
                  <c:v>0.69177231862817146</c:v>
                </c:pt>
                <c:pt idx="25">
                  <c:v>0.6999765676053693</c:v>
                </c:pt>
                <c:pt idx="26">
                  <c:v>0.70787081036788857</c:v>
                </c:pt>
                <c:pt idx="27">
                  <c:v>0.71564425258665976</c:v>
                </c:pt>
                <c:pt idx="28">
                  <c:v>0.72336821024534148</c:v>
                </c:pt>
                <c:pt idx="29">
                  <c:v>0.73101503020741299</c:v>
                </c:pt>
                <c:pt idx="30">
                  <c:v>0.73844935764674713</c:v>
                </c:pt>
                <c:pt idx="31">
                  <c:v>0.74532771149919286</c:v>
                </c:pt>
                <c:pt idx="32">
                  <c:v>0.75214057108093191</c:v>
                </c:pt>
                <c:pt idx="33">
                  <c:v>0.75887483753782281</c:v>
                </c:pt>
                <c:pt idx="34">
                  <c:v>0.76543881889087617</c:v>
                </c:pt>
                <c:pt idx="35">
                  <c:v>0.77191838540612978</c:v>
                </c:pt>
                <c:pt idx="36">
                  <c:v>0.77822766681754585</c:v>
                </c:pt>
                <c:pt idx="37">
                  <c:v>0.78430407971089355</c:v>
                </c:pt>
                <c:pt idx="38">
                  <c:v>0.79037467089128954</c:v>
                </c:pt>
                <c:pt idx="39">
                  <c:v>0.7963419266667926</c:v>
                </c:pt>
                <c:pt idx="40">
                  <c:v>0.80216218419026497</c:v>
                </c:pt>
                <c:pt idx="41">
                  <c:v>0.80780779032518613</c:v>
                </c:pt>
                <c:pt idx="42">
                  <c:v>0.81286540345198444</c:v>
                </c:pt>
                <c:pt idx="43">
                  <c:v>0.81777601832675206</c:v>
                </c:pt>
                <c:pt idx="44">
                  <c:v>0.82253381323653729</c:v>
                </c:pt>
                <c:pt idx="45">
                  <c:v>0.82724648987094684</c:v>
                </c:pt>
                <c:pt idx="46">
                  <c:v>0.83190677108879096</c:v>
                </c:pt>
                <c:pt idx="47">
                  <c:v>0.83653794374187651</c:v>
                </c:pt>
                <c:pt idx="48">
                  <c:v>0.84086784274971105</c:v>
                </c:pt>
                <c:pt idx="49">
                  <c:v>0.84517008862102494</c:v>
                </c:pt>
                <c:pt idx="50">
                  <c:v>0.84945050306877001</c:v>
                </c:pt>
                <c:pt idx="51">
                  <c:v>0.8535431672738224</c:v>
                </c:pt>
                <c:pt idx="52">
                  <c:v>0.85760381205764036</c:v>
                </c:pt>
                <c:pt idx="53">
                  <c:v>0.86153055744356899</c:v>
                </c:pt>
                <c:pt idx="54">
                  <c:v>0.8654005411282184</c:v>
                </c:pt>
                <c:pt idx="55">
                  <c:v>0.86924287167634728</c:v>
                </c:pt>
                <c:pt idx="56">
                  <c:v>0.87304590566205209</c:v>
                </c:pt>
                <c:pt idx="57">
                  <c:v>0.87684457336304311</c:v>
                </c:pt>
                <c:pt idx="58">
                  <c:v>0.88052535137676202</c:v>
                </c:pt>
                <c:pt idx="59">
                  <c:v>0.88413190255034657</c:v>
                </c:pt>
                <c:pt idx="60">
                  <c:v>0.88763366289080037</c:v>
                </c:pt>
                <c:pt idx="61">
                  <c:v>0.89113105694654038</c:v>
                </c:pt>
                <c:pt idx="62">
                  <c:v>0.89461535214813903</c:v>
                </c:pt>
                <c:pt idx="63">
                  <c:v>0.89800504451427243</c:v>
                </c:pt>
                <c:pt idx="64">
                  <c:v>0.90138600431097826</c:v>
                </c:pt>
                <c:pt idx="65">
                  <c:v>0.9046810938416463</c:v>
                </c:pt>
                <c:pt idx="66">
                  <c:v>0.90779134398609751</c:v>
                </c:pt>
                <c:pt idx="67">
                  <c:v>0.91089722784583493</c:v>
                </c:pt>
                <c:pt idx="68">
                  <c:v>0.91391724143953468</c:v>
                </c:pt>
                <c:pt idx="69">
                  <c:v>0.91690814646847585</c:v>
                </c:pt>
                <c:pt idx="70">
                  <c:v>0.91984083436789998</c:v>
                </c:pt>
                <c:pt idx="71">
                  <c:v>0.92275169084375519</c:v>
                </c:pt>
                <c:pt idx="72">
                  <c:v>0.92564362675251732</c:v>
                </c:pt>
                <c:pt idx="73">
                  <c:v>0.92839729697867635</c:v>
                </c:pt>
                <c:pt idx="74">
                  <c:v>0.93110002721650786</c:v>
                </c:pt>
                <c:pt idx="75">
                  <c:v>0.93360918549869498</c:v>
                </c:pt>
                <c:pt idx="76">
                  <c:v>0.93601646380422721</c:v>
                </c:pt>
                <c:pt idx="77">
                  <c:v>0.93812392389274635</c:v>
                </c:pt>
                <c:pt idx="78">
                  <c:v>0.94019936456003106</c:v>
                </c:pt>
                <c:pt idx="79">
                  <c:v>0.9421641926812333</c:v>
                </c:pt>
                <c:pt idx="80">
                  <c:v>0.9440344179669703</c:v>
                </c:pt>
                <c:pt idx="81">
                  <c:v>0.94584060441023843</c:v>
                </c:pt>
                <c:pt idx="82">
                  <c:v>0.94764242456879277</c:v>
                </c:pt>
                <c:pt idx="83">
                  <c:v>0.94935982988954737</c:v>
                </c:pt>
                <c:pt idx="84">
                  <c:v>0.95101465179607103</c:v>
                </c:pt>
                <c:pt idx="85">
                  <c:v>0.95266074113316712</c:v>
                </c:pt>
                <c:pt idx="86">
                  <c:v>0.95419621792418075</c:v>
                </c:pt>
                <c:pt idx="87">
                  <c:v>0.95565019073387036</c:v>
                </c:pt>
                <c:pt idx="88">
                  <c:v>0.95704303555756709</c:v>
                </c:pt>
                <c:pt idx="89">
                  <c:v>0.95839658381883974</c:v>
                </c:pt>
                <c:pt idx="90">
                  <c:v>0.95968463780940561</c:v>
                </c:pt>
                <c:pt idx="91">
                  <c:v>0.96093630609402336</c:v>
                </c:pt>
                <c:pt idx="92">
                  <c:v>0.96211520296674469</c:v>
                </c:pt>
                <c:pt idx="93">
                  <c:v>0.96322132842756969</c:v>
                </c:pt>
                <c:pt idx="94">
                  <c:v>0.96430416703658783</c:v>
                </c:pt>
                <c:pt idx="95">
                  <c:v>0.96538555021736805</c:v>
                </c:pt>
                <c:pt idx="96">
                  <c:v>0.96646256711343448</c:v>
                </c:pt>
                <c:pt idx="97">
                  <c:v>0.96752066344240784</c:v>
                </c:pt>
                <c:pt idx="98">
                  <c:v>0.96856275006076398</c:v>
                </c:pt>
                <c:pt idx="99">
                  <c:v>0.96956117383198226</c:v>
                </c:pt>
                <c:pt idx="100">
                  <c:v>0.97055377589024883</c:v>
                </c:pt>
                <c:pt idx="101">
                  <c:v>0.97154346709203954</c:v>
                </c:pt>
                <c:pt idx="102">
                  <c:v>0.97246329773840978</c:v>
                </c:pt>
                <c:pt idx="103">
                  <c:v>0.97335547524825938</c:v>
                </c:pt>
                <c:pt idx="104">
                  <c:v>0.97424183104515727</c:v>
                </c:pt>
                <c:pt idx="105">
                  <c:v>0.97511363255967587</c:v>
                </c:pt>
                <c:pt idx="106">
                  <c:v>0.97596360265062554</c:v>
                </c:pt>
                <c:pt idx="107">
                  <c:v>0.97676845446619953</c:v>
                </c:pt>
                <c:pt idx="108">
                  <c:v>0.97756457371234595</c:v>
                </c:pt>
                <c:pt idx="109">
                  <c:v>0.97833886153492344</c:v>
                </c:pt>
                <c:pt idx="110">
                  <c:v>0.97910587221631129</c:v>
                </c:pt>
                <c:pt idx="111">
                  <c:v>0.97986415032827157</c:v>
                </c:pt>
                <c:pt idx="112">
                  <c:v>0.98060350787313877</c:v>
                </c:pt>
                <c:pt idx="113">
                  <c:v>0.98133122199210254</c:v>
                </c:pt>
                <c:pt idx="114">
                  <c:v>0.98199926355331135</c:v>
                </c:pt>
                <c:pt idx="115">
                  <c:v>0.98266002797333052</c:v>
                </c:pt>
                <c:pt idx="116">
                  <c:v>0.98331497068039797</c:v>
                </c:pt>
                <c:pt idx="117">
                  <c:v>0.98389859740380692</c:v>
                </c:pt>
                <c:pt idx="118">
                  <c:v>0.98447058070131244</c:v>
                </c:pt>
                <c:pt idx="119">
                  <c:v>0.98503383142939038</c:v>
                </c:pt>
                <c:pt idx="120">
                  <c:v>0.98558689415980283</c:v>
                </c:pt>
                <c:pt idx="121">
                  <c:v>0.98612540260783599</c:v>
                </c:pt>
                <c:pt idx="122">
                  <c:v>0.98665954477115536</c:v>
                </c:pt>
                <c:pt idx="123">
                  <c:v>0.9871660337979542</c:v>
                </c:pt>
                <c:pt idx="124">
                  <c:v>0.98764050340351861</c:v>
                </c:pt>
                <c:pt idx="125">
                  <c:v>0.98810624043965545</c:v>
                </c:pt>
                <c:pt idx="126">
                  <c:v>0.98856324490636471</c:v>
                </c:pt>
                <c:pt idx="127">
                  <c:v>0.98900569509069469</c:v>
                </c:pt>
                <c:pt idx="128">
                  <c:v>0.98944086813383503</c:v>
                </c:pt>
                <c:pt idx="129">
                  <c:v>0.98987458574873743</c:v>
                </c:pt>
                <c:pt idx="130">
                  <c:v>0.99030393707892606</c:v>
                </c:pt>
                <c:pt idx="131">
                  <c:v>0.99070854612906989</c:v>
                </c:pt>
                <c:pt idx="132">
                  <c:v>0.99110733346626201</c:v>
                </c:pt>
                <c:pt idx="133">
                  <c:v>0.99149593280578863</c:v>
                </c:pt>
                <c:pt idx="134">
                  <c:v>0.99188307671707732</c:v>
                </c:pt>
                <c:pt idx="135">
                  <c:v>0.99224111206360754</c:v>
                </c:pt>
                <c:pt idx="136">
                  <c:v>0.99259769198189984</c:v>
                </c:pt>
                <c:pt idx="137">
                  <c:v>0.9929469947590025</c:v>
                </c:pt>
                <c:pt idx="138">
                  <c:v>0.99328902039491551</c:v>
                </c:pt>
                <c:pt idx="139">
                  <c:v>0.99360484832254581</c:v>
                </c:pt>
                <c:pt idx="140">
                  <c:v>0.99391922082193818</c:v>
                </c:pt>
                <c:pt idx="141">
                  <c:v>0.99420885104128576</c:v>
                </c:pt>
                <c:pt idx="142">
                  <c:v>0.99449411497591955</c:v>
                </c:pt>
                <c:pt idx="143">
                  <c:v>0.99476628005641199</c:v>
                </c:pt>
                <c:pt idx="144">
                  <c:v>0.99503116799571478</c:v>
                </c:pt>
                <c:pt idx="145">
                  <c:v>0.99528150165263829</c:v>
                </c:pt>
                <c:pt idx="146">
                  <c:v>0.99552019188365837</c:v>
                </c:pt>
                <c:pt idx="147">
                  <c:v>0.99574141697582341</c:v>
                </c:pt>
                <c:pt idx="148">
                  <c:v>0.99595682035503674</c:v>
                </c:pt>
                <c:pt idx="149">
                  <c:v>0.99617076830601214</c:v>
                </c:pt>
                <c:pt idx="150">
                  <c:v>0.99637161740284619</c:v>
                </c:pt>
                <c:pt idx="151">
                  <c:v>0.99656518935849059</c:v>
                </c:pt>
                <c:pt idx="152">
                  <c:v>0.99675585045765913</c:v>
                </c:pt>
                <c:pt idx="153">
                  <c:v>0.99694505612858975</c:v>
                </c:pt>
                <c:pt idx="154">
                  <c:v>0.9971313509430445</c:v>
                </c:pt>
                <c:pt idx="155">
                  <c:v>0.99731182404454755</c:v>
                </c:pt>
                <c:pt idx="156">
                  <c:v>0.99747628743543337</c:v>
                </c:pt>
                <c:pt idx="157">
                  <c:v>0.99763929539808127</c:v>
                </c:pt>
                <c:pt idx="158">
                  <c:v>0.99779939250425331</c:v>
                </c:pt>
                <c:pt idx="159">
                  <c:v>0.99794347989980814</c:v>
                </c:pt>
                <c:pt idx="160">
                  <c:v>0.99808320101064918</c:v>
                </c:pt>
                <c:pt idx="161">
                  <c:v>0.99822292212149022</c:v>
                </c:pt>
                <c:pt idx="162">
                  <c:v>0.99834517809347612</c:v>
                </c:pt>
                <c:pt idx="163">
                  <c:v>0.99846597863722408</c:v>
                </c:pt>
                <c:pt idx="164">
                  <c:v>0.99858241289625826</c:v>
                </c:pt>
                <c:pt idx="165">
                  <c:v>0.99869739172705452</c:v>
                </c:pt>
                <c:pt idx="166">
                  <c:v>0.99880072713194734</c:v>
                </c:pt>
                <c:pt idx="167">
                  <c:v>0.99890406253684016</c:v>
                </c:pt>
                <c:pt idx="168">
                  <c:v>0.99900594251349506</c:v>
                </c:pt>
                <c:pt idx="169">
                  <c:v>0.99909181277953274</c:v>
                </c:pt>
                <c:pt idx="170">
                  <c:v>0.99917477218909456</c:v>
                </c:pt>
                <c:pt idx="171">
                  <c:v>0.99925773159865638</c:v>
                </c:pt>
                <c:pt idx="172">
                  <c:v>0.99933050301055282</c:v>
                </c:pt>
                <c:pt idx="173">
                  <c:v>0.99940181899421132</c:v>
                </c:pt>
                <c:pt idx="174">
                  <c:v>0.99947313497786983</c:v>
                </c:pt>
                <c:pt idx="175">
                  <c:v>0.99953717382033869</c:v>
                </c:pt>
                <c:pt idx="176">
                  <c:v>0.99959684637809376</c:v>
                </c:pt>
                <c:pt idx="177">
                  <c:v>0.99965360807937298</c:v>
                </c:pt>
                <c:pt idx="178">
                  <c:v>0.99970454806770048</c:v>
                </c:pt>
                <c:pt idx="179">
                  <c:v>0.99975548805602799</c:v>
                </c:pt>
                <c:pt idx="180">
                  <c:v>0.99980497261611756</c:v>
                </c:pt>
                <c:pt idx="181">
                  <c:v>0.99985445717620713</c:v>
                </c:pt>
                <c:pt idx="182">
                  <c:v>0.99989812002334499</c:v>
                </c:pt>
                <c:pt idx="183">
                  <c:v>0.99993450572929321</c:v>
                </c:pt>
                <c:pt idx="184">
                  <c:v>0.9999694360070035</c:v>
                </c:pt>
                <c:pt idx="18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2</c:f>
              <c:strCache>
                <c:ptCount val="151"/>
                <c:pt idx="0">
                  <c:v>Ruinart</c:v>
                </c:pt>
                <c:pt idx="1">
                  <c:v>Ayala</c:v>
                </c:pt>
                <c:pt idx="2">
                  <c:v>Nicolas</c:v>
                </c:pt>
                <c:pt idx="3">
                  <c:v>Deutz</c:v>
                </c:pt>
                <c:pt idx="4">
                  <c:v>De Bligny</c:v>
                </c:pt>
                <c:pt idx="5">
                  <c:v>Malard</c:v>
                </c:pt>
                <c:pt idx="6">
                  <c:v>Laurent Per</c:v>
                </c:pt>
                <c:pt idx="7">
                  <c:v>Canard Duch</c:v>
                </c:pt>
                <c:pt idx="8">
                  <c:v>Ruinart</c:v>
                </c:pt>
                <c:pt idx="9">
                  <c:v>Deutz</c:v>
                </c:pt>
                <c:pt idx="10">
                  <c:v>Heidsieck &amp;</c:v>
                </c:pt>
                <c:pt idx="11">
                  <c:v>Besserat De</c:v>
                </c:pt>
                <c:pt idx="12">
                  <c:v>Bollinger</c:v>
                </c:pt>
                <c:pt idx="13">
                  <c:v>Ruinart</c:v>
                </c:pt>
                <c:pt idx="14">
                  <c:v>Nicolas Feu</c:v>
                </c:pt>
                <c:pt idx="15">
                  <c:v>All Others</c:v>
                </c:pt>
                <c:pt idx="16">
                  <c:v>Taittinger</c:v>
                </c:pt>
                <c:pt idx="17">
                  <c:v>Demoiselle</c:v>
                </c:pt>
                <c:pt idx="18">
                  <c:v>Ruinart</c:v>
                </c:pt>
                <c:pt idx="19">
                  <c:v>Dom Perigno</c:v>
                </c:pt>
                <c:pt idx="20">
                  <c:v>Pommery</c:v>
                </c:pt>
                <c:pt idx="21">
                  <c:v>Perrier Jou</c:v>
                </c:pt>
                <c:pt idx="22">
                  <c:v>Demoiselle</c:v>
                </c:pt>
                <c:pt idx="23">
                  <c:v>Ruinart</c:v>
                </c:pt>
                <c:pt idx="24">
                  <c:v>Malard</c:v>
                </c:pt>
                <c:pt idx="25">
                  <c:v>Laurent Per</c:v>
                </c:pt>
                <c:pt idx="26">
                  <c:v>Taittinger</c:v>
                </c:pt>
                <c:pt idx="27">
                  <c:v>Vesselle</c:v>
                </c:pt>
                <c:pt idx="28">
                  <c:v>Roederer</c:v>
                </c:pt>
                <c:pt idx="29">
                  <c:v>Laurent Per</c:v>
                </c:pt>
                <c:pt idx="30">
                  <c:v>Ruinart</c:v>
                </c:pt>
                <c:pt idx="31">
                  <c:v>Savian</c:v>
                </c:pt>
                <c:pt idx="32">
                  <c:v>Henriot</c:v>
                </c:pt>
                <c:pt idx="33">
                  <c:v>All Others</c:v>
                </c:pt>
                <c:pt idx="34">
                  <c:v>Campari: Al</c:v>
                </c:pt>
                <c:pt idx="35">
                  <c:v>Roederer</c:v>
                </c:pt>
                <c:pt idx="36">
                  <c:v>Veuve Clicq</c:v>
                </c:pt>
                <c:pt idx="37">
                  <c:v>Canard Duch</c:v>
                </c:pt>
                <c:pt idx="38">
                  <c:v>Nicolas</c:v>
                </c:pt>
                <c:pt idx="39">
                  <c:v>Henriot</c:v>
                </c:pt>
                <c:pt idx="40">
                  <c:v>Moët &amp; Chan</c:v>
                </c:pt>
                <c:pt idx="41">
                  <c:v>Moët &amp; Chan</c:v>
                </c:pt>
                <c:pt idx="42">
                  <c:v>Ruinart</c:v>
                </c:pt>
                <c:pt idx="43">
                  <c:v>Malard</c:v>
                </c:pt>
                <c:pt idx="44">
                  <c:v>Deutz</c:v>
                </c:pt>
                <c:pt idx="45">
                  <c:v>De Venoge</c:v>
                </c:pt>
                <c:pt idx="46">
                  <c:v>Ruinart</c:v>
                </c:pt>
                <c:pt idx="47">
                  <c:v>Veuve Clicq</c:v>
                </c:pt>
                <c:pt idx="48">
                  <c:v>Dom Perigno</c:v>
                </c:pt>
                <c:pt idx="49">
                  <c:v>Dom Perigno</c:v>
                </c:pt>
                <c:pt idx="50">
                  <c:v>Malard</c:v>
                </c:pt>
                <c:pt idx="51">
                  <c:v>Nicolas Feu</c:v>
                </c:pt>
                <c:pt idx="52">
                  <c:v>Louis Marti</c:v>
                </c:pt>
                <c:pt idx="53">
                  <c:v>Canard Duch</c:v>
                </c:pt>
                <c:pt idx="54">
                  <c:v>Moët &amp; Chan</c:v>
                </c:pt>
                <c:pt idx="55">
                  <c:v>Deutz</c:v>
                </c:pt>
                <c:pt idx="56">
                  <c:v>Nicolas Feu</c:v>
                </c:pt>
                <c:pt idx="57">
                  <c:v>Veuve Clicq</c:v>
                </c:pt>
                <c:pt idx="58">
                  <c:v>Delamotte</c:v>
                </c:pt>
                <c:pt idx="59">
                  <c:v>Pommery</c:v>
                </c:pt>
                <c:pt idx="60">
                  <c:v>Bollinger</c:v>
                </c:pt>
                <c:pt idx="61">
                  <c:v>Piper Heids</c:v>
                </c:pt>
                <c:pt idx="62">
                  <c:v>Ruinart</c:v>
                </c:pt>
                <c:pt idx="63">
                  <c:v>All Others</c:v>
                </c:pt>
                <c:pt idx="64">
                  <c:v>Krug</c:v>
                </c:pt>
                <c:pt idx="65">
                  <c:v>Canard Duch</c:v>
                </c:pt>
                <c:pt idx="66">
                  <c:v>Campari: Al</c:v>
                </c:pt>
                <c:pt idx="67">
                  <c:v>Ruinart</c:v>
                </c:pt>
                <c:pt idx="68">
                  <c:v>Bollinger</c:v>
                </c:pt>
                <c:pt idx="69">
                  <c:v>Ruinart</c:v>
                </c:pt>
                <c:pt idx="70">
                  <c:v>Besserat De</c:v>
                </c:pt>
                <c:pt idx="71">
                  <c:v>Nicolas</c:v>
                </c:pt>
                <c:pt idx="72">
                  <c:v>Nicolas</c:v>
                </c:pt>
                <c:pt idx="73">
                  <c:v>Deutz</c:v>
                </c:pt>
                <c:pt idx="74">
                  <c:v>Ayala</c:v>
                </c:pt>
                <c:pt idx="75">
                  <c:v>Malard</c:v>
                </c:pt>
                <c:pt idx="76">
                  <c:v>Lanson</c:v>
                </c:pt>
                <c:pt idx="77">
                  <c:v>Canard Duch</c:v>
                </c:pt>
                <c:pt idx="78">
                  <c:v>Roederer</c:v>
                </c:pt>
                <c:pt idx="79">
                  <c:v>Ruinart</c:v>
                </c:pt>
                <c:pt idx="80">
                  <c:v>Ruinart</c:v>
                </c:pt>
                <c:pt idx="81">
                  <c:v>Nicolas</c:v>
                </c:pt>
                <c:pt idx="82">
                  <c:v>Nicolas</c:v>
                </c:pt>
                <c:pt idx="83">
                  <c:v>Roederer</c:v>
                </c:pt>
                <c:pt idx="84">
                  <c:v>Besserat De</c:v>
                </c:pt>
                <c:pt idx="85">
                  <c:v>Henriot</c:v>
                </c:pt>
                <c:pt idx="86">
                  <c:v>Vranken</c:v>
                </c:pt>
                <c:pt idx="87">
                  <c:v>De Venoge</c:v>
                </c:pt>
                <c:pt idx="88">
                  <c:v>Roederer</c:v>
                </c:pt>
                <c:pt idx="89">
                  <c:v>Nicolas</c:v>
                </c:pt>
                <c:pt idx="90">
                  <c:v>All Others</c:v>
                </c:pt>
                <c:pt idx="91">
                  <c:v>Nicolas Feu</c:v>
                </c:pt>
                <c:pt idx="92">
                  <c:v>Demoiselle</c:v>
                </c:pt>
                <c:pt idx="93">
                  <c:v>Henriot</c:v>
                </c:pt>
                <c:pt idx="94">
                  <c:v>De Venoge</c:v>
                </c:pt>
                <c:pt idx="95">
                  <c:v>De Bligny</c:v>
                </c:pt>
                <c:pt idx="96">
                  <c:v>Nicolas</c:v>
                </c:pt>
                <c:pt idx="97">
                  <c:v>Nicolas</c:v>
                </c:pt>
                <c:pt idx="98">
                  <c:v>Nicolas</c:v>
                </c:pt>
                <c:pt idx="99">
                  <c:v>De Venoge</c:v>
                </c:pt>
                <c:pt idx="100">
                  <c:v>Canard Duch</c:v>
                </c:pt>
                <c:pt idx="101">
                  <c:v>Roederer</c:v>
                </c:pt>
                <c:pt idx="102">
                  <c:v>Nicolas</c:v>
                </c:pt>
                <c:pt idx="103">
                  <c:v>Ruinart</c:v>
                </c:pt>
                <c:pt idx="104">
                  <c:v>Deutz</c:v>
                </c:pt>
                <c:pt idx="105">
                  <c:v>Malard</c:v>
                </c:pt>
                <c:pt idx="106">
                  <c:v>All Others</c:v>
                </c:pt>
                <c:pt idx="107">
                  <c:v>Nicolas</c:v>
                </c:pt>
                <c:pt idx="108">
                  <c:v>Ayala</c:v>
                </c:pt>
                <c:pt idx="109">
                  <c:v>Deutz</c:v>
                </c:pt>
                <c:pt idx="110">
                  <c:v>Nicolas Feu</c:v>
                </c:pt>
                <c:pt idx="111">
                  <c:v>Laurent Per</c:v>
                </c:pt>
                <c:pt idx="112">
                  <c:v>Vesselle</c:v>
                </c:pt>
                <c:pt idx="113">
                  <c:v>Dom Perigno</c:v>
                </c:pt>
                <c:pt idx="114">
                  <c:v>De Venoge</c:v>
                </c:pt>
                <c:pt idx="115">
                  <c:v>Nicolas</c:v>
                </c:pt>
                <c:pt idx="116">
                  <c:v>Besserat De</c:v>
                </c:pt>
                <c:pt idx="117">
                  <c:v>Nicolas</c:v>
                </c:pt>
                <c:pt idx="118">
                  <c:v>Ruinart</c:v>
                </c:pt>
                <c:pt idx="119">
                  <c:v>Roederer</c:v>
                </c:pt>
                <c:pt idx="120">
                  <c:v>All Others</c:v>
                </c:pt>
                <c:pt idx="121">
                  <c:v>All Others</c:v>
                </c:pt>
                <c:pt idx="122">
                  <c:v>Louis Marti</c:v>
                </c:pt>
                <c:pt idx="123">
                  <c:v>Vranken</c:v>
                </c:pt>
                <c:pt idx="124">
                  <c:v>Besserat De</c:v>
                </c:pt>
                <c:pt idx="125">
                  <c:v>Roederer</c:v>
                </c:pt>
                <c:pt idx="126">
                  <c:v>Demoiselle</c:v>
                </c:pt>
                <c:pt idx="127">
                  <c:v>All Others</c:v>
                </c:pt>
                <c:pt idx="128">
                  <c:v>Laurent Per</c:v>
                </c:pt>
                <c:pt idx="129">
                  <c:v>Nicolas</c:v>
                </c:pt>
                <c:pt idx="130">
                  <c:v>Roederer</c:v>
                </c:pt>
                <c:pt idx="131">
                  <c:v>Vranken</c:v>
                </c:pt>
                <c:pt idx="132">
                  <c:v>All Others</c:v>
                </c:pt>
                <c:pt idx="133">
                  <c:v>Veuve Clicq</c:v>
                </c:pt>
                <c:pt idx="134">
                  <c:v>Nicolas Feu</c:v>
                </c:pt>
                <c:pt idx="135">
                  <c:v>Nicolas</c:v>
                </c:pt>
                <c:pt idx="136">
                  <c:v>Laurent Per</c:v>
                </c:pt>
                <c:pt idx="137">
                  <c:v>Nicolas</c:v>
                </c:pt>
                <c:pt idx="138">
                  <c:v>Nicolas</c:v>
                </c:pt>
                <c:pt idx="139">
                  <c:v>Piper Heids</c:v>
                </c:pt>
                <c:pt idx="140">
                  <c:v>Laurent Per</c:v>
                </c:pt>
                <c:pt idx="141">
                  <c:v>Roederer</c:v>
                </c:pt>
                <c:pt idx="142">
                  <c:v>Henriot</c:v>
                </c:pt>
                <c:pt idx="143">
                  <c:v>Canard Duch</c:v>
                </c:pt>
                <c:pt idx="144">
                  <c:v>All Others</c:v>
                </c:pt>
                <c:pt idx="145">
                  <c:v>Delamotte</c:v>
                </c:pt>
                <c:pt idx="146">
                  <c:v>Demoiselle</c:v>
                </c:pt>
                <c:pt idx="147">
                  <c:v>Demoiselle</c:v>
                </c:pt>
                <c:pt idx="148">
                  <c:v>Roederer</c:v>
                </c:pt>
                <c:pt idx="149">
                  <c:v>Pommery</c:v>
                </c:pt>
                <c:pt idx="150">
                  <c:v>Pommery</c:v>
                </c:pt>
              </c:strCache>
            </c:strRef>
          </c:cat>
          <c:val>
            <c:numRef>
              <c:f>Sheet1!$B$2:$B$152</c:f>
              <c:numCache>
                <c:formatCode>General</c:formatCode>
                <c:ptCount val="151"/>
                <c:pt idx="0">
                  <c:v>1</c:v>
                </c:pt>
                <c:pt idx="1">
                  <c:v>1</c:v>
                </c:pt>
                <c:pt idx="2">
                  <c:v>1</c:v>
                </c:pt>
                <c:pt idx="3">
                  <c:v>1</c:v>
                </c:pt>
                <c:pt idx="4">
                  <c:v>1</c:v>
                </c:pt>
                <c:pt idx="5">
                  <c:v>1</c:v>
                </c:pt>
                <c:pt idx="6">
                  <c:v>1</c:v>
                </c:pt>
                <c:pt idx="7">
                  <c:v>1</c:v>
                </c:pt>
                <c:pt idx="8">
                  <c:v>0.64</c:v>
                </c:pt>
                <c:pt idx="9">
                  <c:v>1</c:v>
                </c:pt>
                <c:pt idx="10">
                  <c:v>1</c:v>
                </c:pt>
                <c:pt idx="11">
                  <c:v>1</c:v>
                </c:pt>
                <c:pt idx="12">
                  <c:v>1</c:v>
                </c:pt>
                <c:pt idx="13">
                  <c:v>0.53</c:v>
                </c:pt>
                <c:pt idx="14">
                  <c:v>0.96</c:v>
                </c:pt>
                <c:pt idx="15">
                  <c:v>1</c:v>
                </c:pt>
                <c:pt idx="16">
                  <c:v>0.93</c:v>
                </c:pt>
                <c:pt idx="17">
                  <c:v>0.85</c:v>
                </c:pt>
                <c:pt idx="18">
                  <c:v>0.71</c:v>
                </c:pt>
                <c:pt idx="19">
                  <c:v>0.47</c:v>
                </c:pt>
                <c:pt idx="20">
                  <c:v>1</c:v>
                </c:pt>
                <c:pt idx="21">
                  <c:v>0.8</c:v>
                </c:pt>
                <c:pt idx="22">
                  <c:v>0.88</c:v>
                </c:pt>
                <c:pt idx="23">
                  <c:v>0.8</c:v>
                </c:pt>
                <c:pt idx="24">
                  <c:v>0.8</c:v>
                </c:pt>
                <c:pt idx="25">
                  <c:v>0.72</c:v>
                </c:pt>
                <c:pt idx="26">
                  <c:v>0.64</c:v>
                </c:pt>
                <c:pt idx="27">
                  <c:v>0.89</c:v>
                </c:pt>
                <c:pt idx="28">
                  <c:v>0.91</c:v>
                </c:pt>
                <c:pt idx="29">
                  <c:v>0.63</c:v>
                </c:pt>
                <c:pt idx="30">
                  <c:v>0.39</c:v>
                </c:pt>
                <c:pt idx="31">
                  <c:v>0.94</c:v>
                </c:pt>
                <c:pt idx="32">
                  <c:v>0.91</c:v>
                </c:pt>
                <c:pt idx="33">
                  <c:v>0.76</c:v>
                </c:pt>
                <c:pt idx="34">
                  <c:v>0.69</c:v>
                </c:pt>
                <c:pt idx="35">
                  <c:v>0.66</c:v>
                </c:pt>
                <c:pt idx="36">
                  <c:v>0.79</c:v>
                </c:pt>
                <c:pt idx="37">
                  <c:v>0.41</c:v>
                </c:pt>
                <c:pt idx="38">
                  <c:v>0.8</c:v>
                </c:pt>
                <c:pt idx="39">
                  <c:v>0.85</c:v>
                </c:pt>
                <c:pt idx="40">
                  <c:v>0.74</c:v>
                </c:pt>
                <c:pt idx="41">
                  <c:v>0.5</c:v>
                </c:pt>
                <c:pt idx="42">
                  <c:v>0.88</c:v>
                </c:pt>
                <c:pt idx="43">
                  <c:v>0.85</c:v>
                </c:pt>
                <c:pt idx="44">
                  <c:v>0.7</c:v>
                </c:pt>
                <c:pt idx="45">
                  <c:v>0.71</c:v>
                </c:pt>
                <c:pt idx="46">
                  <c:v>0.5</c:v>
                </c:pt>
                <c:pt idx="47">
                  <c:v>0.79</c:v>
                </c:pt>
                <c:pt idx="48">
                  <c:v>0.4</c:v>
                </c:pt>
                <c:pt idx="49">
                  <c:v>0.44</c:v>
                </c:pt>
                <c:pt idx="50">
                  <c:v>0.73</c:v>
                </c:pt>
                <c:pt idx="51">
                  <c:v>0.59</c:v>
                </c:pt>
                <c:pt idx="52">
                  <c:v>0.72</c:v>
                </c:pt>
                <c:pt idx="53">
                  <c:v>0.88</c:v>
                </c:pt>
                <c:pt idx="54">
                  <c:v>0.47</c:v>
                </c:pt>
                <c:pt idx="55">
                  <c:v>0.74</c:v>
                </c:pt>
                <c:pt idx="56">
                  <c:v>0.64</c:v>
                </c:pt>
                <c:pt idx="57">
                  <c:v>0.51</c:v>
                </c:pt>
                <c:pt idx="58">
                  <c:v>0.72</c:v>
                </c:pt>
                <c:pt idx="59">
                  <c:v>0.55000000000000004</c:v>
                </c:pt>
                <c:pt idx="60">
                  <c:v>0.59</c:v>
                </c:pt>
                <c:pt idx="61">
                  <c:v>1</c:v>
                </c:pt>
                <c:pt idx="62">
                  <c:v>0.79</c:v>
                </c:pt>
                <c:pt idx="63">
                  <c:v>0.65</c:v>
                </c:pt>
                <c:pt idx="64">
                  <c:v>0.28000000000000003</c:v>
                </c:pt>
                <c:pt idx="65">
                  <c:v>0.59</c:v>
                </c:pt>
                <c:pt idx="66">
                  <c:v>0.74</c:v>
                </c:pt>
                <c:pt idx="67">
                  <c:v>0.33</c:v>
                </c:pt>
                <c:pt idx="68">
                  <c:v>0.28000000000000003</c:v>
                </c:pt>
                <c:pt idx="69">
                  <c:v>0.64</c:v>
                </c:pt>
                <c:pt idx="70">
                  <c:v>0.71</c:v>
                </c:pt>
                <c:pt idx="71">
                  <c:v>0.56000000000000005</c:v>
                </c:pt>
                <c:pt idx="72">
                  <c:v>0.73</c:v>
                </c:pt>
                <c:pt idx="73">
                  <c:v>0.64</c:v>
                </c:pt>
                <c:pt idx="74">
                  <c:v>0.45</c:v>
                </c:pt>
                <c:pt idx="75">
                  <c:v>0.53</c:v>
                </c:pt>
                <c:pt idx="76">
                  <c:v>0.62</c:v>
                </c:pt>
                <c:pt idx="77">
                  <c:v>0.47</c:v>
                </c:pt>
                <c:pt idx="78">
                  <c:v>0.35</c:v>
                </c:pt>
                <c:pt idx="79">
                  <c:v>0.64</c:v>
                </c:pt>
                <c:pt idx="80">
                  <c:v>0.44</c:v>
                </c:pt>
                <c:pt idx="81">
                  <c:v>0.64</c:v>
                </c:pt>
                <c:pt idx="82">
                  <c:v>0.52</c:v>
                </c:pt>
                <c:pt idx="83">
                  <c:v>0.35</c:v>
                </c:pt>
                <c:pt idx="84">
                  <c:v>0.76</c:v>
                </c:pt>
                <c:pt idx="85">
                  <c:v>0.81</c:v>
                </c:pt>
                <c:pt idx="86">
                  <c:v>0.73</c:v>
                </c:pt>
                <c:pt idx="87">
                  <c:v>0.84</c:v>
                </c:pt>
                <c:pt idx="88">
                  <c:v>0.28000000000000003</c:v>
                </c:pt>
                <c:pt idx="89">
                  <c:v>0.3</c:v>
                </c:pt>
                <c:pt idx="90">
                  <c:v>0.43</c:v>
                </c:pt>
                <c:pt idx="91">
                  <c:v>0.64</c:v>
                </c:pt>
                <c:pt idx="92">
                  <c:v>0.43</c:v>
                </c:pt>
                <c:pt idx="93">
                  <c:v>0.47</c:v>
                </c:pt>
                <c:pt idx="94">
                  <c:v>0.35</c:v>
                </c:pt>
                <c:pt idx="95">
                  <c:v>0.43</c:v>
                </c:pt>
                <c:pt idx="96">
                  <c:v>0.53</c:v>
                </c:pt>
                <c:pt idx="97">
                  <c:v>0.51</c:v>
                </c:pt>
                <c:pt idx="98">
                  <c:v>0.64</c:v>
                </c:pt>
                <c:pt idx="99">
                  <c:v>0.43</c:v>
                </c:pt>
                <c:pt idx="100">
                  <c:v>0.36</c:v>
                </c:pt>
                <c:pt idx="101">
                  <c:v>0.5</c:v>
                </c:pt>
                <c:pt idx="102">
                  <c:v>0.63</c:v>
                </c:pt>
                <c:pt idx="103">
                  <c:v>0.35</c:v>
                </c:pt>
                <c:pt idx="104">
                  <c:v>0.38</c:v>
                </c:pt>
                <c:pt idx="105">
                  <c:v>0.38</c:v>
                </c:pt>
                <c:pt idx="106">
                  <c:v>0.35</c:v>
                </c:pt>
                <c:pt idx="107">
                  <c:v>0.62</c:v>
                </c:pt>
                <c:pt idx="108">
                  <c:v>0.45</c:v>
                </c:pt>
                <c:pt idx="109">
                  <c:v>0.35</c:v>
                </c:pt>
                <c:pt idx="110">
                  <c:v>0.46</c:v>
                </c:pt>
                <c:pt idx="111">
                  <c:v>0.26</c:v>
                </c:pt>
                <c:pt idx="112">
                  <c:v>0.35</c:v>
                </c:pt>
                <c:pt idx="113">
                  <c:v>0.37</c:v>
                </c:pt>
                <c:pt idx="114">
                  <c:v>0.4</c:v>
                </c:pt>
                <c:pt idx="115">
                  <c:v>0.34</c:v>
                </c:pt>
                <c:pt idx="116">
                  <c:v>0.35</c:v>
                </c:pt>
                <c:pt idx="117">
                  <c:v>0.44</c:v>
                </c:pt>
                <c:pt idx="118">
                  <c:v>0.28000000000000003</c:v>
                </c:pt>
                <c:pt idx="119">
                  <c:v>0.25</c:v>
                </c:pt>
                <c:pt idx="120">
                  <c:v>0.27</c:v>
                </c:pt>
                <c:pt idx="121">
                  <c:v>0.39</c:v>
                </c:pt>
                <c:pt idx="122">
                  <c:v>7.0000000000000007E-2</c:v>
                </c:pt>
                <c:pt idx="123">
                  <c:v>0.44</c:v>
                </c:pt>
                <c:pt idx="124">
                  <c:v>0.27</c:v>
                </c:pt>
                <c:pt idx="125">
                  <c:v>0.16</c:v>
                </c:pt>
                <c:pt idx="126">
                  <c:v>0.36</c:v>
                </c:pt>
                <c:pt idx="127">
                  <c:v>0.11</c:v>
                </c:pt>
                <c:pt idx="128">
                  <c:v>0.16</c:v>
                </c:pt>
                <c:pt idx="129">
                  <c:v>0.38</c:v>
                </c:pt>
                <c:pt idx="130">
                  <c:v>0.3</c:v>
                </c:pt>
                <c:pt idx="131">
                  <c:v>0.11</c:v>
                </c:pt>
                <c:pt idx="132">
                  <c:v>0.33</c:v>
                </c:pt>
                <c:pt idx="133">
                  <c:v>0.09</c:v>
                </c:pt>
                <c:pt idx="134">
                  <c:v>0.3</c:v>
                </c:pt>
                <c:pt idx="135">
                  <c:v>0.11</c:v>
                </c:pt>
                <c:pt idx="136">
                  <c:v>0.28000000000000003</c:v>
                </c:pt>
                <c:pt idx="137">
                  <c:v>0.11</c:v>
                </c:pt>
                <c:pt idx="138">
                  <c:v>0.16</c:v>
                </c:pt>
                <c:pt idx="139">
                  <c:v>7.0000000000000007E-2</c:v>
                </c:pt>
                <c:pt idx="140">
                  <c:v>0.08</c:v>
                </c:pt>
                <c:pt idx="141">
                  <c:v>0.13</c:v>
                </c:pt>
                <c:pt idx="142">
                  <c:v>0.35</c:v>
                </c:pt>
                <c:pt idx="143">
                  <c:v>0.17</c:v>
                </c:pt>
                <c:pt idx="144">
                  <c:v>0.16</c:v>
                </c:pt>
                <c:pt idx="145">
                  <c:v>0.11</c:v>
                </c:pt>
                <c:pt idx="146">
                  <c:v>0.12</c:v>
                </c:pt>
                <c:pt idx="147">
                  <c:v>0.23</c:v>
                </c:pt>
                <c:pt idx="148">
                  <c:v>0.22</c:v>
                </c:pt>
                <c:pt idx="149">
                  <c:v>0.31</c:v>
                </c:pt>
                <c:pt idx="150">
                  <c:v>0.3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2</c:f>
              <c:strCache>
                <c:ptCount val="151"/>
                <c:pt idx="0">
                  <c:v>Ruinart</c:v>
                </c:pt>
                <c:pt idx="1">
                  <c:v>Ayala</c:v>
                </c:pt>
                <c:pt idx="2">
                  <c:v>Nicolas</c:v>
                </c:pt>
                <c:pt idx="3">
                  <c:v>Deutz</c:v>
                </c:pt>
                <c:pt idx="4">
                  <c:v>De Bligny</c:v>
                </c:pt>
                <c:pt idx="5">
                  <c:v>Malard</c:v>
                </c:pt>
                <c:pt idx="6">
                  <c:v>Laurent Per</c:v>
                </c:pt>
                <c:pt idx="7">
                  <c:v>Canard Duch</c:v>
                </c:pt>
                <c:pt idx="8">
                  <c:v>Ruinart</c:v>
                </c:pt>
                <c:pt idx="9">
                  <c:v>Deutz</c:v>
                </c:pt>
                <c:pt idx="10">
                  <c:v>Heidsieck &amp;</c:v>
                </c:pt>
                <c:pt idx="11">
                  <c:v>Besserat De</c:v>
                </c:pt>
                <c:pt idx="12">
                  <c:v>Bollinger</c:v>
                </c:pt>
                <c:pt idx="13">
                  <c:v>Ruinart</c:v>
                </c:pt>
                <c:pt idx="14">
                  <c:v>Nicolas Feu</c:v>
                </c:pt>
                <c:pt idx="15">
                  <c:v>All Others</c:v>
                </c:pt>
                <c:pt idx="16">
                  <c:v>Taittinger</c:v>
                </c:pt>
                <c:pt idx="17">
                  <c:v>Demoiselle</c:v>
                </c:pt>
                <c:pt idx="18">
                  <c:v>Ruinart</c:v>
                </c:pt>
                <c:pt idx="19">
                  <c:v>Dom Perigno</c:v>
                </c:pt>
                <c:pt idx="20">
                  <c:v>Pommery</c:v>
                </c:pt>
                <c:pt idx="21">
                  <c:v>Perrier Jou</c:v>
                </c:pt>
                <c:pt idx="22">
                  <c:v>Demoiselle</c:v>
                </c:pt>
                <c:pt idx="23">
                  <c:v>Ruinart</c:v>
                </c:pt>
                <c:pt idx="24">
                  <c:v>Malard</c:v>
                </c:pt>
                <c:pt idx="25">
                  <c:v>Laurent Per</c:v>
                </c:pt>
                <c:pt idx="26">
                  <c:v>Taittinger</c:v>
                </c:pt>
                <c:pt idx="27">
                  <c:v>Vesselle</c:v>
                </c:pt>
                <c:pt idx="28">
                  <c:v>Roederer</c:v>
                </c:pt>
                <c:pt idx="29">
                  <c:v>Laurent Per</c:v>
                </c:pt>
                <c:pt idx="30">
                  <c:v>Ruinart</c:v>
                </c:pt>
                <c:pt idx="31">
                  <c:v>Savian</c:v>
                </c:pt>
                <c:pt idx="32">
                  <c:v>Henriot</c:v>
                </c:pt>
                <c:pt idx="33">
                  <c:v>All Others</c:v>
                </c:pt>
                <c:pt idx="34">
                  <c:v>Campari: Al</c:v>
                </c:pt>
                <c:pt idx="35">
                  <c:v>Roederer</c:v>
                </c:pt>
                <c:pt idx="36">
                  <c:v>Veuve Clicq</c:v>
                </c:pt>
                <c:pt idx="37">
                  <c:v>Canard Duch</c:v>
                </c:pt>
                <c:pt idx="38">
                  <c:v>Nicolas</c:v>
                </c:pt>
                <c:pt idx="39">
                  <c:v>Henriot</c:v>
                </c:pt>
                <c:pt idx="40">
                  <c:v>Moët &amp; Chan</c:v>
                </c:pt>
                <c:pt idx="41">
                  <c:v>Moët &amp; Chan</c:v>
                </c:pt>
                <c:pt idx="42">
                  <c:v>Ruinart</c:v>
                </c:pt>
                <c:pt idx="43">
                  <c:v>Malard</c:v>
                </c:pt>
                <c:pt idx="44">
                  <c:v>Deutz</c:v>
                </c:pt>
                <c:pt idx="45">
                  <c:v>De Venoge</c:v>
                </c:pt>
                <c:pt idx="46">
                  <c:v>Ruinart</c:v>
                </c:pt>
                <c:pt idx="47">
                  <c:v>Veuve Clicq</c:v>
                </c:pt>
                <c:pt idx="48">
                  <c:v>Dom Perigno</c:v>
                </c:pt>
                <c:pt idx="49">
                  <c:v>Dom Perigno</c:v>
                </c:pt>
                <c:pt idx="50">
                  <c:v>Malard</c:v>
                </c:pt>
                <c:pt idx="51">
                  <c:v>Nicolas Feu</c:v>
                </c:pt>
                <c:pt idx="52">
                  <c:v>Louis Marti</c:v>
                </c:pt>
                <c:pt idx="53">
                  <c:v>Canard Duch</c:v>
                </c:pt>
                <c:pt idx="54">
                  <c:v>Moët &amp; Chan</c:v>
                </c:pt>
                <c:pt idx="55">
                  <c:v>Deutz</c:v>
                </c:pt>
                <c:pt idx="56">
                  <c:v>Nicolas Feu</c:v>
                </c:pt>
                <c:pt idx="57">
                  <c:v>Veuve Clicq</c:v>
                </c:pt>
                <c:pt idx="58">
                  <c:v>Delamotte</c:v>
                </c:pt>
                <c:pt idx="59">
                  <c:v>Pommery</c:v>
                </c:pt>
                <c:pt idx="60">
                  <c:v>Bollinger</c:v>
                </c:pt>
                <c:pt idx="61">
                  <c:v>Piper Heids</c:v>
                </c:pt>
                <c:pt idx="62">
                  <c:v>Ruinart</c:v>
                </c:pt>
                <c:pt idx="63">
                  <c:v>All Others</c:v>
                </c:pt>
                <c:pt idx="64">
                  <c:v>Krug</c:v>
                </c:pt>
                <c:pt idx="65">
                  <c:v>Canard Duch</c:v>
                </c:pt>
                <c:pt idx="66">
                  <c:v>Campari: Al</c:v>
                </c:pt>
                <c:pt idx="67">
                  <c:v>Ruinart</c:v>
                </c:pt>
                <c:pt idx="68">
                  <c:v>Bollinger</c:v>
                </c:pt>
                <c:pt idx="69">
                  <c:v>Ruinart</c:v>
                </c:pt>
                <c:pt idx="70">
                  <c:v>Besserat De</c:v>
                </c:pt>
                <c:pt idx="71">
                  <c:v>Nicolas</c:v>
                </c:pt>
                <c:pt idx="72">
                  <c:v>Nicolas</c:v>
                </c:pt>
                <c:pt idx="73">
                  <c:v>Deutz</c:v>
                </c:pt>
                <c:pt idx="74">
                  <c:v>Ayala</c:v>
                </c:pt>
                <c:pt idx="75">
                  <c:v>Malard</c:v>
                </c:pt>
                <c:pt idx="76">
                  <c:v>Lanson</c:v>
                </c:pt>
                <c:pt idx="77">
                  <c:v>Canard Duch</c:v>
                </c:pt>
                <c:pt idx="78">
                  <c:v>Roederer</c:v>
                </c:pt>
                <c:pt idx="79">
                  <c:v>Ruinart</c:v>
                </c:pt>
                <c:pt idx="80">
                  <c:v>Ruinart</c:v>
                </c:pt>
                <c:pt idx="81">
                  <c:v>Nicolas</c:v>
                </c:pt>
                <c:pt idx="82">
                  <c:v>Nicolas</c:v>
                </c:pt>
                <c:pt idx="83">
                  <c:v>Roederer</c:v>
                </c:pt>
                <c:pt idx="84">
                  <c:v>Besserat De</c:v>
                </c:pt>
                <c:pt idx="85">
                  <c:v>Henriot</c:v>
                </c:pt>
                <c:pt idx="86">
                  <c:v>Vranken</c:v>
                </c:pt>
                <c:pt idx="87">
                  <c:v>De Venoge</c:v>
                </c:pt>
                <c:pt idx="88">
                  <c:v>Roederer</c:v>
                </c:pt>
                <c:pt idx="89">
                  <c:v>Nicolas</c:v>
                </c:pt>
                <c:pt idx="90">
                  <c:v>All Others</c:v>
                </c:pt>
                <c:pt idx="91">
                  <c:v>Nicolas Feu</c:v>
                </c:pt>
                <c:pt idx="92">
                  <c:v>Demoiselle</c:v>
                </c:pt>
                <c:pt idx="93">
                  <c:v>Henriot</c:v>
                </c:pt>
                <c:pt idx="94">
                  <c:v>De Venoge</c:v>
                </c:pt>
                <c:pt idx="95">
                  <c:v>De Bligny</c:v>
                </c:pt>
                <c:pt idx="96">
                  <c:v>Nicolas</c:v>
                </c:pt>
                <c:pt idx="97">
                  <c:v>Nicolas</c:v>
                </c:pt>
                <c:pt idx="98">
                  <c:v>Nicolas</c:v>
                </c:pt>
                <c:pt idx="99">
                  <c:v>De Venoge</c:v>
                </c:pt>
                <c:pt idx="100">
                  <c:v>Canard Duch</c:v>
                </c:pt>
                <c:pt idx="101">
                  <c:v>Roederer</c:v>
                </c:pt>
                <c:pt idx="102">
                  <c:v>Nicolas</c:v>
                </c:pt>
                <c:pt idx="103">
                  <c:v>Ruinart</c:v>
                </c:pt>
                <c:pt idx="104">
                  <c:v>Deutz</c:v>
                </c:pt>
                <c:pt idx="105">
                  <c:v>Malard</c:v>
                </c:pt>
                <c:pt idx="106">
                  <c:v>All Others</c:v>
                </c:pt>
                <c:pt idx="107">
                  <c:v>Nicolas</c:v>
                </c:pt>
                <c:pt idx="108">
                  <c:v>Ayala</c:v>
                </c:pt>
                <c:pt idx="109">
                  <c:v>Deutz</c:v>
                </c:pt>
                <c:pt idx="110">
                  <c:v>Nicolas Feu</c:v>
                </c:pt>
                <c:pt idx="111">
                  <c:v>Laurent Per</c:v>
                </c:pt>
                <c:pt idx="112">
                  <c:v>Vesselle</c:v>
                </c:pt>
                <c:pt idx="113">
                  <c:v>Dom Perigno</c:v>
                </c:pt>
                <c:pt idx="114">
                  <c:v>De Venoge</c:v>
                </c:pt>
                <c:pt idx="115">
                  <c:v>Nicolas</c:v>
                </c:pt>
                <c:pt idx="116">
                  <c:v>Besserat De</c:v>
                </c:pt>
                <c:pt idx="117">
                  <c:v>Nicolas</c:v>
                </c:pt>
                <c:pt idx="118">
                  <c:v>Ruinart</c:v>
                </c:pt>
                <c:pt idx="119">
                  <c:v>Roederer</c:v>
                </c:pt>
                <c:pt idx="120">
                  <c:v>All Others</c:v>
                </c:pt>
                <c:pt idx="121">
                  <c:v>All Others</c:v>
                </c:pt>
                <c:pt idx="122">
                  <c:v>Louis Marti</c:v>
                </c:pt>
                <c:pt idx="123">
                  <c:v>Vranken</c:v>
                </c:pt>
                <c:pt idx="124">
                  <c:v>Besserat De</c:v>
                </c:pt>
                <c:pt idx="125">
                  <c:v>Roederer</c:v>
                </c:pt>
                <c:pt idx="126">
                  <c:v>Demoiselle</c:v>
                </c:pt>
                <c:pt idx="127">
                  <c:v>All Others</c:v>
                </c:pt>
                <c:pt idx="128">
                  <c:v>Laurent Per</c:v>
                </c:pt>
                <c:pt idx="129">
                  <c:v>Nicolas</c:v>
                </c:pt>
                <c:pt idx="130">
                  <c:v>Roederer</c:v>
                </c:pt>
                <c:pt idx="131">
                  <c:v>Vranken</c:v>
                </c:pt>
                <c:pt idx="132">
                  <c:v>All Others</c:v>
                </c:pt>
                <c:pt idx="133">
                  <c:v>Veuve Clicq</c:v>
                </c:pt>
                <c:pt idx="134">
                  <c:v>Nicolas Feu</c:v>
                </c:pt>
                <c:pt idx="135">
                  <c:v>Nicolas</c:v>
                </c:pt>
                <c:pt idx="136">
                  <c:v>Laurent Per</c:v>
                </c:pt>
                <c:pt idx="137">
                  <c:v>Nicolas</c:v>
                </c:pt>
                <c:pt idx="138">
                  <c:v>Nicolas</c:v>
                </c:pt>
                <c:pt idx="139">
                  <c:v>Piper Heids</c:v>
                </c:pt>
                <c:pt idx="140">
                  <c:v>Laurent Per</c:v>
                </c:pt>
                <c:pt idx="141">
                  <c:v>Roederer</c:v>
                </c:pt>
                <c:pt idx="142">
                  <c:v>Henriot</c:v>
                </c:pt>
                <c:pt idx="143">
                  <c:v>Canard Duch</c:v>
                </c:pt>
                <c:pt idx="144">
                  <c:v>All Others</c:v>
                </c:pt>
                <c:pt idx="145">
                  <c:v>Delamotte</c:v>
                </c:pt>
                <c:pt idx="146">
                  <c:v>Demoiselle</c:v>
                </c:pt>
                <c:pt idx="147">
                  <c:v>Demoiselle</c:v>
                </c:pt>
                <c:pt idx="148">
                  <c:v>Roederer</c:v>
                </c:pt>
                <c:pt idx="149">
                  <c:v>Pommery</c:v>
                </c:pt>
                <c:pt idx="150">
                  <c:v>Pommery</c:v>
                </c:pt>
              </c:strCache>
            </c:strRef>
          </c:cat>
          <c:val>
            <c:numRef>
              <c:f>Sheet1!$C$2:$C$152</c:f>
              <c:numCache>
                <c:formatCode>General</c:formatCode>
                <c:ptCount val="151"/>
                <c:pt idx="0">
                  <c:v>0.13539219675617922</c:v>
                </c:pt>
                <c:pt idx="1">
                  <c:v>0.19410001073451547</c:v>
                </c:pt>
                <c:pt idx="2">
                  <c:v>0.24325410595216401</c:v>
                </c:pt>
                <c:pt idx="3">
                  <c:v>0.29108261333027108</c:v>
                </c:pt>
                <c:pt idx="4">
                  <c:v>0.33483200483302833</c:v>
                </c:pt>
                <c:pt idx="5">
                  <c:v>0.37596017744403698</c:v>
                </c:pt>
                <c:pt idx="6">
                  <c:v>0.4041994423044758</c:v>
                </c:pt>
                <c:pt idx="7">
                  <c:v>0.43176218305094899</c:v>
                </c:pt>
                <c:pt idx="8">
                  <c:v>0.45674614368773042</c:v>
                </c:pt>
                <c:pt idx="9">
                  <c:v>0.48070158795936857</c:v>
                </c:pt>
                <c:pt idx="10">
                  <c:v>0.50156649033768785</c:v>
                </c:pt>
                <c:pt idx="11">
                  <c:v>0.52143782593608712</c:v>
                </c:pt>
                <c:pt idx="12">
                  <c:v>0.54007344405694779</c:v>
                </c:pt>
                <c:pt idx="13">
                  <c:v>0.55814487601634633</c:v>
                </c:pt>
                <c:pt idx="14">
                  <c:v>0.57459614506074974</c:v>
                </c:pt>
                <c:pt idx="15">
                  <c:v>0.58858346834690944</c:v>
                </c:pt>
                <c:pt idx="16">
                  <c:v>0.60179191516237818</c:v>
                </c:pt>
                <c:pt idx="17">
                  <c:v>0.61486056363695363</c:v>
                </c:pt>
                <c:pt idx="18">
                  <c:v>0.62560506469417854</c:v>
                </c:pt>
                <c:pt idx="19">
                  <c:v>0.63630712696934666</c:v>
                </c:pt>
                <c:pt idx="20">
                  <c:v>0.6464899382640541</c:v>
                </c:pt>
                <c:pt idx="21">
                  <c:v>0.65638067088225238</c:v>
                </c:pt>
                <c:pt idx="22">
                  <c:v>0.6658170588925475</c:v>
                </c:pt>
                <c:pt idx="23">
                  <c:v>0.67522099371656386</c:v>
                </c:pt>
                <c:pt idx="24">
                  <c:v>0.68451508698702124</c:v>
                </c:pt>
                <c:pt idx="25">
                  <c:v>0.69376674147542172</c:v>
                </c:pt>
                <c:pt idx="26">
                  <c:v>0.702391799828747</c:v>
                </c:pt>
                <c:pt idx="27">
                  <c:v>0.71082463546334407</c:v>
                </c:pt>
                <c:pt idx="28">
                  <c:v>0.71909770156549169</c:v>
                </c:pt>
                <c:pt idx="29">
                  <c:v>0.7269314014534034</c:v>
                </c:pt>
                <c:pt idx="30">
                  <c:v>0.73465525978775614</c:v>
                </c:pt>
                <c:pt idx="31">
                  <c:v>0.74220437019599228</c:v>
                </c:pt>
                <c:pt idx="32">
                  <c:v>0.74973350941267225</c:v>
                </c:pt>
                <c:pt idx="33">
                  <c:v>0.75719524585785003</c:v>
                </c:pt>
                <c:pt idx="34">
                  <c:v>0.7643449324349626</c:v>
                </c:pt>
                <c:pt idx="35">
                  <c:v>0.77144718743212914</c:v>
                </c:pt>
                <c:pt idx="36">
                  <c:v>0.77842711888101412</c:v>
                </c:pt>
                <c:pt idx="37">
                  <c:v>0.7852148276111709</c:v>
                </c:pt>
                <c:pt idx="38">
                  <c:v>0.79195260836243719</c:v>
                </c:pt>
                <c:pt idx="39">
                  <c:v>0.79830095087835795</c:v>
                </c:pt>
                <c:pt idx="40">
                  <c:v>0.80438717150510386</c:v>
                </c:pt>
                <c:pt idx="41">
                  <c:v>0.81047089573290521</c:v>
                </c:pt>
                <c:pt idx="42">
                  <c:v>0.81628251247575367</c:v>
                </c:pt>
                <c:pt idx="43">
                  <c:v>0.82204669763865623</c:v>
                </c:pt>
                <c:pt idx="44">
                  <c:v>0.82778092601422448</c:v>
                </c:pt>
                <c:pt idx="45">
                  <c:v>0.83338534164467759</c:v>
                </c:pt>
                <c:pt idx="46">
                  <c:v>0.8386876930028434</c:v>
                </c:pt>
                <c:pt idx="47">
                  <c:v>0.84384525322222692</c:v>
                </c:pt>
                <c:pt idx="48">
                  <c:v>0.8489628710584981</c:v>
                </c:pt>
                <c:pt idx="49">
                  <c:v>0.85375346063303681</c:v>
                </c:pt>
                <c:pt idx="50">
                  <c:v>0.8584367050529611</c:v>
                </c:pt>
                <c:pt idx="51">
                  <c:v>0.86304755390349419</c:v>
                </c:pt>
                <c:pt idx="52">
                  <c:v>0.86714913736934474</c:v>
                </c:pt>
                <c:pt idx="53">
                  <c:v>0.87093367816924083</c:v>
                </c:pt>
                <c:pt idx="54">
                  <c:v>0.87470074417652532</c:v>
                </c:pt>
                <c:pt idx="55">
                  <c:v>0.87840540021019675</c:v>
                </c:pt>
                <c:pt idx="56">
                  <c:v>0.88203766067447698</c:v>
                </c:pt>
                <c:pt idx="57">
                  <c:v>0.88555508678730921</c:v>
                </c:pt>
                <c:pt idx="58">
                  <c:v>0.88895518214974889</c:v>
                </c:pt>
                <c:pt idx="59">
                  <c:v>0.89213309800612606</c:v>
                </c:pt>
                <c:pt idx="60">
                  <c:v>0.89522114350050042</c:v>
                </c:pt>
                <c:pt idx="61">
                  <c:v>0.89821931863287197</c:v>
                </c:pt>
                <c:pt idx="62">
                  <c:v>0.90116257298846403</c:v>
                </c:pt>
                <c:pt idx="63">
                  <c:v>0.90405839576411018</c:v>
                </c:pt>
                <c:pt idx="64">
                  <c:v>0.90690928335875487</c:v>
                </c:pt>
                <c:pt idx="65">
                  <c:v>0.90972522136817624</c:v>
                </c:pt>
                <c:pt idx="66">
                  <c:v>0.91252368458498601</c:v>
                </c:pt>
                <c:pt idx="67">
                  <c:v>0.91530716940812862</c:v>
                </c:pt>
                <c:pt idx="68">
                  <c:v>0.91807817223654864</c:v>
                </c:pt>
                <c:pt idx="69">
                  <c:v>0.92084168586813508</c:v>
                </c:pt>
                <c:pt idx="70">
                  <c:v>0.92356775351555365</c:v>
                </c:pt>
                <c:pt idx="71">
                  <c:v>0.92628633196613863</c:v>
                </c:pt>
                <c:pt idx="72">
                  <c:v>0.92895997523572227</c:v>
                </c:pt>
                <c:pt idx="73">
                  <c:v>0.93162113651058331</c:v>
                </c:pt>
                <c:pt idx="74">
                  <c:v>0.93427730498755523</c:v>
                </c:pt>
                <c:pt idx="75">
                  <c:v>0.93688604188458124</c:v>
                </c:pt>
                <c:pt idx="76">
                  <c:v>0.93942987240904974</c:v>
                </c:pt>
                <c:pt idx="77">
                  <c:v>0.94186885417784827</c:v>
                </c:pt>
                <c:pt idx="78">
                  <c:v>0.9442054835899214</c:v>
                </c:pt>
                <c:pt idx="79">
                  <c:v>0.94643476784738001</c:v>
                </c:pt>
                <c:pt idx="80">
                  <c:v>0.9484418725987761</c:v>
                </c:pt>
                <c:pt idx="81">
                  <c:v>0.95041652416389344</c:v>
                </c:pt>
                <c:pt idx="82">
                  <c:v>0.9523412477501203</c:v>
                </c:pt>
                <c:pt idx="83">
                  <c:v>0.95421354695851224</c:v>
                </c:pt>
                <c:pt idx="84">
                  <c:v>0.95606837137429246</c:v>
                </c:pt>
                <c:pt idx="85">
                  <c:v>0.95776592265656779</c:v>
                </c:pt>
                <c:pt idx="86">
                  <c:v>0.95938858197050747</c:v>
                </c:pt>
                <c:pt idx="87">
                  <c:v>0.96099626289078</c:v>
                </c:pt>
                <c:pt idx="88">
                  <c:v>0.96251157705010515</c:v>
                </c:pt>
                <c:pt idx="89">
                  <c:v>0.96402189841154129</c:v>
                </c:pt>
                <c:pt idx="90">
                  <c:v>0.96549976658669867</c:v>
                </c:pt>
                <c:pt idx="91">
                  <c:v>0.96693269958085459</c:v>
                </c:pt>
                <c:pt idx="92">
                  <c:v>0.96828325140984128</c:v>
                </c:pt>
                <c:pt idx="93">
                  <c:v>0.96957139326521491</c:v>
                </c:pt>
                <c:pt idx="94">
                  <c:v>0.97085454232269952</c:v>
                </c:pt>
                <c:pt idx="95">
                  <c:v>0.97211272739073884</c:v>
                </c:pt>
                <c:pt idx="96">
                  <c:v>0.97336342326194458</c:v>
                </c:pt>
                <c:pt idx="97">
                  <c:v>0.97460912633526131</c:v>
                </c:pt>
                <c:pt idx="98">
                  <c:v>0.97580240503074311</c:v>
                </c:pt>
                <c:pt idx="99">
                  <c:v>0.97699318732728035</c:v>
                </c:pt>
                <c:pt idx="100">
                  <c:v>0.97812155965020453</c:v>
                </c:pt>
                <c:pt idx="101">
                  <c:v>0.97924244277629513</c:v>
                </c:pt>
                <c:pt idx="102">
                  <c:v>0.98034585110977412</c:v>
                </c:pt>
                <c:pt idx="103">
                  <c:v>0.98144676304430856</c:v>
                </c:pt>
                <c:pt idx="104">
                  <c:v>0.98239539464322712</c:v>
                </c:pt>
                <c:pt idx="105">
                  <c:v>0.98332655144953407</c:v>
                </c:pt>
                <c:pt idx="106">
                  <c:v>0.98421277307483956</c:v>
                </c:pt>
                <c:pt idx="107">
                  <c:v>0.9850964983012005</c:v>
                </c:pt>
                <c:pt idx="108">
                  <c:v>0.98593778474550464</c:v>
                </c:pt>
                <c:pt idx="109">
                  <c:v>0.9867116684183066</c:v>
                </c:pt>
                <c:pt idx="110">
                  <c:v>0.98745559530377436</c:v>
                </c:pt>
                <c:pt idx="111">
                  <c:v>0.98819203299240854</c:v>
                </c:pt>
                <c:pt idx="112">
                  <c:v>0.98889352109581941</c:v>
                </c:pt>
                <c:pt idx="113">
                  <c:v>0.98957753440661855</c:v>
                </c:pt>
                <c:pt idx="114">
                  <c:v>0.99022160533430537</c:v>
                </c:pt>
                <c:pt idx="115">
                  <c:v>0.99079577709154554</c:v>
                </c:pt>
                <c:pt idx="116">
                  <c:v>0.99134498485934053</c:v>
                </c:pt>
                <c:pt idx="117">
                  <c:v>0.99188420703135738</c:v>
                </c:pt>
                <c:pt idx="118">
                  <c:v>0.99237350122448376</c:v>
                </c:pt>
                <c:pt idx="119">
                  <c:v>0.99282784583238681</c:v>
                </c:pt>
                <c:pt idx="120">
                  <c:v>0.9932622192487337</c:v>
                </c:pt>
                <c:pt idx="121">
                  <c:v>0.99369409626613614</c:v>
                </c:pt>
                <c:pt idx="122">
                  <c:v>0.99409601649620427</c:v>
                </c:pt>
                <c:pt idx="123">
                  <c:v>0.99449544032732784</c:v>
                </c:pt>
                <c:pt idx="124">
                  <c:v>0.99485242537639451</c:v>
                </c:pt>
                <c:pt idx="125">
                  <c:v>0.99518195003707144</c:v>
                </c:pt>
                <c:pt idx="126">
                  <c:v>0.99550897829880391</c:v>
                </c:pt>
                <c:pt idx="127">
                  <c:v>0.99582851736370281</c:v>
                </c:pt>
                <c:pt idx="128">
                  <c:v>0.99614805642860171</c:v>
                </c:pt>
                <c:pt idx="129">
                  <c:v>0.99645760989772247</c:v>
                </c:pt>
                <c:pt idx="130">
                  <c:v>0.99676217056895422</c:v>
                </c:pt>
                <c:pt idx="131">
                  <c:v>0.99705175284651881</c:v>
                </c:pt>
                <c:pt idx="132">
                  <c:v>0.99733134952830538</c:v>
                </c:pt>
                <c:pt idx="133">
                  <c:v>0.99759097501853577</c:v>
                </c:pt>
                <c:pt idx="134">
                  <c:v>0.99780816172670928</c:v>
                </c:pt>
                <c:pt idx="135">
                  <c:v>0.99802285203593821</c:v>
                </c:pt>
                <c:pt idx="136">
                  <c:v>0.99820508915888839</c:v>
                </c:pt>
                <c:pt idx="137">
                  <c:v>0.99838732628183857</c:v>
                </c:pt>
                <c:pt idx="138">
                  <c:v>0.99856457060689963</c:v>
                </c:pt>
                <c:pt idx="139">
                  <c:v>0.99873182933618265</c:v>
                </c:pt>
                <c:pt idx="140">
                  <c:v>0.99888910246968754</c:v>
                </c:pt>
                <c:pt idx="141">
                  <c:v>0.99904138280530341</c:v>
                </c:pt>
                <c:pt idx="142">
                  <c:v>0.99918367754514115</c:v>
                </c:pt>
                <c:pt idx="143">
                  <c:v>0.99932597228497888</c:v>
                </c:pt>
                <c:pt idx="144">
                  <c:v>0.99946826702481661</c:v>
                </c:pt>
                <c:pt idx="145">
                  <c:v>0.99960556896676533</c:v>
                </c:pt>
                <c:pt idx="146">
                  <c:v>0.99971541052032431</c:v>
                </c:pt>
                <c:pt idx="147">
                  <c:v>0.99981526647810526</c:v>
                </c:pt>
                <c:pt idx="148">
                  <c:v>0.99989515124432993</c:v>
                </c:pt>
                <c:pt idx="149">
                  <c:v>0.99996505041477657</c:v>
                </c:pt>
                <c:pt idx="150">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0</c:f>
              <c:strCache>
                <c:ptCount val="169"/>
                <c:pt idx="0">
                  <c:v>Ruinart</c:v>
                </c:pt>
                <c:pt idx="1">
                  <c:v>Ruinart</c:v>
                </c:pt>
                <c:pt idx="2">
                  <c:v>Nicolas</c:v>
                </c:pt>
                <c:pt idx="3">
                  <c:v>Deutz</c:v>
                </c:pt>
                <c:pt idx="4">
                  <c:v>Malard</c:v>
                </c:pt>
                <c:pt idx="5">
                  <c:v>Ruinart</c:v>
                </c:pt>
                <c:pt idx="6">
                  <c:v>Canard Duch</c:v>
                </c:pt>
                <c:pt idx="7">
                  <c:v>Heidsieck &amp;</c:v>
                </c:pt>
                <c:pt idx="8">
                  <c:v>Taittinger</c:v>
                </c:pt>
                <c:pt idx="9">
                  <c:v>De Bligny</c:v>
                </c:pt>
                <c:pt idx="10">
                  <c:v>Ayala</c:v>
                </c:pt>
                <c:pt idx="11">
                  <c:v>Deutz</c:v>
                </c:pt>
                <c:pt idx="12">
                  <c:v>Besserat De</c:v>
                </c:pt>
                <c:pt idx="13">
                  <c:v>Demoiselle</c:v>
                </c:pt>
                <c:pt idx="14">
                  <c:v>Nicolas Feu</c:v>
                </c:pt>
                <c:pt idx="15">
                  <c:v>Bollinger</c:v>
                </c:pt>
                <c:pt idx="16">
                  <c:v>Perrier Jou</c:v>
                </c:pt>
                <c:pt idx="17">
                  <c:v>Ruinart</c:v>
                </c:pt>
                <c:pt idx="18">
                  <c:v>Malard</c:v>
                </c:pt>
                <c:pt idx="19">
                  <c:v>Taittinger</c:v>
                </c:pt>
                <c:pt idx="20">
                  <c:v>Laurent Per</c:v>
                </c:pt>
                <c:pt idx="21">
                  <c:v>Ruinart</c:v>
                </c:pt>
                <c:pt idx="22">
                  <c:v>Savian</c:v>
                </c:pt>
                <c:pt idx="23">
                  <c:v>All Others</c:v>
                </c:pt>
                <c:pt idx="24">
                  <c:v>Ruinart</c:v>
                </c:pt>
                <c:pt idx="25">
                  <c:v>Laurent Per</c:v>
                </c:pt>
                <c:pt idx="26">
                  <c:v>Malard</c:v>
                </c:pt>
                <c:pt idx="27">
                  <c:v>Deutz</c:v>
                </c:pt>
                <c:pt idx="28">
                  <c:v>Laurent Per</c:v>
                </c:pt>
                <c:pt idx="29">
                  <c:v>Veuve Clicq</c:v>
                </c:pt>
                <c:pt idx="30">
                  <c:v>Nicolas</c:v>
                </c:pt>
                <c:pt idx="31">
                  <c:v>Roederer</c:v>
                </c:pt>
                <c:pt idx="32">
                  <c:v>Moët &amp; Chan</c:v>
                </c:pt>
                <c:pt idx="33">
                  <c:v>Dom Perigno</c:v>
                </c:pt>
                <c:pt idx="34">
                  <c:v>Pommery</c:v>
                </c:pt>
                <c:pt idx="35">
                  <c:v>Vesselle</c:v>
                </c:pt>
                <c:pt idx="36">
                  <c:v>Ruinart</c:v>
                </c:pt>
                <c:pt idx="37">
                  <c:v>Roederer</c:v>
                </c:pt>
                <c:pt idx="38">
                  <c:v>Piper Heids</c:v>
                </c:pt>
                <c:pt idx="39">
                  <c:v>Canard Duch</c:v>
                </c:pt>
                <c:pt idx="40">
                  <c:v>Veuve Clicq</c:v>
                </c:pt>
                <c:pt idx="41">
                  <c:v>Canard Duch</c:v>
                </c:pt>
                <c:pt idx="42">
                  <c:v>Ayala</c:v>
                </c:pt>
                <c:pt idx="43">
                  <c:v>Demoiselle</c:v>
                </c:pt>
                <c:pt idx="44">
                  <c:v>Campari: Al</c:v>
                </c:pt>
                <c:pt idx="45">
                  <c:v>Nicolas</c:v>
                </c:pt>
                <c:pt idx="46">
                  <c:v>Krug</c:v>
                </c:pt>
                <c:pt idx="47">
                  <c:v>De Venoge</c:v>
                </c:pt>
                <c:pt idx="48">
                  <c:v>Bollinger</c:v>
                </c:pt>
                <c:pt idx="49">
                  <c:v>Henriot</c:v>
                </c:pt>
                <c:pt idx="50">
                  <c:v>De Bligny</c:v>
                </c:pt>
                <c:pt idx="51">
                  <c:v>Deutz</c:v>
                </c:pt>
                <c:pt idx="52">
                  <c:v>Nicolas Feu</c:v>
                </c:pt>
                <c:pt idx="53">
                  <c:v>Dom Perigno</c:v>
                </c:pt>
                <c:pt idx="54">
                  <c:v>Malard</c:v>
                </c:pt>
                <c:pt idx="55">
                  <c:v>Canard Duch</c:v>
                </c:pt>
                <c:pt idx="56">
                  <c:v>Ruinart</c:v>
                </c:pt>
                <c:pt idx="57">
                  <c:v>Veuve Clicq</c:v>
                </c:pt>
                <c:pt idx="58">
                  <c:v>Laurent Per</c:v>
                </c:pt>
                <c:pt idx="59">
                  <c:v>Besserat De</c:v>
                </c:pt>
                <c:pt idx="60">
                  <c:v>Malard</c:v>
                </c:pt>
                <c:pt idx="61">
                  <c:v>Henriot</c:v>
                </c:pt>
                <c:pt idx="62">
                  <c:v>All Others</c:v>
                </c:pt>
                <c:pt idx="63">
                  <c:v>Delamotte</c:v>
                </c:pt>
                <c:pt idx="64">
                  <c:v>Nicolas</c:v>
                </c:pt>
                <c:pt idx="65">
                  <c:v>Henriot</c:v>
                </c:pt>
                <c:pt idx="66">
                  <c:v>Dom Perigno</c:v>
                </c:pt>
                <c:pt idx="67">
                  <c:v>Lanson</c:v>
                </c:pt>
                <c:pt idx="68">
                  <c:v>Ruinart</c:v>
                </c:pt>
                <c:pt idx="69">
                  <c:v>De Venoge</c:v>
                </c:pt>
                <c:pt idx="70">
                  <c:v>Vranken</c:v>
                </c:pt>
                <c:pt idx="71">
                  <c:v>Ruinart</c:v>
                </c:pt>
                <c:pt idx="72">
                  <c:v>Nicolas Feu</c:v>
                </c:pt>
                <c:pt idx="73">
                  <c:v>Roederer</c:v>
                </c:pt>
                <c:pt idx="74">
                  <c:v>Moët &amp; Chan</c:v>
                </c:pt>
                <c:pt idx="75">
                  <c:v>Besserat De</c:v>
                </c:pt>
                <c:pt idx="76">
                  <c:v>Nicolas</c:v>
                </c:pt>
                <c:pt idx="77">
                  <c:v>Nicolas Feu</c:v>
                </c:pt>
                <c:pt idx="78">
                  <c:v>Nicolas</c:v>
                </c:pt>
                <c:pt idx="79">
                  <c:v>Ruinart</c:v>
                </c:pt>
                <c:pt idx="80">
                  <c:v>Nicolas</c:v>
                </c:pt>
                <c:pt idx="81">
                  <c:v>All Others</c:v>
                </c:pt>
                <c:pt idx="82">
                  <c:v>Perrier Jou</c:v>
                </c:pt>
                <c:pt idx="83">
                  <c:v>Pommery</c:v>
                </c:pt>
                <c:pt idx="84">
                  <c:v>Roederer</c:v>
                </c:pt>
                <c:pt idx="85">
                  <c:v>Veuve Clicq</c:v>
                </c:pt>
                <c:pt idx="86">
                  <c:v>Ruinart</c:v>
                </c:pt>
                <c:pt idx="87">
                  <c:v>Malard</c:v>
                </c:pt>
                <c:pt idx="88">
                  <c:v>Deutz</c:v>
                </c:pt>
                <c:pt idx="89">
                  <c:v>Roederer</c:v>
                </c:pt>
                <c:pt idx="90">
                  <c:v>De Venoge</c:v>
                </c:pt>
                <c:pt idx="91">
                  <c:v>Vranken</c:v>
                </c:pt>
                <c:pt idx="92">
                  <c:v>Canard Duch</c:v>
                </c:pt>
                <c:pt idx="93">
                  <c:v>Moët &amp; Chan</c:v>
                </c:pt>
                <c:pt idx="94">
                  <c:v>Deutz</c:v>
                </c:pt>
                <c:pt idx="95">
                  <c:v>Louis Marti</c:v>
                </c:pt>
                <c:pt idx="96">
                  <c:v>Nicolas</c:v>
                </c:pt>
                <c:pt idx="97">
                  <c:v>Nicolas</c:v>
                </c:pt>
                <c:pt idx="98">
                  <c:v>Roederer</c:v>
                </c:pt>
                <c:pt idx="99">
                  <c:v>De Venoge</c:v>
                </c:pt>
                <c:pt idx="100">
                  <c:v>Bollinger</c:v>
                </c:pt>
                <c:pt idx="101">
                  <c:v>Roederer</c:v>
                </c:pt>
                <c:pt idx="102">
                  <c:v>Nicolas</c:v>
                </c:pt>
                <c:pt idx="103">
                  <c:v>Campari: Al</c:v>
                </c:pt>
                <c:pt idx="104">
                  <c:v>Pommery</c:v>
                </c:pt>
                <c:pt idx="105">
                  <c:v>Roederer</c:v>
                </c:pt>
                <c:pt idx="106">
                  <c:v>Ruinart</c:v>
                </c:pt>
                <c:pt idx="107">
                  <c:v>Deutz</c:v>
                </c:pt>
                <c:pt idx="108">
                  <c:v>Nicolas</c:v>
                </c:pt>
                <c:pt idx="109">
                  <c:v>Nicolas</c:v>
                </c:pt>
                <c:pt idx="110">
                  <c:v>Pommery</c:v>
                </c:pt>
                <c:pt idx="111">
                  <c:v>Canard Duch</c:v>
                </c:pt>
                <c:pt idx="112">
                  <c:v>Vesselle</c:v>
                </c:pt>
                <c:pt idx="113">
                  <c:v>Ruinart</c:v>
                </c:pt>
                <c:pt idx="114">
                  <c:v>Roederer</c:v>
                </c:pt>
                <c:pt idx="115">
                  <c:v>Demoiselle</c:v>
                </c:pt>
                <c:pt idx="116">
                  <c:v>Besserat De</c:v>
                </c:pt>
                <c:pt idx="117">
                  <c:v>Vesselle</c:v>
                </c:pt>
                <c:pt idx="118">
                  <c:v>Lanson</c:v>
                </c:pt>
                <c:pt idx="119">
                  <c:v>Nicolas Feu</c:v>
                </c:pt>
                <c:pt idx="120">
                  <c:v>Moët &amp; Chan</c:v>
                </c:pt>
                <c:pt idx="121">
                  <c:v>All Others</c:v>
                </c:pt>
                <c:pt idx="122">
                  <c:v>Perrier Jou</c:v>
                </c:pt>
                <c:pt idx="123">
                  <c:v>Nicolas</c:v>
                </c:pt>
                <c:pt idx="124">
                  <c:v>Taittinger</c:v>
                </c:pt>
                <c:pt idx="125">
                  <c:v>Nicolas</c:v>
                </c:pt>
                <c:pt idx="126">
                  <c:v>Ruinart</c:v>
                </c:pt>
                <c:pt idx="127">
                  <c:v>Nicolas</c:v>
                </c:pt>
                <c:pt idx="128">
                  <c:v>All Others</c:v>
                </c:pt>
                <c:pt idx="129">
                  <c:v>Ruinart</c:v>
                </c:pt>
                <c:pt idx="130">
                  <c:v>Demoiselle</c:v>
                </c:pt>
                <c:pt idx="131">
                  <c:v>Nicolas</c:v>
                </c:pt>
                <c:pt idx="132">
                  <c:v>De Venoge</c:v>
                </c:pt>
                <c:pt idx="133">
                  <c:v>Canard Duch</c:v>
                </c:pt>
                <c:pt idx="134">
                  <c:v>Ruinart</c:v>
                </c:pt>
                <c:pt idx="135">
                  <c:v>Ayala</c:v>
                </c:pt>
                <c:pt idx="136">
                  <c:v>Veuve Clicq</c:v>
                </c:pt>
                <c:pt idx="137">
                  <c:v>Laurent Per</c:v>
                </c:pt>
                <c:pt idx="138">
                  <c:v>All Others</c:v>
                </c:pt>
                <c:pt idx="139">
                  <c:v>Ruinart</c:v>
                </c:pt>
                <c:pt idx="140">
                  <c:v>Laurent Per</c:v>
                </c:pt>
                <c:pt idx="141">
                  <c:v>Malard</c:v>
                </c:pt>
                <c:pt idx="142">
                  <c:v>Roederer</c:v>
                </c:pt>
                <c:pt idx="143">
                  <c:v>Ayala</c:v>
                </c:pt>
                <c:pt idx="144">
                  <c:v>Louis Marti</c:v>
                </c:pt>
                <c:pt idx="145">
                  <c:v>Laurent Per</c:v>
                </c:pt>
                <c:pt idx="146">
                  <c:v>Nicolas</c:v>
                </c:pt>
                <c:pt idx="147">
                  <c:v>All Others</c:v>
                </c:pt>
                <c:pt idx="148">
                  <c:v>Delamotte</c:v>
                </c:pt>
                <c:pt idx="149">
                  <c:v>Nicolas</c:v>
                </c:pt>
                <c:pt idx="150">
                  <c:v>Besserat De</c:v>
                </c:pt>
                <c:pt idx="151">
                  <c:v>Laurent Per</c:v>
                </c:pt>
                <c:pt idx="152">
                  <c:v>Moët &amp; Chan</c:v>
                </c:pt>
                <c:pt idx="153">
                  <c:v>All Others</c:v>
                </c:pt>
                <c:pt idx="154">
                  <c:v>Roederer</c:v>
                </c:pt>
                <c:pt idx="155">
                  <c:v>Ruinart</c:v>
                </c:pt>
                <c:pt idx="156">
                  <c:v>Henriot</c:v>
                </c:pt>
                <c:pt idx="157">
                  <c:v>Roederer</c:v>
                </c:pt>
                <c:pt idx="158">
                  <c:v>Nicolas</c:v>
                </c:pt>
                <c:pt idx="159">
                  <c:v>All Others</c:v>
                </c:pt>
                <c:pt idx="160">
                  <c:v>De Venoge</c:v>
                </c:pt>
                <c:pt idx="161">
                  <c:v>Pommery</c:v>
                </c:pt>
                <c:pt idx="162">
                  <c:v>Henriot</c:v>
                </c:pt>
                <c:pt idx="163">
                  <c:v>Henriot</c:v>
                </c:pt>
                <c:pt idx="164">
                  <c:v>Nicolas Feu</c:v>
                </c:pt>
                <c:pt idx="165">
                  <c:v>Canard Duch</c:v>
                </c:pt>
                <c:pt idx="166">
                  <c:v>Nicolas</c:v>
                </c:pt>
                <c:pt idx="167">
                  <c:v>Piper Heids</c:v>
                </c:pt>
                <c:pt idx="168">
                  <c:v>Pommery</c:v>
                </c:pt>
              </c:strCache>
            </c:strRef>
          </c:cat>
          <c:val>
            <c:numRef>
              <c:f>Sheet1!$B$2:$B$170</c:f>
              <c:numCache>
                <c:formatCode>General</c:formatCode>
                <c:ptCount val="169"/>
                <c:pt idx="0">
                  <c:v>0.88</c:v>
                </c:pt>
                <c:pt idx="1">
                  <c:v>1</c:v>
                </c:pt>
                <c:pt idx="2">
                  <c:v>1</c:v>
                </c:pt>
                <c:pt idx="3">
                  <c:v>0.89</c:v>
                </c:pt>
                <c:pt idx="4">
                  <c:v>1</c:v>
                </c:pt>
                <c:pt idx="5">
                  <c:v>0.85</c:v>
                </c:pt>
                <c:pt idx="6">
                  <c:v>1</c:v>
                </c:pt>
                <c:pt idx="7">
                  <c:v>0.91</c:v>
                </c:pt>
                <c:pt idx="8">
                  <c:v>0.87</c:v>
                </c:pt>
                <c:pt idx="9">
                  <c:v>0.92</c:v>
                </c:pt>
                <c:pt idx="10">
                  <c:v>0.89</c:v>
                </c:pt>
                <c:pt idx="11">
                  <c:v>0.85</c:v>
                </c:pt>
                <c:pt idx="12">
                  <c:v>0.79</c:v>
                </c:pt>
                <c:pt idx="13">
                  <c:v>0.85</c:v>
                </c:pt>
                <c:pt idx="14">
                  <c:v>0.96</c:v>
                </c:pt>
                <c:pt idx="15">
                  <c:v>0.87</c:v>
                </c:pt>
                <c:pt idx="16">
                  <c:v>0.87</c:v>
                </c:pt>
                <c:pt idx="17">
                  <c:v>0.88</c:v>
                </c:pt>
                <c:pt idx="18">
                  <c:v>0.85</c:v>
                </c:pt>
                <c:pt idx="19">
                  <c:v>0.64</c:v>
                </c:pt>
                <c:pt idx="20">
                  <c:v>1</c:v>
                </c:pt>
                <c:pt idx="21">
                  <c:v>0.51</c:v>
                </c:pt>
                <c:pt idx="22">
                  <c:v>0.83</c:v>
                </c:pt>
                <c:pt idx="23">
                  <c:v>0.79</c:v>
                </c:pt>
                <c:pt idx="24">
                  <c:v>0.88</c:v>
                </c:pt>
                <c:pt idx="25">
                  <c:v>0.88</c:v>
                </c:pt>
                <c:pt idx="26">
                  <c:v>0.82</c:v>
                </c:pt>
                <c:pt idx="27">
                  <c:v>0.84</c:v>
                </c:pt>
                <c:pt idx="28">
                  <c:v>0.83</c:v>
                </c:pt>
                <c:pt idx="29">
                  <c:v>0.56000000000000005</c:v>
                </c:pt>
                <c:pt idx="30">
                  <c:v>0.62</c:v>
                </c:pt>
                <c:pt idx="31">
                  <c:v>0.38</c:v>
                </c:pt>
                <c:pt idx="32">
                  <c:v>0.56000000000000005</c:v>
                </c:pt>
                <c:pt idx="33">
                  <c:v>0.44</c:v>
                </c:pt>
                <c:pt idx="34">
                  <c:v>0.8</c:v>
                </c:pt>
                <c:pt idx="35">
                  <c:v>0.69</c:v>
                </c:pt>
                <c:pt idx="36">
                  <c:v>0.76</c:v>
                </c:pt>
                <c:pt idx="37">
                  <c:v>0.64</c:v>
                </c:pt>
                <c:pt idx="38">
                  <c:v>0.87</c:v>
                </c:pt>
                <c:pt idx="39">
                  <c:v>0.73</c:v>
                </c:pt>
                <c:pt idx="40">
                  <c:v>0.71</c:v>
                </c:pt>
                <c:pt idx="41">
                  <c:v>0.87</c:v>
                </c:pt>
                <c:pt idx="42">
                  <c:v>0.73</c:v>
                </c:pt>
                <c:pt idx="43">
                  <c:v>0.77</c:v>
                </c:pt>
                <c:pt idx="44">
                  <c:v>0.5</c:v>
                </c:pt>
                <c:pt idx="45">
                  <c:v>0.61</c:v>
                </c:pt>
                <c:pt idx="46">
                  <c:v>0.31</c:v>
                </c:pt>
                <c:pt idx="47">
                  <c:v>0.65</c:v>
                </c:pt>
                <c:pt idx="48">
                  <c:v>0.31</c:v>
                </c:pt>
                <c:pt idx="49">
                  <c:v>0.59</c:v>
                </c:pt>
                <c:pt idx="50">
                  <c:v>0.54</c:v>
                </c:pt>
                <c:pt idx="51">
                  <c:v>0.62</c:v>
                </c:pt>
                <c:pt idx="52">
                  <c:v>0.77</c:v>
                </c:pt>
                <c:pt idx="53">
                  <c:v>0.3</c:v>
                </c:pt>
                <c:pt idx="54">
                  <c:v>0.44</c:v>
                </c:pt>
                <c:pt idx="55">
                  <c:v>0.74</c:v>
                </c:pt>
                <c:pt idx="56">
                  <c:v>0.73</c:v>
                </c:pt>
                <c:pt idx="57">
                  <c:v>0.73</c:v>
                </c:pt>
                <c:pt idx="58">
                  <c:v>0.31</c:v>
                </c:pt>
                <c:pt idx="59">
                  <c:v>0.61</c:v>
                </c:pt>
                <c:pt idx="60">
                  <c:v>0.69</c:v>
                </c:pt>
                <c:pt idx="61">
                  <c:v>0.8</c:v>
                </c:pt>
                <c:pt idx="62">
                  <c:v>0.55000000000000004</c:v>
                </c:pt>
                <c:pt idx="63">
                  <c:v>0.35</c:v>
                </c:pt>
                <c:pt idx="64">
                  <c:v>0.59</c:v>
                </c:pt>
                <c:pt idx="65">
                  <c:v>0.59</c:v>
                </c:pt>
                <c:pt idx="66">
                  <c:v>0.44</c:v>
                </c:pt>
                <c:pt idx="67">
                  <c:v>0.73</c:v>
                </c:pt>
                <c:pt idx="68">
                  <c:v>0.88</c:v>
                </c:pt>
                <c:pt idx="69">
                  <c:v>0.74</c:v>
                </c:pt>
                <c:pt idx="70">
                  <c:v>0.8</c:v>
                </c:pt>
                <c:pt idx="71">
                  <c:v>0.46</c:v>
                </c:pt>
                <c:pt idx="72">
                  <c:v>0.31</c:v>
                </c:pt>
                <c:pt idx="73">
                  <c:v>0.39</c:v>
                </c:pt>
                <c:pt idx="74">
                  <c:v>0.32</c:v>
                </c:pt>
                <c:pt idx="75">
                  <c:v>0.46</c:v>
                </c:pt>
                <c:pt idx="76">
                  <c:v>0.56999999999999995</c:v>
                </c:pt>
                <c:pt idx="77">
                  <c:v>0.66</c:v>
                </c:pt>
                <c:pt idx="78">
                  <c:v>0.59</c:v>
                </c:pt>
                <c:pt idx="79">
                  <c:v>0.22</c:v>
                </c:pt>
                <c:pt idx="80">
                  <c:v>0.59</c:v>
                </c:pt>
                <c:pt idx="81">
                  <c:v>0.39</c:v>
                </c:pt>
                <c:pt idx="82">
                  <c:v>0.8</c:v>
                </c:pt>
                <c:pt idx="83">
                  <c:v>0.26</c:v>
                </c:pt>
                <c:pt idx="84">
                  <c:v>0.43</c:v>
                </c:pt>
                <c:pt idx="85">
                  <c:v>0.24</c:v>
                </c:pt>
                <c:pt idx="86">
                  <c:v>0.38</c:v>
                </c:pt>
                <c:pt idx="87">
                  <c:v>0.66</c:v>
                </c:pt>
                <c:pt idx="88">
                  <c:v>0.45</c:v>
                </c:pt>
                <c:pt idx="89">
                  <c:v>0.34</c:v>
                </c:pt>
                <c:pt idx="90">
                  <c:v>0.26</c:v>
                </c:pt>
                <c:pt idx="91">
                  <c:v>0.43</c:v>
                </c:pt>
                <c:pt idx="92">
                  <c:v>0.25</c:v>
                </c:pt>
                <c:pt idx="93">
                  <c:v>0.45</c:v>
                </c:pt>
                <c:pt idx="94">
                  <c:v>0.22</c:v>
                </c:pt>
                <c:pt idx="95">
                  <c:v>0.28000000000000003</c:v>
                </c:pt>
                <c:pt idx="96">
                  <c:v>0.44</c:v>
                </c:pt>
                <c:pt idx="97">
                  <c:v>0.27</c:v>
                </c:pt>
                <c:pt idx="98">
                  <c:v>0.48</c:v>
                </c:pt>
                <c:pt idx="99">
                  <c:v>0.73</c:v>
                </c:pt>
                <c:pt idx="100">
                  <c:v>0.8</c:v>
                </c:pt>
                <c:pt idx="101">
                  <c:v>0.26</c:v>
                </c:pt>
                <c:pt idx="102">
                  <c:v>0.42</c:v>
                </c:pt>
                <c:pt idx="103">
                  <c:v>0.74</c:v>
                </c:pt>
                <c:pt idx="104">
                  <c:v>0.51</c:v>
                </c:pt>
                <c:pt idx="105">
                  <c:v>0.79</c:v>
                </c:pt>
                <c:pt idx="106">
                  <c:v>0.21</c:v>
                </c:pt>
                <c:pt idx="107">
                  <c:v>0.32</c:v>
                </c:pt>
                <c:pt idx="108">
                  <c:v>0.18</c:v>
                </c:pt>
                <c:pt idx="109">
                  <c:v>0.43</c:v>
                </c:pt>
                <c:pt idx="110">
                  <c:v>0.27</c:v>
                </c:pt>
                <c:pt idx="111">
                  <c:v>0.31</c:v>
                </c:pt>
                <c:pt idx="112">
                  <c:v>0.33</c:v>
                </c:pt>
                <c:pt idx="113">
                  <c:v>0.35</c:v>
                </c:pt>
                <c:pt idx="114">
                  <c:v>0.23</c:v>
                </c:pt>
                <c:pt idx="115">
                  <c:v>0.28000000000000003</c:v>
                </c:pt>
                <c:pt idx="116">
                  <c:v>0.8</c:v>
                </c:pt>
                <c:pt idx="117">
                  <c:v>0.28000000000000003</c:v>
                </c:pt>
                <c:pt idx="118">
                  <c:v>0.25</c:v>
                </c:pt>
                <c:pt idx="119">
                  <c:v>0.73</c:v>
                </c:pt>
                <c:pt idx="120">
                  <c:v>0.2</c:v>
                </c:pt>
                <c:pt idx="121">
                  <c:v>0.5</c:v>
                </c:pt>
                <c:pt idx="122">
                  <c:v>0.2</c:v>
                </c:pt>
                <c:pt idx="123">
                  <c:v>0.5</c:v>
                </c:pt>
                <c:pt idx="124">
                  <c:v>0.19</c:v>
                </c:pt>
                <c:pt idx="125">
                  <c:v>0.32</c:v>
                </c:pt>
                <c:pt idx="126">
                  <c:v>0.2</c:v>
                </c:pt>
                <c:pt idx="127">
                  <c:v>0.26</c:v>
                </c:pt>
                <c:pt idx="128">
                  <c:v>0.21</c:v>
                </c:pt>
                <c:pt idx="129">
                  <c:v>0.05</c:v>
                </c:pt>
                <c:pt idx="130">
                  <c:v>0.44</c:v>
                </c:pt>
                <c:pt idx="131">
                  <c:v>0.33</c:v>
                </c:pt>
                <c:pt idx="132">
                  <c:v>0.12</c:v>
                </c:pt>
                <c:pt idx="133">
                  <c:v>0.85</c:v>
                </c:pt>
                <c:pt idx="134">
                  <c:v>0.14000000000000001</c:v>
                </c:pt>
                <c:pt idx="135">
                  <c:v>0.24</c:v>
                </c:pt>
                <c:pt idx="136">
                  <c:v>0.05</c:v>
                </c:pt>
                <c:pt idx="137">
                  <c:v>0.25</c:v>
                </c:pt>
                <c:pt idx="138">
                  <c:v>0.28000000000000003</c:v>
                </c:pt>
                <c:pt idx="139">
                  <c:v>0.13</c:v>
                </c:pt>
                <c:pt idx="140">
                  <c:v>0.13</c:v>
                </c:pt>
                <c:pt idx="141">
                  <c:v>0.14000000000000001</c:v>
                </c:pt>
                <c:pt idx="142">
                  <c:v>0.28000000000000003</c:v>
                </c:pt>
                <c:pt idx="143">
                  <c:v>0.33</c:v>
                </c:pt>
                <c:pt idx="144">
                  <c:v>0.2</c:v>
                </c:pt>
                <c:pt idx="145">
                  <c:v>0.31</c:v>
                </c:pt>
                <c:pt idx="146">
                  <c:v>0.18</c:v>
                </c:pt>
                <c:pt idx="147">
                  <c:v>0.16</c:v>
                </c:pt>
                <c:pt idx="148">
                  <c:v>0.16</c:v>
                </c:pt>
                <c:pt idx="149">
                  <c:v>0.15</c:v>
                </c:pt>
                <c:pt idx="150">
                  <c:v>0.16</c:v>
                </c:pt>
                <c:pt idx="151">
                  <c:v>0.21</c:v>
                </c:pt>
                <c:pt idx="152">
                  <c:v>0.2</c:v>
                </c:pt>
                <c:pt idx="153">
                  <c:v>0.15</c:v>
                </c:pt>
                <c:pt idx="154">
                  <c:v>0.38</c:v>
                </c:pt>
                <c:pt idx="155">
                  <c:v>0.15</c:v>
                </c:pt>
                <c:pt idx="156">
                  <c:v>0.12</c:v>
                </c:pt>
                <c:pt idx="157">
                  <c:v>0.3</c:v>
                </c:pt>
                <c:pt idx="158">
                  <c:v>0.2</c:v>
                </c:pt>
                <c:pt idx="159">
                  <c:v>0.1</c:v>
                </c:pt>
                <c:pt idx="160">
                  <c:v>0.17</c:v>
                </c:pt>
                <c:pt idx="161">
                  <c:v>0.21</c:v>
                </c:pt>
                <c:pt idx="162">
                  <c:v>0.17</c:v>
                </c:pt>
                <c:pt idx="163">
                  <c:v>0.15</c:v>
                </c:pt>
                <c:pt idx="164">
                  <c:v>0.17</c:v>
                </c:pt>
                <c:pt idx="165">
                  <c:v>0.21</c:v>
                </c:pt>
                <c:pt idx="166">
                  <c:v>0.17</c:v>
                </c:pt>
                <c:pt idx="167">
                  <c:v>0.26</c:v>
                </c:pt>
                <c:pt idx="168">
                  <c:v>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0</c:f>
              <c:strCache>
                <c:ptCount val="169"/>
                <c:pt idx="0">
                  <c:v>Ruinart</c:v>
                </c:pt>
                <c:pt idx="1">
                  <c:v>Ruinart</c:v>
                </c:pt>
                <c:pt idx="2">
                  <c:v>Nicolas</c:v>
                </c:pt>
                <c:pt idx="3">
                  <c:v>Deutz</c:v>
                </c:pt>
                <c:pt idx="4">
                  <c:v>Malard</c:v>
                </c:pt>
                <c:pt idx="5">
                  <c:v>Ruinart</c:v>
                </c:pt>
                <c:pt idx="6">
                  <c:v>Canard Duch</c:v>
                </c:pt>
                <c:pt idx="7">
                  <c:v>Heidsieck &amp;</c:v>
                </c:pt>
                <c:pt idx="8">
                  <c:v>Taittinger</c:v>
                </c:pt>
                <c:pt idx="9">
                  <c:v>De Bligny</c:v>
                </c:pt>
                <c:pt idx="10">
                  <c:v>Ayala</c:v>
                </c:pt>
                <c:pt idx="11">
                  <c:v>Deutz</c:v>
                </c:pt>
                <c:pt idx="12">
                  <c:v>Besserat De</c:v>
                </c:pt>
                <c:pt idx="13">
                  <c:v>Demoiselle</c:v>
                </c:pt>
                <c:pt idx="14">
                  <c:v>Nicolas Feu</c:v>
                </c:pt>
                <c:pt idx="15">
                  <c:v>Bollinger</c:v>
                </c:pt>
                <c:pt idx="16">
                  <c:v>Perrier Jou</c:v>
                </c:pt>
                <c:pt idx="17">
                  <c:v>Ruinart</c:v>
                </c:pt>
                <c:pt idx="18">
                  <c:v>Malard</c:v>
                </c:pt>
                <c:pt idx="19">
                  <c:v>Taittinger</c:v>
                </c:pt>
                <c:pt idx="20">
                  <c:v>Laurent Per</c:v>
                </c:pt>
                <c:pt idx="21">
                  <c:v>Ruinart</c:v>
                </c:pt>
                <c:pt idx="22">
                  <c:v>Savian</c:v>
                </c:pt>
                <c:pt idx="23">
                  <c:v>All Others</c:v>
                </c:pt>
                <c:pt idx="24">
                  <c:v>Ruinart</c:v>
                </c:pt>
                <c:pt idx="25">
                  <c:v>Laurent Per</c:v>
                </c:pt>
                <c:pt idx="26">
                  <c:v>Malard</c:v>
                </c:pt>
                <c:pt idx="27">
                  <c:v>Deutz</c:v>
                </c:pt>
                <c:pt idx="28">
                  <c:v>Laurent Per</c:v>
                </c:pt>
                <c:pt idx="29">
                  <c:v>Veuve Clicq</c:v>
                </c:pt>
                <c:pt idx="30">
                  <c:v>Nicolas</c:v>
                </c:pt>
                <c:pt idx="31">
                  <c:v>Roederer</c:v>
                </c:pt>
                <c:pt idx="32">
                  <c:v>Moët &amp; Chan</c:v>
                </c:pt>
                <c:pt idx="33">
                  <c:v>Dom Perigno</c:v>
                </c:pt>
                <c:pt idx="34">
                  <c:v>Pommery</c:v>
                </c:pt>
                <c:pt idx="35">
                  <c:v>Vesselle</c:v>
                </c:pt>
                <c:pt idx="36">
                  <c:v>Ruinart</c:v>
                </c:pt>
                <c:pt idx="37">
                  <c:v>Roederer</c:v>
                </c:pt>
                <c:pt idx="38">
                  <c:v>Piper Heids</c:v>
                </c:pt>
                <c:pt idx="39">
                  <c:v>Canard Duch</c:v>
                </c:pt>
                <c:pt idx="40">
                  <c:v>Veuve Clicq</c:v>
                </c:pt>
                <c:pt idx="41">
                  <c:v>Canard Duch</c:v>
                </c:pt>
                <c:pt idx="42">
                  <c:v>Ayala</c:v>
                </c:pt>
                <c:pt idx="43">
                  <c:v>Demoiselle</c:v>
                </c:pt>
                <c:pt idx="44">
                  <c:v>Campari: Al</c:v>
                </c:pt>
                <c:pt idx="45">
                  <c:v>Nicolas</c:v>
                </c:pt>
                <c:pt idx="46">
                  <c:v>Krug</c:v>
                </c:pt>
                <c:pt idx="47">
                  <c:v>De Venoge</c:v>
                </c:pt>
                <c:pt idx="48">
                  <c:v>Bollinger</c:v>
                </c:pt>
                <c:pt idx="49">
                  <c:v>Henriot</c:v>
                </c:pt>
                <c:pt idx="50">
                  <c:v>De Bligny</c:v>
                </c:pt>
                <c:pt idx="51">
                  <c:v>Deutz</c:v>
                </c:pt>
                <c:pt idx="52">
                  <c:v>Nicolas Feu</c:v>
                </c:pt>
                <c:pt idx="53">
                  <c:v>Dom Perigno</c:v>
                </c:pt>
                <c:pt idx="54">
                  <c:v>Malard</c:v>
                </c:pt>
                <c:pt idx="55">
                  <c:v>Canard Duch</c:v>
                </c:pt>
                <c:pt idx="56">
                  <c:v>Ruinart</c:v>
                </c:pt>
                <c:pt idx="57">
                  <c:v>Veuve Clicq</c:v>
                </c:pt>
                <c:pt idx="58">
                  <c:v>Laurent Per</c:v>
                </c:pt>
                <c:pt idx="59">
                  <c:v>Besserat De</c:v>
                </c:pt>
                <c:pt idx="60">
                  <c:v>Malard</c:v>
                </c:pt>
                <c:pt idx="61">
                  <c:v>Henriot</c:v>
                </c:pt>
                <c:pt idx="62">
                  <c:v>All Others</c:v>
                </c:pt>
                <c:pt idx="63">
                  <c:v>Delamotte</c:v>
                </c:pt>
                <c:pt idx="64">
                  <c:v>Nicolas</c:v>
                </c:pt>
                <c:pt idx="65">
                  <c:v>Henriot</c:v>
                </c:pt>
                <c:pt idx="66">
                  <c:v>Dom Perigno</c:v>
                </c:pt>
                <c:pt idx="67">
                  <c:v>Lanson</c:v>
                </c:pt>
                <c:pt idx="68">
                  <c:v>Ruinart</c:v>
                </c:pt>
                <c:pt idx="69">
                  <c:v>De Venoge</c:v>
                </c:pt>
                <c:pt idx="70">
                  <c:v>Vranken</c:v>
                </c:pt>
                <c:pt idx="71">
                  <c:v>Ruinart</c:v>
                </c:pt>
                <c:pt idx="72">
                  <c:v>Nicolas Feu</c:v>
                </c:pt>
                <c:pt idx="73">
                  <c:v>Roederer</c:v>
                </c:pt>
                <c:pt idx="74">
                  <c:v>Moët &amp; Chan</c:v>
                </c:pt>
                <c:pt idx="75">
                  <c:v>Besserat De</c:v>
                </c:pt>
                <c:pt idx="76">
                  <c:v>Nicolas</c:v>
                </c:pt>
                <c:pt idx="77">
                  <c:v>Nicolas Feu</c:v>
                </c:pt>
                <c:pt idx="78">
                  <c:v>Nicolas</c:v>
                </c:pt>
                <c:pt idx="79">
                  <c:v>Ruinart</c:v>
                </c:pt>
                <c:pt idx="80">
                  <c:v>Nicolas</c:v>
                </c:pt>
                <c:pt idx="81">
                  <c:v>All Others</c:v>
                </c:pt>
                <c:pt idx="82">
                  <c:v>Perrier Jou</c:v>
                </c:pt>
                <c:pt idx="83">
                  <c:v>Pommery</c:v>
                </c:pt>
                <c:pt idx="84">
                  <c:v>Roederer</c:v>
                </c:pt>
                <c:pt idx="85">
                  <c:v>Veuve Clicq</c:v>
                </c:pt>
                <c:pt idx="86">
                  <c:v>Ruinart</c:v>
                </c:pt>
                <c:pt idx="87">
                  <c:v>Malard</c:v>
                </c:pt>
                <c:pt idx="88">
                  <c:v>Deutz</c:v>
                </c:pt>
                <c:pt idx="89">
                  <c:v>Roederer</c:v>
                </c:pt>
                <c:pt idx="90">
                  <c:v>De Venoge</c:v>
                </c:pt>
                <c:pt idx="91">
                  <c:v>Vranken</c:v>
                </c:pt>
                <c:pt idx="92">
                  <c:v>Canard Duch</c:v>
                </c:pt>
                <c:pt idx="93">
                  <c:v>Moët &amp; Chan</c:v>
                </c:pt>
                <c:pt idx="94">
                  <c:v>Deutz</c:v>
                </c:pt>
                <c:pt idx="95">
                  <c:v>Louis Marti</c:v>
                </c:pt>
                <c:pt idx="96">
                  <c:v>Nicolas</c:v>
                </c:pt>
                <c:pt idx="97">
                  <c:v>Nicolas</c:v>
                </c:pt>
                <c:pt idx="98">
                  <c:v>Roederer</c:v>
                </c:pt>
                <c:pt idx="99">
                  <c:v>De Venoge</c:v>
                </c:pt>
                <c:pt idx="100">
                  <c:v>Bollinger</c:v>
                </c:pt>
                <c:pt idx="101">
                  <c:v>Roederer</c:v>
                </c:pt>
                <c:pt idx="102">
                  <c:v>Nicolas</c:v>
                </c:pt>
                <c:pt idx="103">
                  <c:v>Campari: Al</c:v>
                </c:pt>
                <c:pt idx="104">
                  <c:v>Pommery</c:v>
                </c:pt>
                <c:pt idx="105">
                  <c:v>Roederer</c:v>
                </c:pt>
                <c:pt idx="106">
                  <c:v>Ruinart</c:v>
                </c:pt>
                <c:pt idx="107">
                  <c:v>Deutz</c:v>
                </c:pt>
                <c:pt idx="108">
                  <c:v>Nicolas</c:v>
                </c:pt>
                <c:pt idx="109">
                  <c:v>Nicolas</c:v>
                </c:pt>
                <c:pt idx="110">
                  <c:v>Pommery</c:v>
                </c:pt>
                <c:pt idx="111">
                  <c:v>Canard Duch</c:v>
                </c:pt>
                <c:pt idx="112">
                  <c:v>Vesselle</c:v>
                </c:pt>
                <c:pt idx="113">
                  <c:v>Ruinart</c:v>
                </c:pt>
                <c:pt idx="114">
                  <c:v>Roederer</c:v>
                </c:pt>
                <c:pt idx="115">
                  <c:v>Demoiselle</c:v>
                </c:pt>
                <c:pt idx="116">
                  <c:v>Besserat De</c:v>
                </c:pt>
                <c:pt idx="117">
                  <c:v>Vesselle</c:v>
                </c:pt>
                <c:pt idx="118">
                  <c:v>Lanson</c:v>
                </c:pt>
                <c:pt idx="119">
                  <c:v>Nicolas Feu</c:v>
                </c:pt>
                <c:pt idx="120">
                  <c:v>Moët &amp; Chan</c:v>
                </c:pt>
                <c:pt idx="121">
                  <c:v>All Others</c:v>
                </c:pt>
                <c:pt idx="122">
                  <c:v>Perrier Jou</c:v>
                </c:pt>
                <c:pt idx="123">
                  <c:v>Nicolas</c:v>
                </c:pt>
                <c:pt idx="124">
                  <c:v>Taittinger</c:v>
                </c:pt>
                <c:pt idx="125">
                  <c:v>Nicolas</c:v>
                </c:pt>
                <c:pt idx="126">
                  <c:v>Ruinart</c:v>
                </c:pt>
                <c:pt idx="127">
                  <c:v>Nicolas</c:v>
                </c:pt>
                <c:pt idx="128">
                  <c:v>All Others</c:v>
                </c:pt>
                <c:pt idx="129">
                  <c:v>Ruinart</c:v>
                </c:pt>
                <c:pt idx="130">
                  <c:v>Demoiselle</c:v>
                </c:pt>
                <c:pt idx="131">
                  <c:v>Nicolas</c:v>
                </c:pt>
                <c:pt idx="132">
                  <c:v>De Venoge</c:v>
                </c:pt>
                <c:pt idx="133">
                  <c:v>Canard Duch</c:v>
                </c:pt>
                <c:pt idx="134">
                  <c:v>Ruinart</c:v>
                </c:pt>
                <c:pt idx="135">
                  <c:v>Ayala</c:v>
                </c:pt>
                <c:pt idx="136">
                  <c:v>Veuve Clicq</c:v>
                </c:pt>
                <c:pt idx="137">
                  <c:v>Laurent Per</c:v>
                </c:pt>
                <c:pt idx="138">
                  <c:v>All Others</c:v>
                </c:pt>
                <c:pt idx="139">
                  <c:v>Ruinart</c:v>
                </c:pt>
                <c:pt idx="140">
                  <c:v>Laurent Per</c:v>
                </c:pt>
                <c:pt idx="141">
                  <c:v>Malard</c:v>
                </c:pt>
                <c:pt idx="142">
                  <c:v>Roederer</c:v>
                </c:pt>
                <c:pt idx="143">
                  <c:v>Ayala</c:v>
                </c:pt>
                <c:pt idx="144">
                  <c:v>Louis Marti</c:v>
                </c:pt>
                <c:pt idx="145">
                  <c:v>Laurent Per</c:v>
                </c:pt>
                <c:pt idx="146">
                  <c:v>Nicolas</c:v>
                </c:pt>
                <c:pt idx="147">
                  <c:v>All Others</c:v>
                </c:pt>
                <c:pt idx="148">
                  <c:v>Delamotte</c:v>
                </c:pt>
                <c:pt idx="149">
                  <c:v>Nicolas</c:v>
                </c:pt>
                <c:pt idx="150">
                  <c:v>Besserat De</c:v>
                </c:pt>
                <c:pt idx="151">
                  <c:v>Laurent Per</c:v>
                </c:pt>
                <c:pt idx="152">
                  <c:v>Moët &amp; Chan</c:v>
                </c:pt>
                <c:pt idx="153">
                  <c:v>All Others</c:v>
                </c:pt>
                <c:pt idx="154">
                  <c:v>Roederer</c:v>
                </c:pt>
                <c:pt idx="155">
                  <c:v>Ruinart</c:v>
                </c:pt>
                <c:pt idx="156">
                  <c:v>Henriot</c:v>
                </c:pt>
                <c:pt idx="157">
                  <c:v>Roederer</c:v>
                </c:pt>
                <c:pt idx="158">
                  <c:v>Nicolas</c:v>
                </c:pt>
                <c:pt idx="159">
                  <c:v>All Others</c:v>
                </c:pt>
                <c:pt idx="160">
                  <c:v>De Venoge</c:v>
                </c:pt>
                <c:pt idx="161">
                  <c:v>Pommery</c:v>
                </c:pt>
                <c:pt idx="162">
                  <c:v>Henriot</c:v>
                </c:pt>
                <c:pt idx="163">
                  <c:v>Henriot</c:v>
                </c:pt>
                <c:pt idx="164">
                  <c:v>Nicolas Feu</c:v>
                </c:pt>
                <c:pt idx="165">
                  <c:v>Canard Duch</c:v>
                </c:pt>
                <c:pt idx="166">
                  <c:v>Nicolas</c:v>
                </c:pt>
                <c:pt idx="167">
                  <c:v>Piper Heids</c:v>
                </c:pt>
                <c:pt idx="168">
                  <c:v>Pommery</c:v>
                </c:pt>
              </c:strCache>
            </c:strRef>
          </c:cat>
          <c:val>
            <c:numRef>
              <c:f>Sheet1!$C$2:$C$170</c:f>
              <c:numCache>
                <c:formatCode>General</c:formatCode>
                <c:ptCount val="169"/>
                <c:pt idx="0">
                  <c:v>0.1547019440007569</c:v>
                </c:pt>
                <c:pt idx="1">
                  <c:v>0.24598315904297061</c:v>
                </c:pt>
                <c:pt idx="2">
                  <c:v>0.29623332461417734</c:v>
                </c:pt>
                <c:pt idx="3">
                  <c:v>0.32280819897484986</c:v>
                </c:pt>
                <c:pt idx="4">
                  <c:v>0.3489573188038802</c:v>
                </c:pt>
                <c:pt idx="5">
                  <c:v>0.37438293420005453</c:v>
                </c:pt>
                <c:pt idx="6">
                  <c:v>0.39889303821773031</c:v>
                </c:pt>
                <c:pt idx="7">
                  <c:v>0.4226323317434787</c:v>
                </c:pt>
                <c:pt idx="8">
                  <c:v>0.44565925167379966</c:v>
                </c:pt>
                <c:pt idx="9">
                  <c:v>0.46851920904269229</c:v>
                </c:pt>
                <c:pt idx="10">
                  <c:v>0.49029947518101519</c:v>
                </c:pt>
                <c:pt idx="11">
                  <c:v>0.51037950590212644</c:v>
                </c:pt>
                <c:pt idx="12">
                  <c:v>0.52923514450609677</c:v>
                </c:pt>
                <c:pt idx="13">
                  <c:v>0.54461517912300117</c:v>
                </c:pt>
                <c:pt idx="14">
                  <c:v>0.55966963674512038</c:v>
                </c:pt>
                <c:pt idx="15">
                  <c:v>0.57373344983609831</c:v>
                </c:pt>
                <c:pt idx="16">
                  <c:v>0.58621111859350727</c:v>
                </c:pt>
                <c:pt idx="17">
                  <c:v>0.59671306370734789</c:v>
                </c:pt>
                <c:pt idx="18">
                  <c:v>0.60696456497904605</c:v>
                </c:pt>
                <c:pt idx="19">
                  <c:v>0.61716876019167288</c:v>
                </c:pt>
                <c:pt idx="20">
                  <c:v>0.62730617037972836</c:v>
                </c:pt>
                <c:pt idx="21">
                  <c:v>0.63699556436128457</c:v>
                </c:pt>
                <c:pt idx="22">
                  <c:v>0.64619798420534158</c:v>
                </c:pt>
                <c:pt idx="23">
                  <c:v>0.65524735503475595</c:v>
                </c:pt>
                <c:pt idx="24">
                  <c:v>0.66410471891852774</c:v>
                </c:pt>
                <c:pt idx="25">
                  <c:v>0.67285633984672832</c:v>
                </c:pt>
                <c:pt idx="26">
                  <c:v>0.6815662201345718</c:v>
                </c:pt>
                <c:pt idx="27">
                  <c:v>0.69015087850134405</c:v>
                </c:pt>
                <c:pt idx="28">
                  <c:v>0.69871605790261626</c:v>
                </c:pt>
                <c:pt idx="29">
                  <c:v>0.70723114853545999</c:v>
                </c:pt>
                <c:pt idx="30">
                  <c:v>0.71528987483373307</c:v>
                </c:pt>
                <c:pt idx="31">
                  <c:v>0.72273362236407857</c:v>
                </c:pt>
                <c:pt idx="32">
                  <c:v>0.72971544014113898</c:v>
                </c:pt>
                <c:pt idx="33">
                  <c:v>0.73650246826319976</c:v>
                </c:pt>
                <c:pt idx="34">
                  <c:v>0.74326445200104629</c:v>
                </c:pt>
                <c:pt idx="35">
                  <c:v>0.75001530490146429</c:v>
                </c:pt>
                <c:pt idx="36">
                  <c:v>0.75580334036431229</c:v>
                </c:pt>
                <c:pt idx="37">
                  <c:v>0.76151624267451756</c:v>
                </c:pt>
                <c:pt idx="38">
                  <c:v>0.76702044178293749</c:v>
                </c:pt>
                <c:pt idx="39">
                  <c:v>0.77249681379778601</c:v>
                </c:pt>
                <c:pt idx="40">
                  <c:v>0.7779258797535632</c:v>
                </c:pt>
                <c:pt idx="41">
                  <c:v>0.78328259526605482</c:v>
                </c:pt>
                <c:pt idx="42">
                  <c:v>0.78858365659140361</c:v>
                </c:pt>
                <c:pt idx="43">
                  <c:v>0.79382628102025254</c:v>
                </c:pt>
                <c:pt idx="44">
                  <c:v>0.79904942648360144</c:v>
                </c:pt>
                <c:pt idx="45">
                  <c:v>0.80411395751359349</c:v>
                </c:pt>
                <c:pt idx="46">
                  <c:v>0.80904213578508577</c:v>
                </c:pt>
                <c:pt idx="47">
                  <c:v>0.81388683277586382</c:v>
                </c:pt>
                <c:pt idx="48">
                  <c:v>0.81871761621985628</c:v>
                </c:pt>
                <c:pt idx="49">
                  <c:v>0.82346770109249168</c:v>
                </c:pt>
                <c:pt idx="50">
                  <c:v>0.82810369488148439</c:v>
                </c:pt>
                <c:pt idx="51">
                  <c:v>0.83271742699562001</c:v>
                </c:pt>
                <c:pt idx="52">
                  <c:v>0.8372560259571129</c:v>
                </c:pt>
                <c:pt idx="53">
                  <c:v>0.84176401511567722</c:v>
                </c:pt>
                <c:pt idx="54">
                  <c:v>0.84625809072745584</c:v>
                </c:pt>
                <c:pt idx="55">
                  <c:v>0.85073825279244875</c:v>
                </c:pt>
                <c:pt idx="56">
                  <c:v>0.85502362520244202</c:v>
                </c:pt>
                <c:pt idx="57">
                  <c:v>0.85928673593757821</c:v>
                </c:pt>
                <c:pt idx="58">
                  <c:v>0.86344410371714309</c:v>
                </c:pt>
                <c:pt idx="59">
                  <c:v>0.86752355563470807</c:v>
                </c:pt>
                <c:pt idx="60">
                  <c:v>0.8713943043504877</c:v>
                </c:pt>
                <c:pt idx="61">
                  <c:v>0.87524279139141026</c:v>
                </c:pt>
                <c:pt idx="62">
                  <c:v>0.87891318503347593</c:v>
                </c:pt>
                <c:pt idx="63">
                  <c:v>0.8825696651287559</c:v>
                </c:pt>
                <c:pt idx="64">
                  <c:v>0.88608700975617893</c:v>
                </c:pt>
                <c:pt idx="65">
                  <c:v>0.88955704832453064</c:v>
                </c:pt>
                <c:pt idx="66">
                  <c:v>0.89289351684373963</c:v>
                </c:pt>
                <c:pt idx="67">
                  <c:v>0.89619937556002016</c:v>
                </c:pt>
                <c:pt idx="68">
                  <c:v>0.89946627634530074</c:v>
                </c:pt>
                <c:pt idx="69">
                  <c:v>0.90249664683522457</c:v>
                </c:pt>
                <c:pt idx="70">
                  <c:v>0.90552145190643407</c:v>
                </c:pt>
                <c:pt idx="71">
                  <c:v>0.90811771973664424</c:v>
                </c:pt>
                <c:pt idx="72">
                  <c:v>0.91066389879842591</c:v>
                </c:pt>
                <c:pt idx="73">
                  <c:v>0.91318225076663628</c:v>
                </c:pt>
                <c:pt idx="74">
                  <c:v>0.91569503731613233</c:v>
                </c:pt>
                <c:pt idx="75">
                  <c:v>0.91805477485098574</c:v>
                </c:pt>
                <c:pt idx="76">
                  <c:v>0.92039225071098207</c:v>
                </c:pt>
                <c:pt idx="77">
                  <c:v>0.92267407238383559</c:v>
                </c:pt>
                <c:pt idx="78">
                  <c:v>0.92495032863797488</c:v>
                </c:pt>
                <c:pt idx="79">
                  <c:v>0.92713753819268574</c:v>
                </c:pt>
                <c:pt idx="80">
                  <c:v>0.92931918232868227</c:v>
                </c:pt>
                <c:pt idx="81">
                  <c:v>0.93134499474067911</c:v>
                </c:pt>
                <c:pt idx="82">
                  <c:v>0.933331849221676</c:v>
                </c:pt>
                <c:pt idx="83">
                  <c:v>0.93531313828395857</c:v>
                </c:pt>
                <c:pt idx="84">
                  <c:v>0.93726381754331267</c:v>
                </c:pt>
                <c:pt idx="85">
                  <c:v>0.93919223512780969</c:v>
                </c:pt>
                <c:pt idx="86">
                  <c:v>0.94101490975673541</c:v>
                </c:pt>
                <c:pt idx="87">
                  <c:v>0.94283201896694679</c:v>
                </c:pt>
                <c:pt idx="88">
                  <c:v>0.94463243192101543</c:v>
                </c:pt>
                <c:pt idx="89">
                  <c:v>0.94639110423472694</c:v>
                </c:pt>
                <c:pt idx="90">
                  <c:v>0.94812194945486705</c:v>
                </c:pt>
                <c:pt idx="91">
                  <c:v>0.94983053300015008</c:v>
                </c:pt>
                <c:pt idx="92">
                  <c:v>0.95150850674250453</c:v>
                </c:pt>
                <c:pt idx="93">
                  <c:v>0.9531503052632162</c:v>
                </c:pt>
                <c:pt idx="94">
                  <c:v>0.954733666887428</c:v>
                </c:pt>
                <c:pt idx="95">
                  <c:v>0.95626415703385415</c:v>
                </c:pt>
                <c:pt idx="96">
                  <c:v>0.95773621028378042</c:v>
                </c:pt>
                <c:pt idx="97">
                  <c:v>0.95916930560270675</c:v>
                </c:pt>
                <c:pt idx="98">
                  <c:v>0.9605439640251332</c:v>
                </c:pt>
                <c:pt idx="99">
                  <c:v>0.961865750969774</c:v>
                </c:pt>
                <c:pt idx="100">
                  <c:v>0.96317918978634331</c:v>
                </c:pt>
                <c:pt idx="101">
                  <c:v>0.96442027815962705</c:v>
                </c:pt>
                <c:pt idx="102">
                  <c:v>0.96565858382355363</c:v>
                </c:pt>
                <c:pt idx="103">
                  <c:v>0.96688019323133745</c:v>
                </c:pt>
                <c:pt idx="104">
                  <c:v>0.96805449658004994</c:v>
                </c:pt>
                <c:pt idx="105">
                  <c:v>0.96917314574161961</c:v>
                </c:pt>
                <c:pt idx="106">
                  <c:v>0.97023892342540363</c:v>
                </c:pt>
                <c:pt idx="107">
                  <c:v>0.97129357027175911</c:v>
                </c:pt>
                <c:pt idx="108">
                  <c:v>0.97232317273390034</c:v>
                </c:pt>
                <c:pt idx="109">
                  <c:v>0.97334999248668441</c:v>
                </c:pt>
                <c:pt idx="110">
                  <c:v>0.9742905482493972</c:v>
                </c:pt>
                <c:pt idx="111">
                  <c:v>0.97521162504661008</c:v>
                </c:pt>
                <c:pt idx="112">
                  <c:v>0.97612157100639441</c:v>
                </c:pt>
                <c:pt idx="113">
                  <c:v>0.97689516420767886</c:v>
                </c:pt>
                <c:pt idx="114">
                  <c:v>0.97766875740896331</c:v>
                </c:pt>
                <c:pt idx="115">
                  <c:v>0.97843400248217638</c:v>
                </c:pt>
                <c:pt idx="116">
                  <c:v>0.97918533400860375</c:v>
                </c:pt>
                <c:pt idx="117">
                  <c:v>0.9799171865695312</c:v>
                </c:pt>
                <c:pt idx="118">
                  <c:v>0.98064903913045864</c:v>
                </c:pt>
                <c:pt idx="119">
                  <c:v>0.98136697814460039</c:v>
                </c:pt>
                <c:pt idx="120">
                  <c:v>0.98206265548388505</c:v>
                </c:pt>
                <c:pt idx="121">
                  <c:v>0.98274998469509822</c:v>
                </c:pt>
                <c:pt idx="122">
                  <c:v>0.98343453119695434</c:v>
                </c:pt>
                <c:pt idx="123">
                  <c:v>0.98409959873331043</c:v>
                </c:pt>
                <c:pt idx="124">
                  <c:v>0.98474240459480944</c:v>
                </c:pt>
                <c:pt idx="125">
                  <c:v>0.98537964503759412</c:v>
                </c:pt>
                <c:pt idx="126">
                  <c:v>0.98600018922423605</c:v>
                </c:pt>
                <c:pt idx="127">
                  <c:v>0.98661795070152081</c:v>
                </c:pt>
                <c:pt idx="128">
                  <c:v>0.98723292946944841</c:v>
                </c:pt>
                <c:pt idx="129">
                  <c:v>0.9878339946905903</c:v>
                </c:pt>
                <c:pt idx="130">
                  <c:v>0.98843227720237503</c:v>
                </c:pt>
                <c:pt idx="131">
                  <c:v>0.9889860363644456</c:v>
                </c:pt>
                <c:pt idx="132">
                  <c:v>0.98952866468908762</c:v>
                </c:pt>
                <c:pt idx="133">
                  <c:v>0.99005459675758678</c:v>
                </c:pt>
                <c:pt idx="134">
                  <c:v>0.99055548444187169</c:v>
                </c:pt>
                <c:pt idx="135">
                  <c:v>0.9910424585793709</c:v>
                </c:pt>
                <c:pt idx="136">
                  <c:v>0.99152943271687011</c:v>
                </c:pt>
                <c:pt idx="137">
                  <c:v>0.99200805872629794</c:v>
                </c:pt>
                <c:pt idx="138">
                  <c:v>0.99245607493279719</c:v>
                </c:pt>
                <c:pt idx="139">
                  <c:v>0.99286235049893945</c:v>
                </c:pt>
                <c:pt idx="140">
                  <c:v>0.99326862606508171</c:v>
                </c:pt>
                <c:pt idx="141">
                  <c:v>0.99366655350315247</c:v>
                </c:pt>
                <c:pt idx="142">
                  <c:v>0.99405056739443753</c:v>
                </c:pt>
                <c:pt idx="143">
                  <c:v>0.99442901586700838</c:v>
                </c:pt>
                <c:pt idx="144">
                  <c:v>0.99477963724600782</c:v>
                </c:pt>
                <c:pt idx="145">
                  <c:v>0.99512191049693588</c:v>
                </c:pt>
                <c:pt idx="146">
                  <c:v>0.99544748749172107</c:v>
                </c:pt>
                <c:pt idx="147">
                  <c:v>0.99575915093972056</c:v>
                </c:pt>
                <c:pt idx="148">
                  <c:v>0.99606524896900583</c:v>
                </c:pt>
                <c:pt idx="149">
                  <c:v>0.99636578157957678</c:v>
                </c:pt>
                <c:pt idx="150">
                  <c:v>0.99666353148079057</c:v>
                </c:pt>
                <c:pt idx="151">
                  <c:v>0.99694180241650443</c:v>
                </c:pt>
                <c:pt idx="152">
                  <c:v>0.99722007335221829</c:v>
                </c:pt>
                <c:pt idx="153">
                  <c:v>0.997495561578575</c:v>
                </c:pt>
                <c:pt idx="154">
                  <c:v>0.99775991896750316</c:v>
                </c:pt>
                <c:pt idx="155">
                  <c:v>0.99799644926285991</c:v>
                </c:pt>
                <c:pt idx="156">
                  <c:v>0.9982301968488595</c:v>
                </c:pt>
                <c:pt idx="157">
                  <c:v>0.99845837901614487</c:v>
                </c:pt>
                <c:pt idx="158">
                  <c:v>0.99866708221793021</c:v>
                </c:pt>
                <c:pt idx="159">
                  <c:v>0.99885352374485847</c:v>
                </c:pt>
                <c:pt idx="160">
                  <c:v>0.99902048630628681</c:v>
                </c:pt>
                <c:pt idx="161">
                  <c:v>0.99917910073964367</c:v>
                </c:pt>
                <c:pt idx="162">
                  <c:v>0.99933771517300052</c:v>
                </c:pt>
                <c:pt idx="163">
                  <c:v>0.99948241605957167</c:v>
                </c:pt>
                <c:pt idx="164">
                  <c:v>0.99960485527128573</c:v>
                </c:pt>
                <c:pt idx="165">
                  <c:v>0.99972172906428558</c:v>
                </c:pt>
                <c:pt idx="166">
                  <c:v>0.99982468931049973</c:v>
                </c:pt>
                <c:pt idx="167">
                  <c:v>0.99992208413799955</c:v>
                </c:pt>
                <c:pt idx="168">
                  <c:v>0.999999999999999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7</c:f>
              <c:strCache>
                <c:ptCount val="76"/>
                <c:pt idx="0">
                  <c:v>All Others</c:v>
                </c:pt>
                <c:pt idx="1">
                  <c:v>Bottega</c:v>
                </c:pt>
                <c:pt idx="2">
                  <c:v>Patriarche</c:v>
                </c:pt>
                <c:pt idx="3">
                  <c:v>Mure</c:v>
                </c:pt>
                <c:pt idx="4">
                  <c:v>Bouvet-Ladu</c:v>
                </c:pt>
                <c:pt idx="5">
                  <c:v>Savian</c:v>
                </c:pt>
                <c:pt idx="6">
                  <c:v>All Others</c:v>
                </c:pt>
                <c:pt idx="7">
                  <c:v>All Others</c:v>
                </c:pt>
                <c:pt idx="8">
                  <c:v>Patriarche</c:v>
                </c:pt>
                <c:pt idx="9">
                  <c:v>Chateau Mon</c:v>
                </c:pt>
                <c:pt idx="10">
                  <c:v>Kriter</c:v>
                </c:pt>
                <c:pt idx="11">
                  <c:v>All Others</c:v>
                </c:pt>
                <c:pt idx="12">
                  <c:v>All Others</c:v>
                </c:pt>
                <c:pt idx="13">
                  <c:v>Bottega</c:v>
                </c:pt>
                <c:pt idx="14">
                  <c:v>All Others</c:v>
                </c:pt>
                <c:pt idx="15">
                  <c:v>De Chanceny</c:v>
                </c:pt>
                <c:pt idx="16">
                  <c:v>Contarini</c:v>
                </c:pt>
                <c:pt idx="17">
                  <c:v>All Others</c:v>
                </c:pt>
                <c:pt idx="18">
                  <c:v>All Others</c:v>
                </c:pt>
                <c:pt idx="19">
                  <c:v>All Others</c:v>
                </c:pt>
                <c:pt idx="20">
                  <c:v>Cru La Maqu</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Contarini</c:v>
                </c:pt>
                <c:pt idx="32">
                  <c:v>All Others</c:v>
                </c:pt>
                <c:pt idx="33">
                  <c:v>All Others</c:v>
                </c:pt>
                <c:pt idx="34">
                  <c:v>All Others</c:v>
                </c:pt>
                <c:pt idx="35">
                  <c:v>Mure</c:v>
                </c:pt>
                <c:pt idx="36">
                  <c:v>All Others</c:v>
                </c:pt>
                <c:pt idx="37">
                  <c:v>All Others</c:v>
                </c:pt>
                <c:pt idx="38">
                  <c:v>All Others</c:v>
                </c:pt>
                <c:pt idx="39">
                  <c:v>All Others</c:v>
                </c:pt>
                <c:pt idx="40">
                  <c:v>All Others</c:v>
                </c:pt>
                <c:pt idx="41">
                  <c:v>All Others</c:v>
                </c:pt>
                <c:pt idx="42">
                  <c:v>All Others</c:v>
                </c:pt>
                <c:pt idx="43">
                  <c:v>All Others</c:v>
                </c:pt>
                <c:pt idx="44">
                  <c:v>Mure</c:v>
                </c:pt>
                <c:pt idx="45">
                  <c:v>All Others</c:v>
                </c:pt>
                <c:pt idx="46">
                  <c:v>All Others</c:v>
                </c:pt>
                <c:pt idx="47">
                  <c:v>Bouvet-Ladu</c:v>
                </c:pt>
                <c:pt idx="48">
                  <c:v>Bouvet-Ladu</c:v>
                </c:pt>
                <c:pt idx="49">
                  <c:v>All Others</c:v>
                </c:pt>
                <c:pt idx="50">
                  <c:v>All Others</c:v>
                </c:pt>
                <c:pt idx="51">
                  <c:v>Bottega</c:v>
                </c:pt>
                <c:pt idx="52">
                  <c:v>All Others</c:v>
                </c:pt>
                <c:pt idx="53">
                  <c:v>All Others</c:v>
                </c:pt>
                <c:pt idx="54">
                  <c:v>All Others</c:v>
                </c:pt>
                <c:pt idx="55">
                  <c:v>All Others</c:v>
                </c:pt>
                <c:pt idx="56">
                  <c:v>Bouvet-Ladu</c:v>
                </c:pt>
                <c:pt idx="57">
                  <c:v>All Others</c:v>
                </c:pt>
                <c:pt idx="58">
                  <c:v>All Others</c:v>
                </c:pt>
                <c:pt idx="59">
                  <c:v>Celene</c:v>
                </c:pt>
                <c:pt idx="60">
                  <c:v>All Others</c:v>
                </c:pt>
                <c:pt idx="61">
                  <c:v>Celene</c:v>
                </c:pt>
                <c:pt idx="62">
                  <c:v>Bouvet-Ladu</c:v>
                </c:pt>
                <c:pt idx="63">
                  <c:v>All Others</c:v>
                </c:pt>
                <c:pt idx="64">
                  <c:v>Jaillance</c:v>
                </c:pt>
                <c:pt idx="65">
                  <c:v>All Others</c:v>
                </c:pt>
                <c:pt idx="66">
                  <c:v>Bouvet-Ladu</c:v>
                </c:pt>
                <c:pt idx="67">
                  <c:v>All Others</c:v>
                </c:pt>
                <c:pt idx="68">
                  <c:v>All Others</c:v>
                </c:pt>
                <c:pt idx="69">
                  <c:v>All Others</c:v>
                </c:pt>
                <c:pt idx="70">
                  <c:v>All Others</c:v>
                </c:pt>
                <c:pt idx="71">
                  <c:v>All Others</c:v>
                </c:pt>
                <c:pt idx="72">
                  <c:v>All Others</c:v>
                </c:pt>
                <c:pt idx="73">
                  <c:v>Mure</c:v>
                </c:pt>
                <c:pt idx="74">
                  <c:v>Bottega</c:v>
                </c:pt>
                <c:pt idx="75">
                  <c:v>All Others</c:v>
                </c:pt>
              </c:strCache>
            </c:strRef>
          </c:cat>
          <c:val>
            <c:numRef>
              <c:f>Sheet1!$B$2:$B$77</c:f>
              <c:numCache>
                <c:formatCode>General</c:formatCode>
                <c:ptCount val="76"/>
                <c:pt idx="0">
                  <c:v>0.94</c:v>
                </c:pt>
                <c:pt idx="1">
                  <c:v>0.83</c:v>
                </c:pt>
                <c:pt idx="2">
                  <c:v>0.94</c:v>
                </c:pt>
                <c:pt idx="3">
                  <c:v>0.86</c:v>
                </c:pt>
                <c:pt idx="4">
                  <c:v>0.75</c:v>
                </c:pt>
                <c:pt idx="5">
                  <c:v>0.59</c:v>
                </c:pt>
                <c:pt idx="6">
                  <c:v>0.17</c:v>
                </c:pt>
                <c:pt idx="7">
                  <c:v>0.05</c:v>
                </c:pt>
                <c:pt idx="8">
                  <c:v>0.67</c:v>
                </c:pt>
                <c:pt idx="9">
                  <c:v>0.83</c:v>
                </c:pt>
                <c:pt idx="10">
                  <c:v>0.56000000000000005</c:v>
                </c:pt>
                <c:pt idx="11">
                  <c:v>0.42</c:v>
                </c:pt>
                <c:pt idx="12">
                  <c:v>0.14000000000000001</c:v>
                </c:pt>
                <c:pt idx="13">
                  <c:v>0.56000000000000005</c:v>
                </c:pt>
                <c:pt idx="14">
                  <c:v>0.05</c:v>
                </c:pt>
                <c:pt idx="15">
                  <c:v>0.52</c:v>
                </c:pt>
                <c:pt idx="16">
                  <c:v>0.66</c:v>
                </c:pt>
                <c:pt idx="17">
                  <c:v>0.04</c:v>
                </c:pt>
                <c:pt idx="18">
                  <c:v>0.46</c:v>
                </c:pt>
                <c:pt idx="19">
                  <c:v>7.0000000000000007E-2</c:v>
                </c:pt>
                <c:pt idx="20">
                  <c:v>0.36</c:v>
                </c:pt>
                <c:pt idx="21">
                  <c:v>0.34</c:v>
                </c:pt>
                <c:pt idx="22">
                  <c:v>0.09</c:v>
                </c:pt>
                <c:pt idx="23">
                  <c:v>0.04</c:v>
                </c:pt>
                <c:pt idx="24">
                  <c:v>0.05</c:v>
                </c:pt>
                <c:pt idx="25">
                  <c:v>0.4</c:v>
                </c:pt>
                <c:pt idx="26">
                  <c:v>0.36</c:v>
                </c:pt>
                <c:pt idx="27">
                  <c:v>0.23</c:v>
                </c:pt>
                <c:pt idx="28">
                  <c:v>0.21</c:v>
                </c:pt>
                <c:pt idx="29">
                  <c:v>0.1</c:v>
                </c:pt>
                <c:pt idx="30">
                  <c:v>0.27</c:v>
                </c:pt>
                <c:pt idx="31">
                  <c:v>0.22</c:v>
                </c:pt>
                <c:pt idx="32">
                  <c:v>0.03</c:v>
                </c:pt>
                <c:pt idx="33">
                  <c:v>0.23</c:v>
                </c:pt>
                <c:pt idx="34">
                  <c:v>0.15</c:v>
                </c:pt>
                <c:pt idx="35">
                  <c:v>0.04</c:v>
                </c:pt>
                <c:pt idx="36">
                  <c:v>0.15</c:v>
                </c:pt>
                <c:pt idx="37">
                  <c:v>0.04</c:v>
                </c:pt>
                <c:pt idx="38">
                  <c:v>0.09</c:v>
                </c:pt>
                <c:pt idx="39">
                  <c:v>0.08</c:v>
                </c:pt>
                <c:pt idx="40">
                  <c:v>0.15</c:v>
                </c:pt>
                <c:pt idx="41">
                  <c:v>0.11</c:v>
                </c:pt>
                <c:pt idx="42">
                  <c:v>0.08</c:v>
                </c:pt>
                <c:pt idx="43">
                  <c:v>0.2</c:v>
                </c:pt>
                <c:pt idx="44">
                  <c:v>0.03</c:v>
                </c:pt>
                <c:pt idx="45">
                  <c:v>0.39</c:v>
                </c:pt>
                <c:pt idx="46">
                  <c:v>0.09</c:v>
                </c:pt>
                <c:pt idx="47">
                  <c:v>0.21</c:v>
                </c:pt>
                <c:pt idx="48">
                  <c:v>0.15</c:v>
                </c:pt>
                <c:pt idx="49">
                  <c:v>0.11</c:v>
                </c:pt>
                <c:pt idx="50">
                  <c:v>0.16</c:v>
                </c:pt>
                <c:pt idx="51">
                  <c:v>0.24</c:v>
                </c:pt>
                <c:pt idx="52">
                  <c:v>7.0000000000000007E-2</c:v>
                </c:pt>
                <c:pt idx="53">
                  <c:v>0.11</c:v>
                </c:pt>
                <c:pt idx="54">
                  <c:v>0.04</c:v>
                </c:pt>
                <c:pt idx="55">
                  <c:v>0.06</c:v>
                </c:pt>
                <c:pt idx="56">
                  <c:v>0.24</c:v>
                </c:pt>
                <c:pt idx="57">
                  <c:v>0.05</c:v>
                </c:pt>
                <c:pt idx="58">
                  <c:v>0.17</c:v>
                </c:pt>
                <c:pt idx="59">
                  <c:v>7.0000000000000007E-2</c:v>
                </c:pt>
                <c:pt idx="60">
                  <c:v>0.21</c:v>
                </c:pt>
                <c:pt idx="61">
                  <c:v>0.12</c:v>
                </c:pt>
                <c:pt idx="62">
                  <c:v>0.05</c:v>
                </c:pt>
                <c:pt idx="63">
                  <c:v>0.02</c:v>
                </c:pt>
                <c:pt idx="64">
                  <c:v>0.09</c:v>
                </c:pt>
                <c:pt idx="65">
                  <c:v>0.04</c:v>
                </c:pt>
                <c:pt idx="66">
                  <c:v>0.03</c:v>
                </c:pt>
                <c:pt idx="67">
                  <c:v>0.12</c:v>
                </c:pt>
                <c:pt idx="68">
                  <c:v>0.05</c:v>
                </c:pt>
                <c:pt idx="69">
                  <c:v>0.16</c:v>
                </c:pt>
                <c:pt idx="70">
                  <c:v>0.05</c:v>
                </c:pt>
                <c:pt idx="71">
                  <c:v>0.02</c:v>
                </c:pt>
                <c:pt idx="72">
                  <c:v>0.01</c:v>
                </c:pt>
                <c:pt idx="73">
                  <c:v>0.03</c:v>
                </c:pt>
                <c:pt idx="74">
                  <c:v>0.01</c:v>
                </c:pt>
                <c:pt idx="7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7</c:f>
              <c:strCache>
                <c:ptCount val="76"/>
                <c:pt idx="0">
                  <c:v>All Others</c:v>
                </c:pt>
                <c:pt idx="1">
                  <c:v>Bottega</c:v>
                </c:pt>
                <c:pt idx="2">
                  <c:v>Patriarche</c:v>
                </c:pt>
                <c:pt idx="3">
                  <c:v>Mure</c:v>
                </c:pt>
                <c:pt idx="4">
                  <c:v>Bouvet-Ladu</c:v>
                </c:pt>
                <c:pt idx="5">
                  <c:v>Savian</c:v>
                </c:pt>
                <c:pt idx="6">
                  <c:v>All Others</c:v>
                </c:pt>
                <c:pt idx="7">
                  <c:v>All Others</c:v>
                </c:pt>
                <c:pt idx="8">
                  <c:v>Patriarche</c:v>
                </c:pt>
                <c:pt idx="9">
                  <c:v>Chateau Mon</c:v>
                </c:pt>
                <c:pt idx="10">
                  <c:v>Kriter</c:v>
                </c:pt>
                <c:pt idx="11">
                  <c:v>All Others</c:v>
                </c:pt>
                <c:pt idx="12">
                  <c:v>All Others</c:v>
                </c:pt>
                <c:pt idx="13">
                  <c:v>Bottega</c:v>
                </c:pt>
                <c:pt idx="14">
                  <c:v>All Others</c:v>
                </c:pt>
                <c:pt idx="15">
                  <c:v>De Chanceny</c:v>
                </c:pt>
                <c:pt idx="16">
                  <c:v>Contarini</c:v>
                </c:pt>
                <c:pt idx="17">
                  <c:v>All Others</c:v>
                </c:pt>
                <c:pt idx="18">
                  <c:v>All Others</c:v>
                </c:pt>
                <c:pt idx="19">
                  <c:v>All Others</c:v>
                </c:pt>
                <c:pt idx="20">
                  <c:v>Cru La Maqu</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Contarini</c:v>
                </c:pt>
                <c:pt idx="32">
                  <c:v>All Others</c:v>
                </c:pt>
                <c:pt idx="33">
                  <c:v>All Others</c:v>
                </c:pt>
                <c:pt idx="34">
                  <c:v>All Others</c:v>
                </c:pt>
                <c:pt idx="35">
                  <c:v>Mure</c:v>
                </c:pt>
                <c:pt idx="36">
                  <c:v>All Others</c:v>
                </c:pt>
                <c:pt idx="37">
                  <c:v>All Others</c:v>
                </c:pt>
                <c:pt idx="38">
                  <c:v>All Others</c:v>
                </c:pt>
                <c:pt idx="39">
                  <c:v>All Others</c:v>
                </c:pt>
                <c:pt idx="40">
                  <c:v>All Others</c:v>
                </c:pt>
                <c:pt idx="41">
                  <c:v>All Others</c:v>
                </c:pt>
                <c:pt idx="42">
                  <c:v>All Others</c:v>
                </c:pt>
                <c:pt idx="43">
                  <c:v>All Others</c:v>
                </c:pt>
                <c:pt idx="44">
                  <c:v>Mure</c:v>
                </c:pt>
                <c:pt idx="45">
                  <c:v>All Others</c:v>
                </c:pt>
                <c:pt idx="46">
                  <c:v>All Others</c:v>
                </c:pt>
                <c:pt idx="47">
                  <c:v>Bouvet-Ladu</c:v>
                </c:pt>
                <c:pt idx="48">
                  <c:v>Bouvet-Ladu</c:v>
                </c:pt>
                <c:pt idx="49">
                  <c:v>All Others</c:v>
                </c:pt>
                <c:pt idx="50">
                  <c:v>All Others</c:v>
                </c:pt>
                <c:pt idx="51">
                  <c:v>Bottega</c:v>
                </c:pt>
                <c:pt idx="52">
                  <c:v>All Others</c:v>
                </c:pt>
                <c:pt idx="53">
                  <c:v>All Others</c:v>
                </c:pt>
                <c:pt idx="54">
                  <c:v>All Others</c:v>
                </c:pt>
                <c:pt idx="55">
                  <c:v>All Others</c:v>
                </c:pt>
                <c:pt idx="56">
                  <c:v>Bouvet-Ladu</c:v>
                </c:pt>
                <c:pt idx="57">
                  <c:v>All Others</c:v>
                </c:pt>
                <c:pt idx="58">
                  <c:v>All Others</c:v>
                </c:pt>
                <c:pt idx="59">
                  <c:v>Celene</c:v>
                </c:pt>
                <c:pt idx="60">
                  <c:v>All Others</c:v>
                </c:pt>
                <c:pt idx="61">
                  <c:v>Celene</c:v>
                </c:pt>
                <c:pt idx="62">
                  <c:v>Bouvet-Ladu</c:v>
                </c:pt>
                <c:pt idx="63">
                  <c:v>All Others</c:v>
                </c:pt>
                <c:pt idx="64">
                  <c:v>Jaillance</c:v>
                </c:pt>
                <c:pt idx="65">
                  <c:v>All Others</c:v>
                </c:pt>
                <c:pt idx="66">
                  <c:v>Bouvet-Ladu</c:v>
                </c:pt>
                <c:pt idx="67">
                  <c:v>All Others</c:v>
                </c:pt>
                <c:pt idx="68">
                  <c:v>All Others</c:v>
                </c:pt>
                <c:pt idx="69">
                  <c:v>All Others</c:v>
                </c:pt>
                <c:pt idx="70">
                  <c:v>All Others</c:v>
                </c:pt>
                <c:pt idx="71">
                  <c:v>All Others</c:v>
                </c:pt>
                <c:pt idx="72">
                  <c:v>All Others</c:v>
                </c:pt>
                <c:pt idx="73">
                  <c:v>Mure</c:v>
                </c:pt>
                <c:pt idx="74">
                  <c:v>Bottega</c:v>
                </c:pt>
                <c:pt idx="75">
                  <c:v>All Others</c:v>
                </c:pt>
              </c:strCache>
            </c:strRef>
          </c:cat>
          <c:val>
            <c:numRef>
              <c:f>Sheet1!$C$2:$C$77</c:f>
              <c:numCache>
                <c:formatCode>General</c:formatCode>
                <c:ptCount val="76"/>
                <c:pt idx="0">
                  <c:v>0.12944166215820482</c:v>
                </c:pt>
                <c:pt idx="1">
                  <c:v>0.2248688409861371</c:v>
                </c:pt>
                <c:pt idx="2">
                  <c:v>0.31192268939262335</c:v>
                </c:pt>
                <c:pt idx="3">
                  <c:v>0.38757550639539795</c:v>
                </c:pt>
                <c:pt idx="4">
                  <c:v>0.44842733269470358</c:v>
                </c:pt>
                <c:pt idx="5">
                  <c:v>0.49224461838559019</c:v>
                </c:pt>
                <c:pt idx="6">
                  <c:v>0.53557548654162102</c:v>
                </c:pt>
                <c:pt idx="7">
                  <c:v>0.57590843438078554</c:v>
                </c:pt>
                <c:pt idx="8">
                  <c:v>0.61258828726429848</c:v>
                </c:pt>
                <c:pt idx="9">
                  <c:v>0.6472430549006567</c:v>
                </c:pt>
                <c:pt idx="10">
                  <c:v>0.67990251795525958</c:v>
                </c:pt>
                <c:pt idx="11">
                  <c:v>0.70489345966953398</c:v>
                </c:pt>
                <c:pt idx="12">
                  <c:v>0.72654896685908299</c:v>
                </c:pt>
                <c:pt idx="13">
                  <c:v>0.74633821901694042</c:v>
                </c:pt>
                <c:pt idx="14">
                  <c:v>0.76381946960634939</c:v>
                </c:pt>
                <c:pt idx="15">
                  <c:v>0.77995562680855512</c:v>
                </c:pt>
                <c:pt idx="16">
                  <c:v>0.79430990753103403</c:v>
                </c:pt>
                <c:pt idx="17">
                  <c:v>0.80637107701776423</c:v>
                </c:pt>
                <c:pt idx="18">
                  <c:v>0.81729561777508652</c:v>
                </c:pt>
                <c:pt idx="19">
                  <c:v>0.82792731532264874</c:v>
                </c:pt>
                <c:pt idx="20">
                  <c:v>0.83822149866235185</c:v>
                </c:pt>
                <c:pt idx="21">
                  <c:v>0.8478753976959692</c:v>
                </c:pt>
                <c:pt idx="22">
                  <c:v>0.85716696530056136</c:v>
                </c:pt>
                <c:pt idx="23">
                  <c:v>0.86645356946092034</c:v>
                </c:pt>
                <c:pt idx="24">
                  <c:v>0.87562105095968201</c:v>
                </c:pt>
                <c:pt idx="25">
                  <c:v>0.88370153817136798</c:v>
                </c:pt>
                <c:pt idx="26">
                  <c:v>0.89159341450219143</c:v>
                </c:pt>
                <c:pt idx="27">
                  <c:v>0.89921230140018771</c:v>
                </c:pt>
                <c:pt idx="28">
                  <c:v>0.90596754900160326</c:v>
                </c:pt>
                <c:pt idx="29">
                  <c:v>0.91225623284509594</c:v>
                </c:pt>
                <c:pt idx="30">
                  <c:v>0.91771602150164044</c:v>
                </c:pt>
                <c:pt idx="31">
                  <c:v>0.9223171343058375</c:v>
                </c:pt>
                <c:pt idx="32">
                  <c:v>0.92675445345033824</c:v>
                </c:pt>
                <c:pt idx="33">
                  <c:v>0.93103294237937584</c:v>
                </c:pt>
                <c:pt idx="34">
                  <c:v>0.93514763764871711</c:v>
                </c:pt>
                <c:pt idx="35">
                  <c:v>0.93925736947382521</c:v>
                </c:pt>
                <c:pt idx="36">
                  <c:v>0.94328768619120174</c:v>
                </c:pt>
                <c:pt idx="37">
                  <c:v>0.94728822224317888</c:v>
                </c:pt>
                <c:pt idx="38">
                  <c:v>0.95125897762975675</c:v>
                </c:pt>
                <c:pt idx="39">
                  <c:v>0.95491207258540833</c:v>
                </c:pt>
                <c:pt idx="40">
                  <c:v>0.95852049654296101</c:v>
                </c:pt>
                <c:pt idx="41">
                  <c:v>0.96198994406198346</c:v>
                </c:pt>
                <c:pt idx="42">
                  <c:v>0.96536508614057459</c:v>
                </c:pt>
                <c:pt idx="43">
                  <c:v>0.96790636958798437</c:v>
                </c:pt>
                <c:pt idx="44">
                  <c:v>0.97020444426796626</c:v>
                </c:pt>
                <c:pt idx="45">
                  <c:v>0.97225434673628708</c:v>
                </c:pt>
                <c:pt idx="46">
                  <c:v>0.9741106748795122</c:v>
                </c:pt>
                <c:pt idx="47">
                  <c:v>0.97596700302273731</c:v>
                </c:pt>
                <c:pt idx="48">
                  <c:v>0.97771909883706476</c:v>
                </c:pt>
                <c:pt idx="49">
                  <c:v>0.97946623120715903</c:v>
                </c:pt>
                <c:pt idx="50">
                  <c:v>0.98120343668878685</c:v>
                </c:pt>
                <c:pt idx="51">
                  <c:v>0.98283144639728381</c:v>
                </c:pt>
                <c:pt idx="52">
                  <c:v>0.98435522377688311</c:v>
                </c:pt>
                <c:pt idx="53">
                  <c:v>0.98586411082378267</c:v>
                </c:pt>
                <c:pt idx="54">
                  <c:v>0.98736803442644905</c:v>
                </c:pt>
                <c:pt idx="55">
                  <c:v>0.98878261603291739</c:v>
                </c:pt>
                <c:pt idx="56">
                  <c:v>0.99017734386245282</c:v>
                </c:pt>
                <c:pt idx="57">
                  <c:v>0.99153236413812251</c:v>
                </c:pt>
                <c:pt idx="58">
                  <c:v>0.99281789619452709</c:v>
                </c:pt>
                <c:pt idx="59">
                  <c:v>0.99378080437577221</c:v>
                </c:pt>
                <c:pt idx="60">
                  <c:v>0.99473874911278415</c:v>
                </c:pt>
                <c:pt idx="61">
                  <c:v>0.99565698629593025</c:v>
                </c:pt>
                <c:pt idx="62">
                  <c:v>0.99657026003484317</c:v>
                </c:pt>
                <c:pt idx="63">
                  <c:v>0.99727010567172747</c:v>
                </c:pt>
                <c:pt idx="64">
                  <c:v>0.99776645009504972</c:v>
                </c:pt>
                <c:pt idx="65">
                  <c:v>0.99825783107413868</c:v>
                </c:pt>
                <c:pt idx="66">
                  <c:v>0.9986151990589307</c:v>
                </c:pt>
                <c:pt idx="67">
                  <c:v>0.99896264015525627</c:v>
                </c:pt>
                <c:pt idx="68">
                  <c:v>0.99929022747464891</c:v>
                </c:pt>
                <c:pt idx="69">
                  <c:v>0.99948380179974461</c:v>
                </c:pt>
                <c:pt idx="70">
                  <c:v>0.99964263201520775</c:v>
                </c:pt>
                <c:pt idx="71">
                  <c:v>0.99973693745563896</c:v>
                </c:pt>
                <c:pt idx="72">
                  <c:v>0.99982131600760371</c:v>
                </c:pt>
                <c:pt idx="73">
                  <c:v>0.999895767671102</c:v>
                </c:pt>
                <c:pt idx="74">
                  <c:v>0.99995532900190065</c:v>
                </c:pt>
                <c:pt idx="75">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2</c:f>
              <c:strCache>
                <c:ptCount val="61"/>
                <c:pt idx="0">
                  <c:v>All Others</c:v>
                </c:pt>
                <c:pt idx="1">
                  <c:v>Bottega</c:v>
                </c:pt>
                <c:pt idx="2">
                  <c:v>Patriarche</c:v>
                </c:pt>
                <c:pt idx="3">
                  <c:v>Bouvet-Ladu</c:v>
                </c:pt>
                <c:pt idx="4">
                  <c:v>All Others</c:v>
                </c:pt>
                <c:pt idx="5">
                  <c:v>Mure</c:v>
                </c:pt>
                <c:pt idx="6">
                  <c:v>Savian</c:v>
                </c:pt>
                <c:pt idx="7">
                  <c:v>Chateau Mon</c:v>
                </c:pt>
                <c:pt idx="8">
                  <c:v>All Others</c:v>
                </c:pt>
                <c:pt idx="9">
                  <c:v>Kriter</c:v>
                </c:pt>
                <c:pt idx="10">
                  <c:v>All Others</c:v>
                </c:pt>
                <c:pt idx="11">
                  <c:v>All Others</c:v>
                </c:pt>
                <c:pt idx="12">
                  <c:v>Contarini</c:v>
                </c:pt>
                <c:pt idx="13">
                  <c:v>Patriarche</c:v>
                </c:pt>
                <c:pt idx="14">
                  <c:v>All Others</c:v>
                </c:pt>
                <c:pt idx="15">
                  <c:v>All Others</c:v>
                </c:pt>
                <c:pt idx="16">
                  <c:v>De Chanceny</c:v>
                </c:pt>
                <c:pt idx="17">
                  <c:v>Bottega</c:v>
                </c:pt>
                <c:pt idx="18">
                  <c:v>All Others</c:v>
                </c:pt>
                <c:pt idx="19">
                  <c:v>All Others</c:v>
                </c:pt>
                <c:pt idx="20">
                  <c:v>All Others</c:v>
                </c:pt>
                <c:pt idx="21">
                  <c:v>All Others</c:v>
                </c:pt>
                <c:pt idx="22">
                  <c:v>Bouvet-Ladu</c:v>
                </c:pt>
                <c:pt idx="23">
                  <c:v>All Others</c:v>
                </c:pt>
                <c:pt idx="24">
                  <c:v>All Others</c:v>
                </c:pt>
                <c:pt idx="25">
                  <c:v>Cru La Maqu</c:v>
                </c:pt>
                <c:pt idx="26">
                  <c:v>Contarini</c:v>
                </c:pt>
                <c:pt idx="27">
                  <c:v>All Others</c:v>
                </c:pt>
                <c:pt idx="28">
                  <c:v>All Others</c:v>
                </c:pt>
                <c:pt idx="29">
                  <c:v>All Others</c:v>
                </c:pt>
                <c:pt idx="30">
                  <c:v>All Others</c:v>
                </c:pt>
                <c:pt idx="31">
                  <c:v>All Others</c:v>
                </c:pt>
                <c:pt idx="32">
                  <c:v>All Others</c:v>
                </c:pt>
                <c:pt idx="33">
                  <c:v>Bottega</c:v>
                </c:pt>
                <c:pt idx="34">
                  <c:v>Bouvet-Ladu</c:v>
                </c:pt>
                <c:pt idx="35">
                  <c:v>All Others</c:v>
                </c:pt>
                <c:pt idx="36">
                  <c:v>All Others</c:v>
                </c:pt>
                <c:pt idx="37">
                  <c:v>All Others</c:v>
                </c:pt>
                <c:pt idx="38">
                  <c:v>All Others</c:v>
                </c:pt>
                <c:pt idx="39">
                  <c:v>Bouvet-Ladu</c:v>
                </c:pt>
                <c:pt idx="40">
                  <c:v>All Others</c:v>
                </c:pt>
                <c:pt idx="41">
                  <c:v>Celene</c:v>
                </c:pt>
                <c:pt idx="42">
                  <c:v>Jaillance</c:v>
                </c:pt>
                <c:pt idx="43">
                  <c:v>All Others</c:v>
                </c:pt>
                <c:pt idx="44">
                  <c:v>Bouvet-Ladu</c:v>
                </c:pt>
                <c:pt idx="45">
                  <c:v>Celene</c:v>
                </c:pt>
                <c:pt idx="46">
                  <c:v>All Others</c:v>
                </c:pt>
                <c:pt idx="47">
                  <c:v>All Others</c:v>
                </c:pt>
                <c:pt idx="48">
                  <c:v>All Others</c:v>
                </c:pt>
                <c:pt idx="49">
                  <c:v>All Others</c:v>
                </c:pt>
                <c:pt idx="50">
                  <c:v>Bottega</c:v>
                </c:pt>
                <c:pt idx="51">
                  <c:v>All Others</c:v>
                </c:pt>
                <c:pt idx="52">
                  <c:v>Bouvet-Ladu</c:v>
                </c:pt>
                <c:pt idx="53">
                  <c:v>All Others</c:v>
                </c:pt>
                <c:pt idx="54">
                  <c:v>All Others</c:v>
                </c:pt>
                <c:pt idx="55">
                  <c:v>All Others</c:v>
                </c:pt>
                <c:pt idx="56">
                  <c:v>All Others</c:v>
                </c:pt>
                <c:pt idx="57">
                  <c:v>All Others</c:v>
                </c:pt>
                <c:pt idx="58">
                  <c:v>All Others</c:v>
                </c:pt>
                <c:pt idx="59">
                  <c:v>All Others</c:v>
                </c:pt>
                <c:pt idx="60">
                  <c:v>All Others</c:v>
                </c:pt>
              </c:strCache>
            </c:strRef>
          </c:cat>
          <c:val>
            <c:numRef>
              <c:f>Sheet1!$B$2:$B$62</c:f>
              <c:numCache>
                <c:formatCode>General</c:formatCode>
                <c:ptCount val="61"/>
                <c:pt idx="0">
                  <c:v>0.91</c:v>
                </c:pt>
                <c:pt idx="1">
                  <c:v>0.77</c:v>
                </c:pt>
                <c:pt idx="2">
                  <c:v>0.79</c:v>
                </c:pt>
                <c:pt idx="3">
                  <c:v>0.55000000000000004</c:v>
                </c:pt>
                <c:pt idx="4">
                  <c:v>0.09</c:v>
                </c:pt>
                <c:pt idx="5">
                  <c:v>0.66</c:v>
                </c:pt>
                <c:pt idx="6">
                  <c:v>0.7</c:v>
                </c:pt>
                <c:pt idx="7">
                  <c:v>0.59</c:v>
                </c:pt>
                <c:pt idx="8">
                  <c:v>0.49</c:v>
                </c:pt>
                <c:pt idx="9">
                  <c:v>0.53</c:v>
                </c:pt>
                <c:pt idx="10">
                  <c:v>0.13</c:v>
                </c:pt>
                <c:pt idx="11">
                  <c:v>0.11</c:v>
                </c:pt>
                <c:pt idx="12">
                  <c:v>0.92</c:v>
                </c:pt>
                <c:pt idx="13">
                  <c:v>0.56000000000000005</c:v>
                </c:pt>
                <c:pt idx="14">
                  <c:v>0.23</c:v>
                </c:pt>
                <c:pt idx="15">
                  <c:v>0.21</c:v>
                </c:pt>
                <c:pt idx="16">
                  <c:v>0.37</c:v>
                </c:pt>
                <c:pt idx="17">
                  <c:v>0.59</c:v>
                </c:pt>
                <c:pt idx="18">
                  <c:v>0.16</c:v>
                </c:pt>
                <c:pt idx="19">
                  <c:v>0.41</c:v>
                </c:pt>
                <c:pt idx="20">
                  <c:v>0.39</c:v>
                </c:pt>
                <c:pt idx="21">
                  <c:v>0.35</c:v>
                </c:pt>
                <c:pt idx="22">
                  <c:v>0.28000000000000003</c:v>
                </c:pt>
                <c:pt idx="23">
                  <c:v>0.06</c:v>
                </c:pt>
                <c:pt idx="24">
                  <c:v>0.28000000000000003</c:v>
                </c:pt>
                <c:pt idx="25">
                  <c:v>0.43</c:v>
                </c:pt>
                <c:pt idx="26">
                  <c:v>0.24</c:v>
                </c:pt>
                <c:pt idx="27">
                  <c:v>0.21</c:v>
                </c:pt>
                <c:pt idx="28">
                  <c:v>0.09</c:v>
                </c:pt>
                <c:pt idx="29">
                  <c:v>0.2</c:v>
                </c:pt>
                <c:pt idx="30">
                  <c:v>0.15</c:v>
                </c:pt>
                <c:pt idx="31">
                  <c:v>0.1</c:v>
                </c:pt>
                <c:pt idx="32">
                  <c:v>0.16</c:v>
                </c:pt>
                <c:pt idx="33">
                  <c:v>0.22</c:v>
                </c:pt>
                <c:pt idx="34">
                  <c:v>0.1</c:v>
                </c:pt>
                <c:pt idx="35">
                  <c:v>0.05</c:v>
                </c:pt>
                <c:pt idx="36">
                  <c:v>0.04</c:v>
                </c:pt>
                <c:pt idx="37">
                  <c:v>0.2</c:v>
                </c:pt>
                <c:pt idx="38">
                  <c:v>0.11</c:v>
                </c:pt>
                <c:pt idx="39">
                  <c:v>7.0000000000000007E-2</c:v>
                </c:pt>
                <c:pt idx="40">
                  <c:v>0.04</c:v>
                </c:pt>
                <c:pt idx="41">
                  <c:v>0.13</c:v>
                </c:pt>
                <c:pt idx="42">
                  <c:v>0.21</c:v>
                </c:pt>
                <c:pt idx="43">
                  <c:v>0.1</c:v>
                </c:pt>
                <c:pt idx="44">
                  <c:v>0.17</c:v>
                </c:pt>
                <c:pt idx="45">
                  <c:v>0.33</c:v>
                </c:pt>
                <c:pt idx="46">
                  <c:v>0.17</c:v>
                </c:pt>
                <c:pt idx="47">
                  <c:v>0.03</c:v>
                </c:pt>
                <c:pt idx="48">
                  <c:v>0.16</c:v>
                </c:pt>
                <c:pt idx="49">
                  <c:v>0.1</c:v>
                </c:pt>
                <c:pt idx="50">
                  <c:v>0.04</c:v>
                </c:pt>
                <c:pt idx="51">
                  <c:v>0.09</c:v>
                </c:pt>
                <c:pt idx="52">
                  <c:v>0.05</c:v>
                </c:pt>
                <c:pt idx="53">
                  <c:v>0.1</c:v>
                </c:pt>
                <c:pt idx="54">
                  <c:v>0.06</c:v>
                </c:pt>
                <c:pt idx="55">
                  <c:v>0.03</c:v>
                </c:pt>
                <c:pt idx="56">
                  <c:v>0.02</c:v>
                </c:pt>
                <c:pt idx="57">
                  <c:v>0.11</c:v>
                </c:pt>
                <c:pt idx="58">
                  <c:v>0.03</c:v>
                </c:pt>
                <c:pt idx="59">
                  <c:v>0.05</c:v>
                </c:pt>
                <c:pt idx="60">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2</c:f>
              <c:strCache>
                <c:ptCount val="61"/>
                <c:pt idx="0">
                  <c:v>All Others</c:v>
                </c:pt>
                <c:pt idx="1">
                  <c:v>Bottega</c:v>
                </c:pt>
                <c:pt idx="2">
                  <c:v>Patriarche</c:v>
                </c:pt>
                <c:pt idx="3">
                  <c:v>Bouvet-Ladu</c:v>
                </c:pt>
                <c:pt idx="4">
                  <c:v>All Others</c:v>
                </c:pt>
                <c:pt idx="5">
                  <c:v>Mure</c:v>
                </c:pt>
                <c:pt idx="6">
                  <c:v>Savian</c:v>
                </c:pt>
                <c:pt idx="7">
                  <c:v>Chateau Mon</c:v>
                </c:pt>
                <c:pt idx="8">
                  <c:v>All Others</c:v>
                </c:pt>
                <c:pt idx="9">
                  <c:v>Kriter</c:v>
                </c:pt>
                <c:pt idx="10">
                  <c:v>All Others</c:v>
                </c:pt>
                <c:pt idx="11">
                  <c:v>All Others</c:v>
                </c:pt>
                <c:pt idx="12">
                  <c:v>Contarini</c:v>
                </c:pt>
                <c:pt idx="13">
                  <c:v>Patriarche</c:v>
                </c:pt>
                <c:pt idx="14">
                  <c:v>All Others</c:v>
                </c:pt>
                <c:pt idx="15">
                  <c:v>All Others</c:v>
                </c:pt>
                <c:pt idx="16">
                  <c:v>De Chanceny</c:v>
                </c:pt>
                <c:pt idx="17">
                  <c:v>Bottega</c:v>
                </c:pt>
                <c:pt idx="18">
                  <c:v>All Others</c:v>
                </c:pt>
                <c:pt idx="19">
                  <c:v>All Others</c:v>
                </c:pt>
                <c:pt idx="20">
                  <c:v>All Others</c:v>
                </c:pt>
                <c:pt idx="21">
                  <c:v>All Others</c:v>
                </c:pt>
                <c:pt idx="22">
                  <c:v>Bouvet-Ladu</c:v>
                </c:pt>
                <c:pt idx="23">
                  <c:v>All Others</c:v>
                </c:pt>
                <c:pt idx="24">
                  <c:v>All Others</c:v>
                </c:pt>
                <c:pt idx="25">
                  <c:v>Cru La Maqu</c:v>
                </c:pt>
                <c:pt idx="26">
                  <c:v>Contarini</c:v>
                </c:pt>
                <c:pt idx="27">
                  <c:v>All Others</c:v>
                </c:pt>
                <c:pt idx="28">
                  <c:v>All Others</c:v>
                </c:pt>
                <c:pt idx="29">
                  <c:v>All Others</c:v>
                </c:pt>
                <c:pt idx="30">
                  <c:v>All Others</c:v>
                </c:pt>
                <c:pt idx="31">
                  <c:v>All Others</c:v>
                </c:pt>
                <c:pt idx="32">
                  <c:v>All Others</c:v>
                </c:pt>
                <c:pt idx="33">
                  <c:v>Bottega</c:v>
                </c:pt>
                <c:pt idx="34">
                  <c:v>Bouvet-Ladu</c:v>
                </c:pt>
                <c:pt idx="35">
                  <c:v>All Others</c:v>
                </c:pt>
                <c:pt idx="36">
                  <c:v>All Others</c:v>
                </c:pt>
                <c:pt idx="37">
                  <c:v>All Others</c:v>
                </c:pt>
                <c:pt idx="38">
                  <c:v>All Others</c:v>
                </c:pt>
                <c:pt idx="39">
                  <c:v>Bouvet-Ladu</c:v>
                </c:pt>
                <c:pt idx="40">
                  <c:v>All Others</c:v>
                </c:pt>
                <c:pt idx="41">
                  <c:v>Celene</c:v>
                </c:pt>
                <c:pt idx="42">
                  <c:v>Jaillance</c:v>
                </c:pt>
                <c:pt idx="43">
                  <c:v>All Others</c:v>
                </c:pt>
                <c:pt idx="44">
                  <c:v>Bouvet-Ladu</c:v>
                </c:pt>
                <c:pt idx="45">
                  <c:v>Celene</c:v>
                </c:pt>
                <c:pt idx="46">
                  <c:v>All Others</c:v>
                </c:pt>
                <c:pt idx="47">
                  <c:v>All Others</c:v>
                </c:pt>
                <c:pt idx="48">
                  <c:v>All Others</c:v>
                </c:pt>
                <c:pt idx="49">
                  <c:v>All Others</c:v>
                </c:pt>
                <c:pt idx="50">
                  <c:v>Bottega</c:v>
                </c:pt>
                <c:pt idx="51">
                  <c:v>All Others</c:v>
                </c:pt>
                <c:pt idx="52">
                  <c:v>Bouvet-Ladu</c:v>
                </c:pt>
                <c:pt idx="53">
                  <c:v>All Others</c:v>
                </c:pt>
                <c:pt idx="54">
                  <c:v>All Others</c:v>
                </c:pt>
                <c:pt idx="55">
                  <c:v>All Others</c:v>
                </c:pt>
                <c:pt idx="56">
                  <c:v>All Others</c:v>
                </c:pt>
                <c:pt idx="57">
                  <c:v>All Others</c:v>
                </c:pt>
                <c:pt idx="58">
                  <c:v>All Others</c:v>
                </c:pt>
                <c:pt idx="59">
                  <c:v>All Others</c:v>
                </c:pt>
                <c:pt idx="60">
                  <c:v>All Others</c:v>
                </c:pt>
              </c:strCache>
            </c:strRef>
          </c:cat>
          <c:val>
            <c:numRef>
              <c:f>Sheet1!$C$2:$C$62</c:f>
              <c:numCache>
                <c:formatCode>General</c:formatCode>
                <c:ptCount val="61"/>
                <c:pt idx="0">
                  <c:v>0.17049828429837199</c:v>
                </c:pt>
                <c:pt idx="1">
                  <c:v>0.28644212900127375</c:v>
                </c:pt>
                <c:pt idx="2">
                  <c:v>0.37195576065092262</c:v>
                </c:pt>
                <c:pt idx="3">
                  <c:v>0.44255357652446881</c:v>
                </c:pt>
                <c:pt idx="4">
                  <c:v>0.50798688688897708</c:v>
                </c:pt>
                <c:pt idx="5">
                  <c:v>0.56728821699275445</c:v>
                </c:pt>
                <c:pt idx="6">
                  <c:v>0.61164589032038041</c:v>
                </c:pt>
                <c:pt idx="7">
                  <c:v>0.64910595588593556</c:v>
                </c:pt>
                <c:pt idx="8">
                  <c:v>0.67615348743326875</c:v>
                </c:pt>
                <c:pt idx="9">
                  <c:v>0.6989900677232328</c:v>
                </c:pt>
                <c:pt idx="10">
                  <c:v>0.72163176101285575</c:v>
                </c:pt>
                <c:pt idx="11">
                  <c:v>0.74329205905076123</c:v>
                </c:pt>
                <c:pt idx="12">
                  <c:v>0.76424241158742434</c:v>
                </c:pt>
                <c:pt idx="13">
                  <c:v>0.78475426837332007</c:v>
                </c:pt>
                <c:pt idx="14">
                  <c:v>0.80399935965699898</c:v>
                </c:pt>
                <c:pt idx="15">
                  <c:v>0.8224092209392162</c:v>
                </c:pt>
                <c:pt idx="16">
                  <c:v>0.84057547347100714</c:v>
                </c:pt>
                <c:pt idx="17">
                  <c:v>0.85460733749556295</c:v>
                </c:pt>
                <c:pt idx="18">
                  <c:v>0.86829118901950963</c:v>
                </c:pt>
                <c:pt idx="19">
                  <c:v>0.88106324779186074</c:v>
                </c:pt>
                <c:pt idx="20">
                  <c:v>0.89347337356357848</c:v>
                </c:pt>
                <c:pt idx="21">
                  <c:v>0.90579301608513785</c:v>
                </c:pt>
                <c:pt idx="22">
                  <c:v>0.91637259610365207</c:v>
                </c:pt>
                <c:pt idx="23">
                  <c:v>0.924780578118366</c:v>
                </c:pt>
                <c:pt idx="24">
                  <c:v>0.93294495138265365</c:v>
                </c:pt>
                <c:pt idx="25">
                  <c:v>0.94047594189583283</c:v>
                </c:pt>
                <c:pt idx="26">
                  <c:v>0.94588405615529703</c:v>
                </c:pt>
                <c:pt idx="27">
                  <c:v>0.95119472691459073</c:v>
                </c:pt>
                <c:pt idx="28">
                  <c:v>0.95591377642284903</c:v>
                </c:pt>
                <c:pt idx="29">
                  <c:v>0.9604518594307907</c:v>
                </c:pt>
                <c:pt idx="30">
                  <c:v>0.96418951368733163</c:v>
                </c:pt>
                <c:pt idx="31">
                  <c:v>0.96784364494372632</c:v>
                </c:pt>
                <c:pt idx="32">
                  <c:v>0.97137945194991393</c:v>
                </c:pt>
                <c:pt idx="33">
                  <c:v>0.97490829870608942</c:v>
                </c:pt>
                <c:pt idx="34">
                  <c:v>0.97715645946002372</c:v>
                </c:pt>
                <c:pt idx="35">
                  <c:v>0.97928629596375094</c:v>
                </c:pt>
                <c:pt idx="36">
                  <c:v>0.98099851746674738</c:v>
                </c:pt>
                <c:pt idx="37">
                  <c:v>0.98259937496954886</c:v>
                </c:pt>
                <c:pt idx="38">
                  <c:v>0.98410278897217984</c:v>
                </c:pt>
                <c:pt idx="39">
                  <c:v>0.98552267997466469</c:v>
                </c:pt>
                <c:pt idx="40">
                  <c:v>0.98693561072713731</c:v>
                </c:pt>
                <c:pt idx="41">
                  <c:v>0.98833462097958558</c:v>
                </c:pt>
                <c:pt idx="42">
                  <c:v>0.98954570448170498</c:v>
                </c:pt>
                <c:pt idx="43">
                  <c:v>0.99074286748380003</c:v>
                </c:pt>
                <c:pt idx="44">
                  <c:v>0.99190522923583413</c:v>
                </c:pt>
                <c:pt idx="45">
                  <c:v>0.99296318723768551</c:v>
                </c:pt>
                <c:pt idx="46">
                  <c:v>0.99401418498952476</c:v>
                </c:pt>
                <c:pt idx="47">
                  <c:v>0.9948633354910108</c:v>
                </c:pt>
                <c:pt idx="48">
                  <c:v>0.99562200274233847</c:v>
                </c:pt>
                <c:pt idx="49">
                  <c:v>0.99629714699352001</c:v>
                </c:pt>
                <c:pt idx="50">
                  <c:v>0.99695837074467719</c:v>
                </c:pt>
                <c:pt idx="51">
                  <c:v>0.9975778329957613</c:v>
                </c:pt>
                <c:pt idx="52">
                  <c:v>0.99804416974657739</c:v>
                </c:pt>
                <c:pt idx="53">
                  <c:v>0.99848962574735689</c:v>
                </c:pt>
                <c:pt idx="54">
                  <c:v>0.99880979724791719</c:v>
                </c:pt>
                <c:pt idx="55">
                  <c:v>0.99911604824845313</c:v>
                </c:pt>
                <c:pt idx="56">
                  <c:v>0.999380537748916</c:v>
                </c:pt>
                <c:pt idx="57">
                  <c:v>0.99963806699936664</c:v>
                </c:pt>
                <c:pt idx="58">
                  <c:v>0.99981207324967114</c:v>
                </c:pt>
                <c:pt idx="59">
                  <c:v>0.99995823849992693</c:v>
                </c:pt>
                <c:pt idx="6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Heidsieck &amp; Co Monopole</c:v>
                </c:pt>
                <c:pt idx="5">
                  <c:v>Laurent Perrier</c:v>
                </c:pt>
                <c:pt idx="6">
                  <c:v>De Bligny</c:v>
                </c:pt>
                <c:pt idx="7">
                  <c:v>Ayala</c:v>
                </c:pt>
                <c:pt idx="8">
                  <c:v>Nicolas Feuillatte</c:v>
                </c:pt>
                <c:pt idx="9">
                  <c:v>Others</c:v>
                </c:pt>
              </c:strCache>
            </c:strRef>
          </c:cat>
          <c:val>
            <c:numRef>
              <c:f>Sheet1!$B$2:$B$11</c:f>
              <c:numCache>
                <c:formatCode>General</c:formatCode>
                <c:ptCount val="10"/>
                <c:pt idx="0">
                  <c:v>0.22079483144665424</c:v>
                </c:pt>
                <c:pt idx="1">
                  <c:v>0.11626610840375164</c:v>
                </c:pt>
                <c:pt idx="2">
                  <c:v>7.7025031714232237E-2</c:v>
                </c:pt>
                <c:pt idx="3">
                  <c:v>7.3545131258795068E-2</c:v>
                </c:pt>
                <c:pt idx="4">
                  <c:v>5.2431424471602761E-2</c:v>
                </c:pt>
                <c:pt idx="5">
                  <c:v>3.9101048822587463E-2</c:v>
                </c:pt>
                <c:pt idx="6">
                  <c:v>3.7179478292214588E-2</c:v>
                </c:pt>
                <c:pt idx="7">
                  <c:v>3.6170168518685403E-2</c:v>
                </c:pt>
                <c:pt idx="8">
                  <c:v>3.400736186112286E-2</c:v>
                </c:pt>
                <c:pt idx="9">
                  <c:v>0.3134794152103537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Heidsieck &amp; Co Monopole</c:v>
                </c:pt>
                <c:pt idx="5">
                  <c:v>Laurent Perrier</c:v>
                </c:pt>
                <c:pt idx="6">
                  <c:v>De Bligny</c:v>
                </c:pt>
                <c:pt idx="7">
                  <c:v>Ayala</c:v>
                </c:pt>
                <c:pt idx="8">
                  <c:v>Nicolas Feuillatte</c:v>
                </c:pt>
                <c:pt idx="9">
                  <c:v>Others</c:v>
                </c:pt>
              </c:strCache>
            </c:strRef>
          </c:cat>
          <c:val>
            <c:numRef>
              <c:f>Sheet1!$C$2:$C$11</c:f>
              <c:numCache>
                <c:formatCode>General</c:formatCode>
                <c:ptCount val="10"/>
                <c:pt idx="0">
                  <c:v>0.10687708493713115</c:v>
                </c:pt>
                <c:pt idx="1">
                  <c:v>0.1162432640492687</c:v>
                </c:pt>
                <c:pt idx="2">
                  <c:v>5.2861175263022836E-2</c:v>
                </c:pt>
                <c:pt idx="3">
                  <c:v>5.4272517321016185E-2</c:v>
                </c:pt>
                <c:pt idx="4">
                  <c:v>1.21888632281242E-2</c:v>
                </c:pt>
                <c:pt idx="5">
                  <c:v>4.3751603797793186E-2</c:v>
                </c:pt>
                <c:pt idx="6">
                  <c:v>1.7705927636643574E-2</c:v>
                </c:pt>
                <c:pt idx="7">
                  <c:v>2.5917372337695668E-2</c:v>
                </c:pt>
                <c:pt idx="8">
                  <c:v>3.5796766743648969E-2</c:v>
                </c:pt>
                <c:pt idx="9">
                  <c:v>0.5343854246856557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Heidsieck &amp; Co Monopole</c:v>
                </c:pt>
                <c:pt idx="5">
                  <c:v>Laurent Perrier</c:v>
                </c:pt>
                <c:pt idx="6">
                  <c:v>De Bligny</c:v>
                </c:pt>
                <c:pt idx="7">
                  <c:v>Ayala</c:v>
                </c:pt>
                <c:pt idx="8">
                  <c:v>Nicolas Feuillatte</c:v>
                </c:pt>
                <c:pt idx="9">
                  <c:v>Others</c:v>
                </c:pt>
              </c:strCache>
            </c:strRef>
          </c:cat>
          <c:val>
            <c:numRef>
              <c:f>Sheet1!$D$2:$D$11</c:f>
              <c:numCache>
                <c:formatCode>General</c:formatCode>
                <c:ptCount val="10"/>
                <c:pt idx="0">
                  <c:v>48.405609966895213</c:v>
                </c:pt>
                <c:pt idx="1">
                  <c:v>99.980351664989414</c:v>
                </c:pt>
                <c:pt idx="2">
                  <c:v>68.62856669652686</c:v>
                </c:pt>
                <c:pt idx="3">
                  <c:v>73.794847316321679</c:v>
                </c:pt>
                <c:pt idx="4">
                  <c:v>23.247247907074843</c:v>
                </c:pt>
                <c:pt idx="5">
                  <c:v>111.89368345669348</c:v>
                </c:pt>
                <c:pt idx="6">
                  <c:v>47.622851233905585</c:v>
                </c:pt>
                <c:pt idx="7">
                  <c:v>71.653999411992856</c:v>
                </c:pt>
                <c:pt idx="8">
                  <c:v>105.26181622036302</c:v>
                </c:pt>
                <c:pt idx="9">
                  <c:v>170.469063918301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1</c:f>
              <c:strCache>
                <c:ptCount val="50"/>
                <c:pt idx="0">
                  <c:v>Bottega</c:v>
                </c:pt>
                <c:pt idx="1">
                  <c:v>All Others</c:v>
                </c:pt>
                <c:pt idx="2">
                  <c:v>Mure</c:v>
                </c:pt>
                <c:pt idx="3">
                  <c:v>Bouvet-Ladu</c:v>
                </c:pt>
                <c:pt idx="4">
                  <c:v>All Others</c:v>
                </c:pt>
                <c:pt idx="5">
                  <c:v>Patriarche</c:v>
                </c:pt>
                <c:pt idx="6">
                  <c:v>Savian</c:v>
                </c:pt>
                <c:pt idx="7">
                  <c:v>Chateau Mon</c:v>
                </c:pt>
                <c:pt idx="8">
                  <c:v>All Others</c:v>
                </c:pt>
                <c:pt idx="9">
                  <c:v>Kriter</c:v>
                </c:pt>
                <c:pt idx="10">
                  <c:v>De Chanceny</c:v>
                </c:pt>
                <c:pt idx="11">
                  <c:v>Patriarche</c:v>
                </c:pt>
                <c:pt idx="12">
                  <c:v>All Others</c:v>
                </c:pt>
                <c:pt idx="13">
                  <c:v>All Others</c:v>
                </c:pt>
                <c:pt idx="14">
                  <c:v>All Others</c:v>
                </c:pt>
                <c:pt idx="15">
                  <c:v>Bottega</c:v>
                </c:pt>
                <c:pt idx="16">
                  <c:v>All Others</c:v>
                </c:pt>
                <c:pt idx="17">
                  <c:v>All Others</c:v>
                </c:pt>
                <c:pt idx="18">
                  <c:v>All Others</c:v>
                </c:pt>
                <c:pt idx="19">
                  <c:v>Contarini</c:v>
                </c:pt>
                <c:pt idx="20">
                  <c:v>All Others</c:v>
                </c:pt>
                <c:pt idx="21">
                  <c:v>All Others</c:v>
                </c:pt>
                <c:pt idx="22">
                  <c:v>Cru La Maqu</c:v>
                </c:pt>
                <c:pt idx="23">
                  <c:v>All Others</c:v>
                </c:pt>
                <c:pt idx="24">
                  <c:v>All Others</c:v>
                </c:pt>
                <c:pt idx="25">
                  <c:v>All Others</c:v>
                </c:pt>
                <c:pt idx="26">
                  <c:v>Bouvet-Ladu</c:v>
                </c:pt>
                <c:pt idx="27">
                  <c:v>All Others</c:v>
                </c:pt>
                <c:pt idx="28">
                  <c:v>All Others</c:v>
                </c:pt>
                <c:pt idx="29">
                  <c:v>Bouvet-Ladu</c:v>
                </c:pt>
                <c:pt idx="30">
                  <c:v>All Others</c:v>
                </c:pt>
                <c:pt idx="31">
                  <c:v>All Others</c:v>
                </c:pt>
                <c:pt idx="32">
                  <c:v>Contarini</c:v>
                </c:pt>
                <c:pt idx="33">
                  <c:v>Bouvet-Ladu</c:v>
                </c:pt>
                <c:pt idx="34">
                  <c:v>All Others</c:v>
                </c:pt>
                <c:pt idx="35">
                  <c:v>All Others</c:v>
                </c:pt>
                <c:pt idx="36">
                  <c:v>All Others</c:v>
                </c:pt>
                <c:pt idx="37">
                  <c:v>All Others</c:v>
                </c:pt>
                <c:pt idx="38">
                  <c:v>All Others</c:v>
                </c:pt>
                <c:pt idx="39">
                  <c:v>All Others</c:v>
                </c:pt>
                <c:pt idx="40">
                  <c:v>All Others</c:v>
                </c:pt>
                <c:pt idx="41">
                  <c:v>All Others</c:v>
                </c:pt>
                <c:pt idx="42">
                  <c:v>All Others</c:v>
                </c:pt>
                <c:pt idx="43">
                  <c:v>Jaillance</c:v>
                </c:pt>
                <c:pt idx="44">
                  <c:v>Celene</c:v>
                </c:pt>
                <c:pt idx="45">
                  <c:v>All Others</c:v>
                </c:pt>
                <c:pt idx="46">
                  <c:v>Celene</c:v>
                </c:pt>
                <c:pt idx="47">
                  <c:v>All Others</c:v>
                </c:pt>
                <c:pt idx="48">
                  <c:v>All Others</c:v>
                </c:pt>
                <c:pt idx="49">
                  <c:v>All Others</c:v>
                </c:pt>
              </c:strCache>
            </c:strRef>
          </c:cat>
          <c:val>
            <c:numRef>
              <c:f>Sheet1!$B$2:$B$51</c:f>
              <c:numCache>
                <c:formatCode>General</c:formatCode>
                <c:ptCount val="50"/>
                <c:pt idx="0">
                  <c:v>0.93</c:v>
                </c:pt>
                <c:pt idx="1">
                  <c:v>1</c:v>
                </c:pt>
                <c:pt idx="2">
                  <c:v>0.77</c:v>
                </c:pt>
                <c:pt idx="3">
                  <c:v>0.62</c:v>
                </c:pt>
                <c:pt idx="4">
                  <c:v>0.11</c:v>
                </c:pt>
                <c:pt idx="5">
                  <c:v>0.84</c:v>
                </c:pt>
                <c:pt idx="6">
                  <c:v>0.91</c:v>
                </c:pt>
                <c:pt idx="7">
                  <c:v>0.87</c:v>
                </c:pt>
                <c:pt idx="8">
                  <c:v>0.31</c:v>
                </c:pt>
                <c:pt idx="9">
                  <c:v>0.63</c:v>
                </c:pt>
                <c:pt idx="10">
                  <c:v>0.52</c:v>
                </c:pt>
                <c:pt idx="11">
                  <c:v>0.8</c:v>
                </c:pt>
                <c:pt idx="12">
                  <c:v>0.22</c:v>
                </c:pt>
                <c:pt idx="13">
                  <c:v>0.2</c:v>
                </c:pt>
                <c:pt idx="14">
                  <c:v>0.42</c:v>
                </c:pt>
                <c:pt idx="15">
                  <c:v>0.43</c:v>
                </c:pt>
                <c:pt idx="16">
                  <c:v>0.19</c:v>
                </c:pt>
                <c:pt idx="17">
                  <c:v>0.45</c:v>
                </c:pt>
                <c:pt idx="18">
                  <c:v>0.42</c:v>
                </c:pt>
                <c:pt idx="19">
                  <c:v>0.79</c:v>
                </c:pt>
                <c:pt idx="20">
                  <c:v>0.2</c:v>
                </c:pt>
                <c:pt idx="21">
                  <c:v>0.31</c:v>
                </c:pt>
                <c:pt idx="22">
                  <c:v>0.3</c:v>
                </c:pt>
                <c:pt idx="23">
                  <c:v>0.11</c:v>
                </c:pt>
                <c:pt idx="24">
                  <c:v>0.26</c:v>
                </c:pt>
                <c:pt idx="25">
                  <c:v>0.31</c:v>
                </c:pt>
                <c:pt idx="26">
                  <c:v>0.28000000000000003</c:v>
                </c:pt>
                <c:pt idx="27">
                  <c:v>0.22</c:v>
                </c:pt>
                <c:pt idx="28">
                  <c:v>0.22</c:v>
                </c:pt>
                <c:pt idx="29">
                  <c:v>0.26</c:v>
                </c:pt>
                <c:pt idx="30">
                  <c:v>0.09</c:v>
                </c:pt>
                <c:pt idx="31">
                  <c:v>0.3</c:v>
                </c:pt>
                <c:pt idx="32">
                  <c:v>0.18</c:v>
                </c:pt>
                <c:pt idx="33">
                  <c:v>0.24</c:v>
                </c:pt>
                <c:pt idx="34">
                  <c:v>0.1</c:v>
                </c:pt>
                <c:pt idx="35">
                  <c:v>0.08</c:v>
                </c:pt>
                <c:pt idx="36">
                  <c:v>0.15</c:v>
                </c:pt>
                <c:pt idx="37">
                  <c:v>0.14000000000000001</c:v>
                </c:pt>
                <c:pt idx="38">
                  <c:v>0.09</c:v>
                </c:pt>
                <c:pt idx="39">
                  <c:v>0.11</c:v>
                </c:pt>
                <c:pt idx="40">
                  <c:v>0.16</c:v>
                </c:pt>
                <c:pt idx="41">
                  <c:v>0.11</c:v>
                </c:pt>
                <c:pt idx="42">
                  <c:v>7.0000000000000007E-2</c:v>
                </c:pt>
                <c:pt idx="43">
                  <c:v>0.08</c:v>
                </c:pt>
                <c:pt idx="44">
                  <c:v>0.2</c:v>
                </c:pt>
                <c:pt idx="45">
                  <c:v>0.09</c:v>
                </c:pt>
                <c:pt idx="46">
                  <c:v>0.13</c:v>
                </c:pt>
                <c:pt idx="47">
                  <c:v>0.12</c:v>
                </c:pt>
                <c:pt idx="48">
                  <c:v>0.09</c:v>
                </c:pt>
                <c:pt idx="49">
                  <c:v>0.1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1</c:f>
              <c:strCache>
                <c:ptCount val="50"/>
                <c:pt idx="0">
                  <c:v>Bottega</c:v>
                </c:pt>
                <c:pt idx="1">
                  <c:v>All Others</c:v>
                </c:pt>
                <c:pt idx="2">
                  <c:v>Mure</c:v>
                </c:pt>
                <c:pt idx="3">
                  <c:v>Bouvet-Ladu</c:v>
                </c:pt>
                <c:pt idx="4">
                  <c:v>All Others</c:v>
                </c:pt>
                <c:pt idx="5">
                  <c:v>Patriarche</c:v>
                </c:pt>
                <c:pt idx="6">
                  <c:v>Savian</c:v>
                </c:pt>
                <c:pt idx="7">
                  <c:v>Chateau Mon</c:v>
                </c:pt>
                <c:pt idx="8">
                  <c:v>All Others</c:v>
                </c:pt>
                <c:pt idx="9">
                  <c:v>Kriter</c:v>
                </c:pt>
                <c:pt idx="10">
                  <c:v>De Chanceny</c:v>
                </c:pt>
                <c:pt idx="11">
                  <c:v>Patriarche</c:v>
                </c:pt>
                <c:pt idx="12">
                  <c:v>All Others</c:v>
                </c:pt>
                <c:pt idx="13">
                  <c:v>All Others</c:v>
                </c:pt>
                <c:pt idx="14">
                  <c:v>All Others</c:v>
                </c:pt>
                <c:pt idx="15">
                  <c:v>Bottega</c:v>
                </c:pt>
                <c:pt idx="16">
                  <c:v>All Others</c:v>
                </c:pt>
                <c:pt idx="17">
                  <c:v>All Others</c:v>
                </c:pt>
                <c:pt idx="18">
                  <c:v>All Others</c:v>
                </c:pt>
                <c:pt idx="19">
                  <c:v>Contarini</c:v>
                </c:pt>
                <c:pt idx="20">
                  <c:v>All Others</c:v>
                </c:pt>
                <c:pt idx="21">
                  <c:v>All Others</c:v>
                </c:pt>
                <c:pt idx="22">
                  <c:v>Cru La Maqu</c:v>
                </c:pt>
                <c:pt idx="23">
                  <c:v>All Others</c:v>
                </c:pt>
                <c:pt idx="24">
                  <c:v>All Others</c:v>
                </c:pt>
                <c:pt idx="25">
                  <c:v>All Others</c:v>
                </c:pt>
                <c:pt idx="26">
                  <c:v>Bouvet-Ladu</c:v>
                </c:pt>
                <c:pt idx="27">
                  <c:v>All Others</c:v>
                </c:pt>
                <c:pt idx="28">
                  <c:v>All Others</c:v>
                </c:pt>
                <c:pt idx="29">
                  <c:v>Bouvet-Ladu</c:v>
                </c:pt>
                <c:pt idx="30">
                  <c:v>All Others</c:v>
                </c:pt>
                <c:pt idx="31">
                  <c:v>All Others</c:v>
                </c:pt>
                <c:pt idx="32">
                  <c:v>Contarini</c:v>
                </c:pt>
                <c:pt idx="33">
                  <c:v>Bouvet-Ladu</c:v>
                </c:pt>
                <c:pt idx="34">
                  <c:v>All Others</c:v>
                </c:pt>
                <c:pt idx="35">
                  <c:v>All Others</c:v>
                </c:pt>
                <c:pt idx="36">
                  <c:v>All Others</c:v>
                </c:pt>
                <c:pt idx="37">
                  <c:v>All Others</c:v>
                </c:pt>
                <c:pt idx="38">
                  <c:v>All Others</c:v>
                </c:pt>
                <c:pt idx="39">
                  <c:v>All Others</c:v>
                </c:pt>
                <c:pt idx="40">
                  <c:v>All Others</c:v>
                </c:pt>
                <c:pt idx="41">
                  <c:v>All Others</c:v>
                </c:pt>
                <c:pt idx="42">
                  <c:v>All Others</c:v>
                </c:pt>
                <c:pt idx="43">
                  <c:v>Jaillance</c:v>
                </c:pt>
                <c:pt idx="44">
                  <c:v>Celene</c:v>
                </c:pt>
                <c:pt idx="45">
                  <c:v>All Others</c:v>
                </c:pt>
                <c:pt idx="46">
                  <c:v>Celene</c:v>
                </c:pt>
                <c:pt idx="47">
                  <c:v>All Others</c:v>
                </c:pt>
                <c:pt idx="48">
                  <c:v>All Others</c:v>
                </c:pt>
                <c:pt idx="49">
                  <c:v>All Others</c:v>
                </c:pt>
              </c:strCache>
            </c:strRef>
          </c:cat>
          <c:val>
            <c:numRef>
              <c:f>Sheet1!$C$2:$C$51</c:f>
              <c:numCache>
                <c:formatCode>General</c:formatCode>
                <c:ptCount val="50"/>
                <c:pt idx="0">
                  <c:v>0.12642506910954621</c:v>
                </c:pt>
                <c:pt idx="1">
                  <c:v>0.2422768821001231</c:v>
                </c:pt>
                <c:pt idx="2">
                  <c:v>0.3462337819568595</c:v>
                </c:pt>
                <c:pt idx="3">
                  <c:v>0.44656873625375815</c:v>
                </c:pt>
                <c:pt idx="4">
                  <c:v>0.53228475150830323</c:v>
                </c:pt>
                <c:pt idx="5">
                  <c:v>0.60627736637139573</c:v>
                </c:pt>
                <c:pt idx="6">
                  <c:v>0.64619947940838196</c:v>
                </c:pt>
                <c:pt idx="7">
                  <c:v>0.68259044774914757</c:v>
                </c:pt>
                <c:pt idx="8">
                  <c:v>0.71545027139369244</c:v>
                </c:pt>
                <c:pt idx="9">
                  <c:v>0.74488992917532648</c:v>
                </c:pt>
                <c:pt idx="10">
                  <c:v>0.77186787465445239</c:v>
                </c:pt>
                <c:pt idx="11">
                  <c:v>0.79389212857402303</c:v>
                </c:pt>
                <c:pt idx="12">
                  <c:v>0.81586593756936188</c:v>
                </c:pt>
                <c:pt idx="13">
                  <c:v>0.83413708912609219</c:v>
                </c:pt>
                <c:pt idx="14">
                  <c:v>0.85065275731955858</c:v>
                </c:pt>
                <c:pt idx="15">
                  <c:v>0.86657317540709067</c:v>
                </c:pt>
                <c:pt idx="16">
                  <c:v>0.88065739825258793</c:v>
                </c:pt>
                <c:pt idx="17">
                  <c:v>0.89218910793196005</c:v>
                </c:pt>
                <c:pt idx="18">
                  <c:v>0.90279263100546836</c:v>
                </c:pt>
                <c:pt idx="19">
                  <c:v>0.91312375148812541</c:v>
                </c:pt>
                <c:pt idx="20">
                  <c:v>0.92209285901652593</c:v>
                </c:pt>
                <c:pt idx="21">
                  <c:v>0.93104178857523379</c:v>
                </c:pt>
                <c:pt idx="22">
                  <c:v>0.93998062914909519</c:v>
                </c:pt>
                <c:pt idx="23">
                  <c:v>0.94794083819286123</c:v>
                </c:pt>
                <c:pt idx="24">
                  <c:v>0.95408502996428524</c:v>
                </c:pt>
                <c:pt idx="25">
                  <c:v>0.95980548437216273</c:v>
                </c:pt>
                <c:pt idx="26">
                  <c:v>0.96499122258318393</c:v>
                </c:pt>
                <c:pt idx="27">
                  <c:v>0.97005589297604899</c:v>
                </c:pt>
                <c:pt idx="28">
                  <c:v>0.97395024112673811</c:v>
                </c:pt>
                <c:pt idx="29">
                  <c:v>0.97763272059565398</c:v>
                </c:pt>
                <c:pt idx="30">
                  <c:v>0.98010452188300845</c:v>
                </c:pt>
                <c:pt idx="31">
                  <c:v>0.9825157892612848</c:v>
                </c:pt>
                <c:pt idx="32">
                  <c:v>0.98469500998809523</c:v>
                </c:pt>
                <c:pt idx="33">
                  <c:v>0.98669262898767152</c:v>
                </c:pt>
                <c:pt idx="34">
                  <c:v>0.98835731148731842</c:v>
                </c:pt>
                <c:pt idx="35">
                  <c:v>0.98985048124457742</c:v>
                </c:pt>
                <c:pt idx="36">
                  <c:v>0.99120240521398761</c:v>
                </c:pt>
                <c:pt idx="37">
                  <c:v>0.99250388425916614</c:v>
                </c:pt>
                <c:pt idx="38">
                  <c:v>0.9935934946225714</c:v>
                </c:pt>
                <c:pt idx="39">
                  <c:v>0.99463266006174489</c:v>
                </c:pt>
                <c:pt idx="40">
                  <c:v>0.99558102463730125</c:v>
                </c:pt>
                <c:pt idx="41">
                  <c:v>0.9964688553037796</c:v>
                </c:pt>
                <c:pt idx="42">
                  <c:v>0.99727597409148716</c:v>
                </c:pt>
                <c:pt idx="43">
                  <c:v>0.9978510462277288</c:v>
                </c:pt>
                <c:pt idx="44">
                  <c:v>0.99839585140943143</c:v>
                </c:pt>
                <c:pt idx="45">
                  <c:v>0.99890030065174862</c:v>
                </c:pt>
                <c:pt idx="46">
                  <c:v>0.99938457192437313</c:v>
                </c:pt>
                <c:pt idx="47">
                  <c:v>0.99977804233338052</c:v>
                </c:pt>
                <c:pt idx="48">
                  <c:v>0.99990919913638299</c:v>
                </c:pt>
                <c:pt idx="4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2</c:f>
              <c:strCache>
                <c:ptCount val="51"/>
                <c:pt idx="0">
                  <c:v>All Others</c:v>
                </c:pt>
                <c:pt idx="1">
                  <c:v>Bottega</c:v>
                </c:pt>
                <c:pt idx="2">
                  <c:v>Mure</c:v>
                </c:pt>
                <c:pt idx="3">
                  <c:v>Patriarche</c:v>
                </c:pt>
                <c:pt idx="4">
                  <c:v>Savian</c:v>
                </c:pt>
                <c:pt idx="5">
                  <c:v>All Others</c:v>
                </c:pt>
                <c:pt idx="6">
                  <c:v>Chateau Mon</c:v>
                </c:pt>
                <c:pt idx="7">
                  <c:v>All Others</c:v>
                </c:pt>
                <c:pt idx="8">
                  <c:v>Vilaveroni</c:v>
                </c:pt>
                <c:pt idx="9">
                  <c:v>All Others</c:v>
                </c:pt>
                <c:pt idx="10">
                  <c:v>Bouvet-Ladu</c:v>
                </c:pt>
                <c:pt idx="11">
                  <c:v>De Chanceny</c:v>
                </c:pt>
                <c:pt idx="12">
                  <c:v>All Others</c:v>
                </c:pt>
                <c:pt idx="13">
                  <c:v>All Others</c:v>
                </c:pt>
                <c:pt idx="14">
                  <c:v>All Others</c:v>
                </c:pt>
                <c:pt idx="15">
                  <c:v>Patriarche</c:v>
                </c:pt>
                <c:pt idx="16">
                  <c:v>Bottega</c:v>
                </c:pt>
                <c:pt idx="17">
                  <c:v>All Others</c:v>
                </c:pt>
                <c:pt idx="18">
                  <c:v>All Others</c:v>
                </c:pt>
                <c:pt idx="19">
                  <c:v>Contarini</c:v>
                </c:pt>
                <c:pt idx="20">
                  <c:v>All Others</c:v>
                </c:pt>
                <c:pt idx="21">
                  <c:v>Kriter</c:v>
                </c:pt>
                <c:pt idx="22">
                  <c:v>All Others</c:v>
                </c:pt>
                <c:pt idx="23">
                  <c:v>Vilaveroni</c:v>
                </c:pt>
                <c:pt idx="24">
                  <c:v>All Others</c:v>
                </c:pt>
                <c:pt idx="25">
                  <c:v>All Others</c:v>
                </c:pt>
                <c:pt idx="26">
                  <c:v>Mure</c:v>
                </c:pt>
                <c:pt idx="27">
                  <c:v>All Others</c:v>
                </c:pt>
                <c:pt idx="28">
                  <c:v>Mure</c:v>
                </c:pt>
                <c:pt idx="29">
                  <c:v>All Others</c:v>
                </c:pt>
                <c:pt idx="30">
                  <c:v>All Others</c:v>
                </c:pt>
                <c:pt idx="31">
                  <c:v>All Others</c:v>
                </c:pt>
                <c:pt idx="32">
                  <c:v>All Others</c:v>
                </c:pt>
                <c:pt idx="33">
                  <c:v>Cru La Maqu</c:v>
                </c:pt>
                <c:pt idx="34">
                  <c:v>Contarini</c:v>
                </c:pt>
                <c:pt idx="35">
                  <c:v>All Others</c:v>
                </c:pt>
                <c:pt idx="36">
                  <c:v>All Others</c:v>
                </c:pt>
                <c:pt idx="37">
                  <c:v>Vilaveroni</c:v>
                </c:pt>
                <c:pt idx="38">
                  <c:v>Bouvet-Ladu</c:v>
                </c:pt>
                <c:pt idx="39">
                  <c:v>All Others</c:v>
                </c:pt>
                <c:pt idx="40">
                  <c:v>Vilaveroni</c:v>
                </c:pt>
                <c:pt idx="41">
                  <c:v>Bouvet-Ladu</c:v>
                </c:pt>
                <c:pt idx="42">
                  <c:v>All Others</c:v>
                </c:pt>
                <c:pt idx="43">
                  <c:v>Celene</c:v>
                </c:pt>
                <c:pt idx="44">
                  <c:v>Bouvet-Ladu</c:v>
                </c:pt>
                <c:pt idx="45">
                  <c:v>All Others</c:v>
                </c:pt>
                <c:pt idx="46">
                  <c:v>Bottega</c:v>
                </c:pt>
                <c:pt idx="47">
                  <c:v>All Others</c:v>
                </c:pt>
                <c:pt idx="48">
                  <c:v>All Others</c:v>
                </c:pt>
                <c:pt idx="49">
                  <c:v>Celene</c:v>
                </c:pt>
                <c:pt idx="50">
                  <c:v>Jaillance</c:v>
                </c:pt>
              </c:strCache>
            </c:strRef>
          </c:cat>
          <c:val>
            <c:numRef>
              <c:f>Sheet1!$B$2:$B$52</c:f>
              <c:numCache>
                <c:formatCode>General</c:formatCode>
                <c:ptCount val="51"/>
                <c:pt idx="0">
                  <c:v>1</c:v>
                </c:pt>
                <c:pt idx="1">
                  <c:v>0.84</c:v>
                </c:pt>
                <c:pt idx="2">
                  <c:v>0.88</c:v>
                </c:pt>
                <c:pt idx="3">
                  <c:v>0.82</c:v>
                </c:pt>
                <c:pt idx="4">
                  <c:v>0.8</c:v>
                </c:pt>
                <c:pt idx="5">
                  <c:v>0.36</c:v>
                </c:pt>
                <c:pt idx="6">
                  <c:v>0.78</c:v>
                </c:pt>
                <c:pt idx="7">
                  <c:v>0.1</c:v>
                </c:pt>
                <c:pt idx="8">
                  <c:v>0.36</c:v>
                </c:pt>
                <c:pt idx="9">
                  <c:v>0.63</c:v>
                </c:pt>
                <c:pt idx="10">
                  <c:v>0.82</c:v>
                </c:pt>
                <c:pt idx="11">
                  <c:v>0.75</c:v>
                </c:pt>
                <c:pt idx="12">
                  <c:v>0.1</c:v>
                </c:pt>
                <c:pt idx="13">
                  <c:v>0.65</c:v>
                </c:pt>
                <c:pt idx="14">
                  <c:v>0.1</c:v>
                </c:pt>
                <c:pt idx="15">
                  <c:v>0.75</c:v>
                </c:pt>
                <c:pt idx="16">
                  <c:v>0.61</c:v>
                </c:pt>
                <c:pt idx="17">
                  <c:v>0.09</c:v>
                </c:pt>
                <c:pt idx="18">
                  <c:v>0.8</c:v>
                </c:pt>
                <c:pt idx="19">
                  <c:v>0.7</c:v>
                </c:pt>
                <c:pt idx="20">
                  <c:v>0.53</c:v>
                </c:pt>
                <c:pt idx="21">
                  <c:v>0.72</c:v>
                </c:pt>
                <c:pt idx="22">
                  <c:v>0.09</c:v>
                </c:pt>
                <c:pt idx="23">
                  <c:v>0.36</c:v>
                </c:pt>
                <c:pt idx="24">
                  <c:v>0.38</c:v>
                </c:pt>
                <c:pt idx="25">
                  <c:v>0.48</c:v>
                </c:pt>
                <c:pt idx="26">
                  <c:v>0.1</c:v>
                </c:pt>
                <c:pt idx="27">
                  <c:v>0.51</c:v>
                </c:pt>
                <c:pt idx="28">
                  <c:v>0.08</c:v>
                </c:pt>
                <c:pt idx="29">
                  <c:v>0.62</c:v>
                </c:pt>
                <c:pt idx="30">
                  <c:v>0.28000000000000003</c:v>
                </c:pt>
                <c:pt idx="31">
                  <c:v>0.38</c:v>
                </c:pt>
                <c:pt idx="32">
                  <c:v>0.33</c:v>
                </c:pt>
                <c:pt idx="33">
                  <c:v>0.55000000000000004</c:v>
                </c:pt>
                <c:pt idx="34">
                  <c:v>0.45</c:v>
                </c:pt>
                <c:pt idx="35">
                  <c:v>0.53</c:v>
                </c:pt>
                <c:pt idx="36">
                  <c:v>0.1</c:v>
                </c:pt>
                <c:pt idx="37">
                  <c:v>0.36</c:v>
                </c:pt>
                <c:pt idx="38">
                  <c:v>0.3</c:v>
                </c:pt>
                <c:pt idx="39">
                  <c:v>0.4</c:v>
                </c:pt>
                <c:pt idx="40">
                  <c:v>0.33</c:v>
                </c:pt>
                <c:pt idx="41">
                  <c:v>0.26</c:v>
                </c:pt>
                <c:pt idx="42">
                  <c:v>0.23</c:v>
                </c:pt>
                <c:pt idx="43">
                  <c:v>0.56000000000000005</c:v>
                </c:pt>
                <c:pt idx="44">
                  <c:v>0.16</c:v>
                </c:pt>
                <c:pt idx="45">
                  <c:v>0.26</c:v>
                </c:pt>
                <c:pt idx="46">
                  <c:v>0.18</c:v>
                </c:pt>
                <c:pt idx="47">
                  <c:v>0.1</c:v>
                </c:pt>
                <c:pt idx="48">
                  <c:v>0.36</c:v>
                </c:pt>
                <c:pt idx="49">
                  <c:v>0.09</c:v>
                </c:pt>
                <c:pt idx="50">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2</c:f>
              <c:strCache>
                <c:ptCount val="51"/>
                <c:pt idx="0">
                  <c:v>All Others</c:v>
                </c:pt>
                <c:pt idx="1">
                  <c:v>Bottega</c:v>
                </c:pt>
                <c:pt idx="2">
                  <c:v>Mure</c:v>
                </c:pt>
                <c:pt idx="3">
                  <c:v>Patriarche</c:v>
                </c:pt>
                <c:pt idx="4">
                  <c:v>Savian</c:v>
                </c:pt>
                <c:pt idx="5">
                  <c:v>All Others</c:v>
                </c:pt>
                <c:pt idx="6">
                  <c:v>Chateau Mon</c:v>
                </c:pt>
                <c:pt idx="7">
                  <c:v>All Others</c:v>
                </c:pt>
                <c:pt idx="8">
                  <c:v>Vilaveroni</c:v>
                </c:pt>
                <c:pt idx="9">
                  <c:v>All Others</c:v>
                </c:pt>
                <c:pt idx="10">
                  <c:v>Bouvet-Ladu</c:v>
                </c:pt>
                <c:pt idx="11">
                  <c:v>De Chanceny</c:v>
                </c:pt>
                <c:pt idx="12">
                  <c:v>All Others</c:v>
                </c:pt>
                <c:pt idx="13">
                  <c:v>All Others</c:v>
                </c:pt>
                <c:pt idx="14">
                  <c:v>All Others</c:v>
                </c:pt>
                <c:pt idx="15">
                  <c:v>Patriarche</c:v>
                </c:pt>
                <c:pt idx="16">
                  <c:v>Bottega</c:v>
                </c:pt>
                <c:pt idx="17">
                  <c:v>All Others</c:v>
                </c:pt>
                <c:pt idx="18">
                  <c:v>All Others</c:v>
                </c:pt>
                <c:pt idx="19">
                  <c:v>Contarini</c:v>
                </c:pt>
                <c:pt idx="20">
                  <c:v>All Others</c:v>
                </c:pt>
                <c:pt idx="21">
                  <c:v>Kriter</c:v>
                </c:pt>
                <c:pt idx="22">
                  <c:v>All Others</c:v>
                </c:pt>
                <c:pt idx="23">
                  <c:v>Vilaveroni</c:v>
                </c:pt>
                <c:pt idx="24">
                  <c:v>All Others</c:v>
                </c:pt>
                <c:pt idx="25">
                  <c:v>All Others</c:v>
                </c:pt>
                <c:pt idx="26">
                  <c:v>Mure</c:v>
                </c:pt>
                <c:pt idx="27">
                  <c:v>All Others</c:v>
                </c:pt>
                <c:pt idx="28">
                  <c:v>Mure</c:v>
                </c:pt>
                <c:pt idx="29">
                  <c:v>All Others</c:v>
                </c:pt>
                <c:pt idx="30">
                  <c:v>All Others</c:v>
                </c:pt>
                <c:pt idx="31">
                  <c:v>All Others</c:v>
                </c:pt>
                <c:pt idx="32">
                  <c:v>All Others</c:v>
                </c:pt>
                <c:pt idx="33">
                  <c:v>Cru La Maqu</c:v>
                </c:pt>
                <c:pt idx="34">
                  <c:v>Contarini</c:v>
                </c:pt>
                <c:pt idx="35">
                  <c:v>All Others</c:v>
                </c:pt>
                <c:pt idx="36">
                  <c:v>All Others</c:v>
                </c:pt>
                <c:pt idx="37">
                  <c:v>Vilaveroni</c:v>
                </c:pt>
                <c:pt idx="38">
                  <c:v>Bouvet-Ladu</c:v>
                </c:pt>
                <c:pt idx="39">
                  <c:v>All Others</c:v>
                </c:pt>
                <c:pt idx="40">
                  <c:v>Vilaveroni</c:v>
                </c:pt>
                <c:pt idx="41">
                  <c:v>Bouvet-Ladu</c:v>
                </c:pt>
                <c:pt idx="42">
                  <c:v>All Others</c:v>
                </c:pt>
                <c:pt idx="43">
                  <c:v>Celene</c:v>
                </c:pt>
                <c:pt idx="44">
                  <c:v>Bouvet-Ladu</c:v>
                </c:pt>
                <c:pt idx="45">
                  <c:v>All Others</c:v>
                </c:pt>
                <c:pt idx="46">
                  <c:v>Bottega</c:v>
                </c:pt>
                <c:pt idx="47">
                  <c:v>All Others</c:v>
                </c:pt>
                <c:pt idx="48">
                  <c:v>All Others</c:v>
                </c:pt>
                <c:pt idx="49">
                  <c:v>Celene</c:v>
                </c:pt>
                <c:pt idx="50">
                  <c:v>Jaillance</c:v>
                </c:pt>
              </c:strCache>
            </c:strRef>
          </c:cat>
          <c:val>
            <c:numRef>
              <c:f>Sheet1!$C$2:$C$52</c:f>
              <c:numCache>
                <c:formatCode>General</c:formatCode>
                <c:ptCount val="51"/>
                <c:pt idx="0">
                  <c:v>0.16269822026089908</c:v>
                </c:pt>
                <c:pt idx="1">
                  <c:v>0.25595266960865137</c:v>
                </c:pt>
                <c:pt idx="2">
                  <c:v>0.33643373260268661</c:v>
                </c:pt>
                <c:pt idx="3">
                  <c:v>0.40547985063769948</c:v>
                </c:pt>
                <c:pt idx="4">
                  <c:v>0.45500218224140443</c:v>
                </c:pt>
                <c:pt idx="5">
                  <c:v>0.49661025168517536</c:v>
                </c:pt>
                <c:pt idx="6">
                  <c:v>0.53683138548082054</c:v>
                </c:pt>
                <c:pt idx="7">
                  <c:v>0.57412346636923528</c:v>
                </c:pt>
                <c:pt idx="8">
                  <c:v>0.60957276562727325</c:v>
                </c:pt>
                <c:pt idx="9">
                  <c:v>0.6435478395810097</c:v>
                </c:pt>
                <c:pt idx="10">
                  <c:v>0.67199456864361573</c:v>
                </c:pt>
                <c:pt idx="11">
                  <c:v>0.70012123563357742</c:v>
                </c:pt>
                <c:pt idx="12">
                  <c:v>0.72781145434266037</c:v>
                </c:pt>
                <c:pt idx="13">
                  <c:v>0.75208767761020312</c:v>
                </c:pt>
                <c:pt idx="14">
                  <c:v>0.77563648707628141</c:v>
                </c:pt>
                <c:pt idx="15">
                  <c:v>0.79732311721061044</c:v>
                </c:pt>
                <c:pt idx="16">
                  <c:v>0.81720576111730747</c:v>
                </c:pt>
                <c:pt idx="17">
                  <c:v>0.83381019349207108</c:v>
                </c:pt>
                <c:pt idx="18">
                  <c:v>0.8491828718296881</c:v>
                </c:pt>
                <c:pt idx="19">
                  <c:v>0.86332379613015853</c:v>
                </c:pt>
                <c:pt idx="20">
                  <c:v>0.8761941709907376</c:v>
                </c:pt>
                <c:pt idx="21">
                  <c:v>0.88719266766888127</c:v>
                </c:pt>
                <c:pt idx="22">
                  <c:v>0.8975413413510499</c:v>
                </c:pt>
                <c:pt idx="23">
                  <c:v>0.90696862421803015</c:v>
                </c:pt>
                <c:pt idx="24">
                  <c:v>0.91449493235051649</c:v>
                </c:pt>
                <c:pt idx="25">
                  <c:v>0.92161388875418271</c:v>
                </c:pt>
                <c:pt idx="26">
                  <c:v>0.92871344745647644</c:v>
                </c:pt>
                <c:pt idx="27">
                  <c:v>0.93536685902720529</c:v>
                </c:pt>
                <c:pt idx="28">
                  <c:v>0.94189418553901361</c:v>
                </c:pt>
                <c:pt idx="29">
                  <c:v>0.94772319480141598</c:v>
                </c:pt>
                <c:pt idx="30">
                  <c:v>0.9533970224528393</c:v>
                </c:pt>
                <c:pt idx="31">
                  <c:v>0.95890596964259733</c:v>
                </c:pt>
                <c:pt idx="32">
                  <c:v>0.96424033752000382</c:v>
                </c:pt>
                <c:pt idx="33">
                  <c:v>0.9690994617137868</c:v>
                </c:pt>
                <c:pt idx="34">
                  <c:v>0.9738421996993355</c:v>
                </c:pt>
                <c:pt idx="35">
                  <c:v>0.97791571698753688</c:v>
                </c:pt>
                <c:pt idx="36">
                  <c:v>0.9812424227729013</c:v>
                </c:pt>
                <c:pt idx="37">
                  <c:v>0.98453033315552096</c:v>
                </c:pt>
                <c:pt idx="38">
                  <c:v>0.98718781824353807</c:v>
                </c:pt>
                <c:pt idx="39">
                  <c:v>0.98949614470685221</c:v>
                </c:pt>
                <c:pt idx="40">
                  <c:v>0.99168808496193195</c:v>
                </c:pt>
                <c:pt idx="41">
                  <c:v>0.99311381601280246</c:v>
                </c:pt>
                <c:pt idx="42">
                  <c:v>0.99449105281024197</c:v>
                </c:pt>
                <c:pt idx="43">
                  <c:v>0.99562581834052666</c:v>
                </c:pt>
                <c:pt idx="44">
                  <c:v>0.99676058387081135</c:v>
                </c:pt>
                <c:pt idx="45">
                  <c:v>0.99782745744629264</c:v>
                </c:pt>
                <c:pt idx="46">
                  <c:v>0.99870035400805013</c:v>
                </c:pt>
                <c:pt idx="47">
                  <c:v>0.99932108045196655</c:v>
                </c:pt>
                <c:pt idx="48">
                  <c:v>0.99961204597255238</c:v>
                </c:pt>
                <c:pt idx="49">
                  <c:v>0.9998060229862763</c:v>
                </c:pt>
                <c:pt idx="50">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6</c:f>
              <c:strCache>
                <c:ptCount val="45"/>
                <c:pt idx="0">
                  <c:v>All Others</c:v>
                </c:pt>
                <c:pt idx="1">
                  <c:v>All Others</c:v>
                </c:pt>
                <c:pt idx="2">
                  <c:v>Patriarche</c:v>
                </c:pt>
                <c:pt idx="3">
                  <c:v>All Others</c:v>
                </c:pt>
                <c:pt idx="4">
                  <c:v>Chateau Mon</c:v>
                </c:pt>
                <c:pt idx="5">
                  <c:v>Bouvet-Ladu</c:v>
                </c:pt>
                <c:pt idx="6">
                  <c:v>Bottega</c:v>
                </c:pt>
                <c:pt idx="7">
                  <c:v>Savian</c:v>
                </c:pt>
                <c:pt idx="8">
                  <c:v>Mure</c:v>
                </c:pt>
                <c:pt idx="9">
                  <c:v>De Chanceny</c:v>
                </c:pt>
                <c:pt idx="10">
                  <c:v>Kriter</c:v>
                </c:pt>
                <c:pt idx="11">
                  <c:v>Patriarche</c:v>
                </c:pt>
                <c:pt idx="12">
                  <c:v>All Others</c:v>
                </c:pt>
                <c:pt idx="13">
                  <c:v>All Others</c:v>
                </c:pt>
                <c:pt idx="14">
                  <c:v>All Others</c:v>
                </c:pt>
                <c:pt idx="15">
                  <c:v>All Others</c:v>
                </c:pt>
                <c:pt idx="16">
                  <c:v>Contarini</c:v>
                </c:pt>
                <c:pt idx="17">
                  <c:v>Bottega</c:v>
                </c:pt>
                <c:pt idx="18">
                  <c:v>Cru La Maqu</c:v>
                </c:pt>
                <c:pt idx="19">
                  <c:v>All Others</c:v>
                </c:pt>
                <c:pt idx="20">
                  <c:v>All Others</c:v>
                </c:pt>
                <c:pt idx="21">
                  <c:v>All Others</c:v>
                </c:pt>
                <c:pt idx="22">
                  <c:v>Bouvet-Ladu</c:v>
                </c:pt>
                <c:pt idx="23">
                  <c:v>Contarini</c:v>
                </c:pt>
                <c:pt idx="24">
                  <c:v>All Others</c:v>
                </c:pt>
                <c:pt idx="25">
                  <c:v>All Others</c:v>
                </c:pt>
                <c:pt idx="26">
                  <c:v>Bouvet-Ladu</c:v>
                </c:pt>
                <c:pt idx="27">
                  <c:v>All Others</c:v>
                </c:pt>
                <c:pt idx="28">
                  <c:v>Bouvet-Ladu</c:v>
                </c:pt>
                <c:pt idx="29">
                  <c:v>Bouvet-Ladu</c:v>
                </c:pt>
                <c:pt idx="30">
                  <c:v>Celene</c:v>
                </c:pt>
                <c:pt idx="31">
                  <c:v>Celene</c:v>
                </c:pt>
                <c:pt idx="32">
                  <c:v>All Others</c:v>
                </c:pt>
                <c:pt idx="33">
                  <c:v>Bouvet-Ladu</c:v>
                </c:pt>
                <c:pt idx="34">
                  <c:v>All Others</c:v>
                </c:pt>
                <c:pt idx="35">
                  <c:v>Bottega</c:v>
                </c:pt>
                <c:pt idx="36">
                  <c:v>All Others</c:v>
                </c:pt>
                <c:pt idx="37">
                  <c:v>All Others</c:v>
                </c:pt>
                <c:pt idx="38">
                  <c:v>All Others</c:v>
                </c:pt>
                <c:pt idx="39">
                  <c:v>Bottega</c:v>
                </c:pt>
                <c:pt idx="40">
                  <c:v>Bouvet-Ladu</c:v>
                </c:pt>
                <c:pt idx="41">
                  <c:v>All Others</c:v>
                </c:pt>
                <c:pt idx="42">
                  <c:v>All Others</c:v>
                </c:pt>
                <c:pt idx="43">
                  <c:v>Jaillance</c:v>
                </c:pt>
                <c:pt idx="44">
                  <c:v>Bottega</c:v>
                </c:pt>
              </c:strCache>
            </c:strRef>
          </c:cat>
          <c:val>
            <c:numRef>
              <c:f>Sheet1!$B$2:$B$46</c:f>
              <c:numCache>
                <c:formatCode>General</c:formatCode>
                <c:ptCount val="45"/>
                <c:pt idx="0">
                  <c:v>1</c:v>
                </c:pt>
                <c:pt idx="1">
                  <c:v>0.61</c:v>
                </c:pt>
                <c:pt idx="2">
                  <c:v>0.83</c:v>
                </c:pt>
                <c:pt idx="3">
                  <c:v>0.55000000000000004</c:v>
                </c:pt>
                <c:pt idx="4">
                  <c:v>0.81</c:v>
                </c:pt>
                <c:pt idx="5">
                  <c:v>0.75</c:v>
                </c:pt>
                <c:pt idx="6">
                  <c:v>0.69</c:v>
                </c:pt>
                <c:pt idx="7">
                  <c:v>0.77</c:v>
                </c:pt>
                <c:pt idx="8">
                  <c:v>0.89</c:v>
                </c:pt>
                <c:pt idx="9">
                  <c:v>0.41</c:v>
                </c:pt>
                <c:pt idx="10">
                  <c:v>0.54</c:v>
                </c:pt>
                <c:pt idx="11">
                  <c:v>0.6</c:v>
                </c:pt>
                <c:pt idx="12">
                  <c:v>0.44</c:v>
                </c:pt>
                <c:pt idx="13">
                  <c:v>0.59</c:v>
                </c:pt>
                <c:pt idx="14">
                  <c:v>0.38</c:v>
                </c:pt>
                <c:pt idx="15">
                  <c:v>0.79</c:v>
                </c:pt>
                <c:pt idx="16">
                  <c:v>0.92</c:v>
                </c:pt>
                <c:pt idx="17">
                  <c:v>0.41</c:v>
                </c:pt>
                <c:pt idx="18">
                  <c:v>0.28000000000000003</c:v>
                </c:pt>
                <c:pt idx="19">
                  <c:v>0.22</c:v>
                </c:pt>
                <c:pt idx="20">
                  <c:v>0.28000000000000003</c:v>
                </c:pt>
                <c:pt idx="21">
                  <c:v>0.32</c:v>
                </c:pt>
                <c:pt idx="22">
                  <c:v>0.19</c:v>
                </c:pt>
                <c:pt idx="23">
                  <c:v>0.24</c:v>
                </c:pt>
                <c:pt idx="24">
                  <c:v>0.19</c:v>
                </c:pt>
                <c:pt idx="25">
                  <c:v>0.1</c:v>
                </c:pt>
                <c:pt idx="26">
                  <c:v>0.08</c:v>
                </c:pt>
                <c:pt idx="27">
                  <c:v>0.15</c:v>
                </c:pt>
                <c:pt idx="28">
                  <c:v>0.08</c:v>
                </c:pt>
                <c:pt idx="29">
                  <c:v>0.12</c:v>
                </c:pt>
                <c:pt idx="30">
                  <c:v>0.09</c:v>
                </c:pt>
                <c:pt idx="31">
                  <c:v>0.17</c:v>
                </c:pt>
                <c:pt idx="32">
                  <c:v>0.11</c:v>
                </c:pt>
                <c:pt idx="33">
                  <c:v>7.0000000000000007E-2</c:v>
                </c:pt>
                <c:pt idx="34">
                  <c:v>0.12</c:v>
                </c:pt>
                <c:pt idx="35">
                  <c:v>0.05</c:v>
                </c:pt>
                <c:pt idx="36">
                  <c:v>0.16</c:v>
                </c:pt>
                <c:pt idx="37">
                  <c:v>0.05</c:v>
                </c:pt>
                <c:pt idx="38">
                  <c:v>0.06</c:v>
                </c:pt>
                <c:pt idx="39">
                  <c:v>0.02</c:v>
                </c:pt>
                <c:pt idx="40">
                  <c:v>0.04</c:v>
                </c:pt>
                <c:pt idx="41">
                  <c:v>7.0000000000000007E-2</c:v>
                </c:pt>
                <c:pt idx="42">
                  <c:v>0.05</c:v>
                </c:pt>
                <c:pt idx="43">
                  <c:v>0.03</c:v>
                </c:pt>
                <c:pt idx="44">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6</c:f>
              <c:strCache>
                <c:ptCount val="45"/>
                <c:pt idx="0">
                  <c:v>All Others</c:v>
                </c:pt>
                <c:pt idx="1">
                  <c:v>All Others</c:v>
                </c:pt>
                <c:pt idx="2">
                  <c:v>Patriarche</c:v>
                </c:pt>
                <c:pt idx="3">
                  <c:v>All Others</c:v>
                </c:pt>
                <c:pt idx="4">
                  <c:v>Chateau Mon</c:v>
                </c:pt>
                <c:pt idx="5">
                  <c:v>Bouvet-Ladu</c:v>
                </c:pt>
                <c:pt idx="6">
                  <c:v>Bottega</c:v>
                </c:pt>
                <c:pt idx="7">
                  <c:v>Savian</c:v>
                </c:pt>
                <c:pt idx="8">
                  <c:v>Mure</c:v>
                </c:pt>
                <c:pt idx="9">
                  <c:v>De Chanceny</c:v>
                </c:pt>
                <c:pt idx="10">
                  <c:v>Kriter</c:v>
                </c:pt>
                <c:pt idx="11">
                  <c:v>Patriarche</c:v>
                </c:pt>
                <c:pt idx="12">
                  <c:v>All Others</c:v>
                </c:pt>
                <c:pt idx="13">
                  <c:v>All Others</c:v>
                </c:pt>
                <c:pt idx="14">
                  <c:v>All Others</c:v>
                </c:pt>
                <c:pt idx="15">
                  <c:v>All Others</c:v>
                </c:pt>
                <c:pt idx="16">
                  <c:v>Contarini</c:v>
                </c:pt>
                <c:pt idx="17">
                  <c:v>Bottega</c:v>
                </c:pt>
                <c:pt idx="18">
                  <c:v>Cru La Maqu</c:v>
                </c:pt>
                <c:pt idx="19">
                  <c:v>All Others</c:v>
                </c:pt>
                <c:pt idx="20">
                  <c:v>All Others</c:v>
                </c:pt>
                <c:pt idx="21">
                  <c:v>All Others</c:v>
                </c:pt>
                <c:pt idx="22">
                  <c:v>Bouvet-Ladu</c:v>
                </c:pt>
                <c:pt idx="23">
                  <c:v>Contarini</c:v>
                </c:pt>
                <c:pt idx="24">
                  <c:v>All Others</c:v>
                </c:pt>
                <c:pt idx="25">
                  <c:v>All Others</c:v>
                </c:pt>
                <c:pt idx="26">
                  <c:v>Bouvet-Ladu</c:v>
                </c:pt>
                <c:pt idx="27">
                  <c:v>All Others</c:v>
                </c:pt>
                <c:pt idx="28">
                  <c:v>Bouvet-Ladu</c:v>
                </c:pt>
                <c:pt idx="29">
                  <c:v>Bouvet-Ladu</c:v>
                </c:pt>
                <c:pt idx="30">
                  <c:v>Celene</c:v>
                </c:pt>
                <c:pt idx="31">
                  <c:v>Celene</c:v>
                </c:pt>
                <c:pt idx="32">
                  <c:v>All Others</c:v>
                </c:pt>
                <c:pt idx="33">
                  <c:v>Bouvet-Ladu</c:v>
                </c:pt>
                <c:pt idx="34">
                  <c:v>All Others</c:v>
                </c:pt>
                <c:pt idx="35">
                  <c:v>Bottega</c:v>
                </c:pt>
                <c:pt idx="36">
                  <c:v>All Others</c:v>
                </c:pt>
                <c:pt idx="37">
                  <c:v>All Others</c:v>
                </c:pt>
                <c:pt idx="38">
                  <c:v>All Others</c:v>
                </c:pt>
                <c:pt idx="39">
                  <c:v>Bottega</c:v>
                </c:pt>
                <c:pt idx="40">
                  <c:v>Bouvet-Ladu</c:v>
                </c:pt>
                <c:pt idx="41">
                  <c:v>All Others</c:v>
                </c:pt>
                <c:pt idx="42">
                  <c:v>All Others</c:v>
                </c:pt>
                <c:pt idx="43">
                  <c:v>Jaillance</c:v>
                </c:pt>
                <c:pt idx="44">
                  <c:v>Bottega</c:v>
                </c:pt>
              </c:strCache>
            </c:strRef>
          </c:cat>
          <c:val>
            <c:numRef>
              <c:f>Sheet1!$C$2:$C$46</c:f>
              <c:numCache>
                <c:formatCode>General</c:formatCode>
                <c:ptCount val="45"/>
                <c:pt idx="0">
                  <c:v>0.19166823751178133</c:v>
                </c:pt>
                <c:pt idx="1">
                  <c:v>0.29397737983034872</c:v>
                </c:pt>
                <c:pt idx="2">
                  <c:v>0.36475023562676717</c:v>
                </c:pt>
                <c:pt idx="3">
                  <c:v>0.43369462770970779</c:v>
                </c:pt>
                <c:pt idx="4">
                  <c:v>0.49769085768143256</c:v>
                </c:pt>
                <c:pt idx="5">
                  <c:v>0.5588689915174363</c:v>
                </c:pt>
                <c:pt idx="6">
                  <c:v>0.61342130065975486</c:v>
                </c:pt>
                <c:pt idx="7">
                  <c:v>0.66598491988689912</c:v>
                </c:pt>
                <c:pt idx="8">
                  <c:v>0.71756833176248813</c:v>
                </c:pt>
                <c:pt idx="9">
                  <c:v>0.7503864278982092</c:v>
                </c:pt>
                <c:pt idx="10">
                  <c:v>0.7777191328934967</c:v>
                </c:pt>
                <c:pt idx="11">
                  <c:v>0.80418473138548541</c:v>
                </c:pt>
                <c:pt idx="12">
                  <c:v>0.82899151743638078</c:v>
                </c:pt>
                <c:pt idx="13">
                  <c:v>0.85235626767200756</c:v>
                </c:pt>
                <c:pt idx="14">
                  <c:v>0.8731385485391141</c:v>
                </c:pt>
                <c:pt idx="15">
                  <c:v>0.8935155513666353</c:v>
                </c:pt>
                <c:pt idx="16">
                  <c:v>0.91378887841658818</c:v>
                </c:pt>
                <c:pt idx="17">
                  <c:v>0.92894439208294066</c:v>
                </c:pt>
                <c:pt idx="18">
                  <c:v>0.93996229971724787</c:v>
                </c:pt>
                <c:pt idx="19">
                  <c:v>0.9500188501413761</c:v>
                </c:pt>
                <c:pt idx="20">
                  <c:v>0.95944392082940622</c:v>
                </c:pt>
                <c:pt idx="21">
                  <c:v>0.96660697455230915</c:v>
                </c:pt>
                <c:pt idx="22">
                  <c:v>0.9712629594721961</c:v>
                </c:pt>
                <c:pt idx="23">
                  <c:v>0.97535344015080117</c:v>
                </c:pt>
                <c:pt idx="24">
                  <c:v>0.97936852026390198</c:v>
                </c:pt>
                <c:pt idx="25">
                  <c:v>0.98307257304429785</c:v>
                </c:pt>
                <c:pt idx="26">
                  <c:v>0.98540056550424127</c:v>
                </c:pt>
                <c:pt idx="27">
                  <c:v>0.98754005655042409</c:v>
                </c:pt>
                <c:pt idx="28">
                  <c:v>0.98956644674835059</c:v>
                </c:pt>
                <c:pt idx="29">
                  <c:v>0.99145146088595659</c:v>
                </c:pt>
                <c:pt idx="30">
                  <c:v>0.99321394910461824</c:v>
                </c:pt>
                <c:pt idx="31">
                  <c:v>0.99489161168708762</c:v>
                </c:pt>
                <c:pt idx="32">
                  <c:v>0.99614514608859561</c:v>
                </c:pt>
                <c:pt idx="33">
                  <c:v>0.99677662582469362</c:v>
                </c:pt>
                <c:pt idx="34">
                  <c:v>0.99734213006597539</c:v>
                </c:pt>
                <c:pt idx="35">
                  <c:v>0.99790763430725715</c:v>
                </c:pt>
                <c:pt idx="36">
                  <c:v>0.99839773798303477</c:v>
                </c:pt>
                <c:pt idx="37">
                  <c:v>0.99877474081055595</c:v>
                </c:pt>
                <c:pt idx="38">
                  <c:v>0.99913289349670109</c:v>
                </c:pt>
                <c:pt idx="39">
                  <c:v>0.99942507068802999</c:v>
                </c:pt>
                <c:pt idx="40">
                  <c:v>0.99960414703110256</c:v>
                </c:pt>
                <c:pt idx="41">
                  <c:v>0.9997643732327991</c:v>
                </c:pt>
                <c:pt idx="42">
                  <c:v>0.99984919886899137</c:v>
                </c:pt>
                <c:pt idx="43">
                  <c:v>0.99993402450518365</c:v>
                </c:pt>
                <c:pt idx="4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Bouvet-Ladu</c:v>
                </c:pt>
                <c:pt idx="1">
                  <c:v>Patriarche</c:v>
                </c:pt>
                <c:pt idx="2">
                  <c:v>All Others</c:v>
                </c:pt>
                <c:pt idx="3">
                  <c:v>Chateau Mon</c:v>
                </c:pt>
                <c:pt idx="4">
                  <c:v>Bottega</c:v>
                </c:pt>
                <c:pt idx="5">
                  <c:v>Savian</c:v>
                </c:pt>
                <c:pt idx="6">
                  <c:v>Mure</c:v>
                </c:pt>
                <c:pt idx="7">
                  <c:v>Kriter</c:v>
                </c:pt>
                <c:pt idx="8">
                  <c:v>De Chanceny</c:v>
                </c:pt>
                <c:pt idx="9">
                  <c:v>Patriarche</c:v>
                </c:pt>
                <c:pt idx="10">
                  <c:v>All Others</c:v>
                </c:pt>
                <c:pt idx="11">
                  <c:v>All Others</c:v>
                </c:pt>
                <c:pt idx="12">
                  <c:v>Bottega</c:v>
                </c:pt>
                <c:pt idx="13">
                  <c:v>Contarini</c:v>
                </c:pt>
                <c:pt idx="14">
                  <c:v>Cru La Maqu</c:v>
                </c:pt>
                <c:pt idx="15">
                  <c:v>All Others</c:v>
                </c:pt>
                <c:pt idx="16">
                  <c:v>All Others</c:v>
                </c:pt>
                <c:pt idx="17">
                  <c:v>All Others</c:v>
                </c:pt>
                <c:pt idx="18">
                  <c:v>Bouvet-Ladu</c:v>
                </c:pt>
                <c:pt idx="19">
                  <c:v>All Others</c:v>
                </c:pt>
                <c:pt idx="20">
                  <c:v>All Others</c:v>
                </c:pt>
                <c:pt idx="21">
                  <c:v>Bouvet-Ladu</c:v>
                </c:pt>
                <c:pt idx="22">
                  <c:v>All Others</c:v>
                </c:pt>
                <c:pt idx="23">
                  <c:v>Bottega</c:v>
                </c:pt>
                <c:pt idx="24">
                  <c:v>Bouvet-Ladu</c:v>
                </c:pt>
                <c:pt idx="25">
                  <c:v>All Others</c:v>
                </c:pt>
                <c:pt idx="26">
                  <c:v>Jaillance</c:v>
                </c:pt>
                <c:pt idx="27">
                  <c:v>All Others</c:v>
                </c:pt>
                <c:pt idx="28">
                  <c:v>Celene</c:v>
                </c:pt>
                <c:pt idx="29">
                  <c:v>Contarini</c:v>
                </c:pt>
                <c:pt idx="30">
                  <c:v>Bottega</c:v>
                </c:pt>
                <c:pt idx="31">
                  <c:v>Celene</c:v>
                </c:pt>
                <c:pt idx="32">
                  <c:v>Mure</c:v>
                </c:pt>
                <c:pt idx="33">
                  <c:v>All Others</c:v>
                </c:pt>
                <c:pt idx="34">
                  <c:v>All Others</c:v>
                </c:pt>
                <c:pt idx="35">
                  <c:v>Bouvet-Ladu</c:v>
                </c:pt>
                <c:pt idx="36">
                  <c:v>All Others</c:v>
                </c:pt>
                <c:pt idx="37">
                  <c:v>Bouvet-Ladu</c:v>
                </c:pt>
                <c:pt idx="38">
                  <c:v>All Others</c:v>
                </c:pt>
                <c:pt idx="39">
                  <c:v>Chateau Mon</c:v>
                </c:pt>
              </c:strCache>
            </c:strRef>
          </c:cat>
          <c:val>
            <c:numRef>
              <c:f>Sheet1!$B$2:$B$41</c:f>
              <c:numCache>
                <c:formatCode>General</c:formatCode>
                <c:ptCount val="40"/>
                <c:pt idx="0">
                  <c:v>0.9</c:v>
                </c:pt>
                <c:pt idx="1">
                  <c:v>0.88</c:v>
                </c:pt>
                <c:pt idx="2">
                  <c:v>0.83</c:v>
                </c:pt>
                <c:pt idx="3">
                  <c:v>0.7</c:v>
                </c:pt>
                <c:pt idx="4">
                  <c:v>0.67</c:v>
                </c:pt>
                <c:pt idx="5">
                  <c:v>0.74</c:v>
                </c:pt>
                <c:pt idx="6">
                  <c:v>0.59</c:v>
                </c:pt>
                <c:pt idx="7">
                  <c:v>0.56999999999999995</c:v>
                </c:pt>
                <c:pt idx="8">
                  <c:v>0.59</c:v>
                </c:pt>
                <c:pt idx="9">
                  <c:v>0.53</c:v>
                </c:pt>
                <c:pt idx="10">
                  <c:v>0.56999999999999995</c:v>
                </c:pt>
                <c:pt idx="11">
                  <c:v>0.37</c:v>
                </c:pt>
                <c:pt idx="12">
                  <c:v>0.5</c:v>
                </c:pt>
                <c:pt idx="13">
                  <c:v>0.75</c:v>
                </c:pt>
                <c:pt idx="14">
                  <c:v>0.25</c:v>
                </c:pt>
                <c:pt idx="15">
                  <c:v>0.25</c:v>
                </c:pt>
                <c:pt idx="16">
                  <c:v>0.34</c:v>
                </c:pt>
                <c:pt idx="17">
                  <c:v>0.24</c:v>
                </c:pt>
                <c:pt idx="18">
                  <c:v>0.16</c:v>
                </c:pt>
                <c:pt idx="19">
                  <c:v>0.28000000000000003</c:v>
                </c:pt>
                <c:pt idx="20">
                  <c:v>0.2</c:v>
                </c:pt>
                <c:pt idx="21">
                  <c:v>0.11</c:v>
                </c:pt>
                <c:pt idx="22">
                  <c:v>0.16</c:v>
                </c:pt>
                <c:pt idx="23">
                  <c:v>0.28000000000000003</c:v>
                </c:pt>
                <c:pt idx="24">
                  <c:v>7.0000000000000007E-2</c:v>
                </c:pt>
                <c:pt idx="25">
                  <c:v>0.2</c:v>
                </c:pt>
                <c:pt idx="26">
                  <c:v>0.08</c:v>
                </c:pt>
                <c:pt idx="27">
                  <c:v>0.09</c:v>
                </c:pt>
                <c:pt idx="28">
                  <c:v>0.19</c:v>
                </c:pt>
                <c:pt idx="29">
                  <c:v>0.17</c:v>
                </c:pt>
                <c:pt idx="30">
                  <c:v>7.0000000000000007E-2</c:v>
                </c:pt>
                <c:pt idx="31">
                  <c:v>0.17</c:v>
                </c:pt>
                <c:pt idx="32">
                  <c:v>0.05</c:v>
                </c:pt>
                <c:pt idx="33">
                  <c:v>0.12</c:v>
                </c:pt>
                <c:pt idx="34">
                  <c:v>0.19</c:v>
                </c:pt>
                <c:pt idx="35">
                  <c:v>0.14000000000000001</c:v>
                </c:pt>
                <c:pt idx="36">
                  <c:v>0.12</c:v>
                </c:pt>
                <c:pt idx="37">
                  <c:v>7.0000000000000007E-2</c:v>
                </c:pt>
                <c:pt idx="38">
                  <c:v>0.13</c:v>
                </c:pt>
                <c:pt idx="39">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Bouvet-Ladu</c:v>
                </c:pt>
                <c:pt idx="1">
                  <c:v>Patriarche</c:v>
                </c:pt>
                <c:pt idx="2">
                  <c:v>All Others</c:v>
                </c:pt>
                <c:pt idx="3">
                  <c:v>Chateau Mon</c:v>
                </c:pt>
                <c:pt idx="4">
                  <c:v>Bottega</c:v>
                </c:pt>
                <c:pt idx="5">
                  <c:v>Savian</c:v>
                </c:pt>
                <c:pt idx="6">
                  <c:v>Mure</c:v>
                </c:pt>
                <c:pt idx="7">
                  <c:v>Kriter</c:v>
                </c:pt>
                <c:pt idx="8">
                  <c:v>De Chanceny</c:v>
                </c:pt>
                <c:pt idx="9">
                  <c:v>Patriarche</c:v>
                </c:pt>
                <c:pt idx="10">
                  <c:v>All Others</c:v>
                </c:pt>
                <c:pt idx="11">
                  <c:v>All Others</c:v>
                </c:pt>
                <c:pt idx="12">
                  <c:v>Bottega</c:v>
                </c:pt>
                <c:pt idx="13">
                  <c:v>Contarini</c:v>
                </c:pt>
                <c:pt idx="14">
                  <c:v>Cru La Maqu</c:v>
                </c:pt>
                <c:pt idx="15">
                  <c:v>All Others</c:v>
                </c:pt>
                <c:pt idx="16">
                  <c:v>All Others</c:v>
                </c:pt>
                <c:pt idx="17">
                  <c:v>All Others</c:v>
                </c:pt>
                <c:pt idx="18">
                  <c:v>Bouvet-Ladu</c:v>
                </c:pt>
                <c:pt idx="19">
                  <c:v>All Others</c:v>
                </c:pt>
                <c:pt idx="20">
                  <c:v>All Others</c:v>
                </c:pt>
                <c:pt idx="21">
                  <c:v>Bouvet-Ladu</c:v>
                </c:pt>
                <c:pt idx="22">
                  <c:v>All Others</c:v>
                </c:pt>
                <c:pt idx="23">
                  <c:v>Bottega</c:v>
                </c:pt>
                <c:pt idx="24">
                  <c:v>Bouvet-Ladu</c:v>
                </c:pt>
                <c:pt idx="25">
                  <c:v>All Others</c:v>
                </c:pt>
                <c:pt idx="26">
                  <c:v>Jaillance</c:v>
                </c:pt>
                <c:pt idx="27">
                  <c:v>All Others</c:v>
                </c:pt>
                <c:pt idx="28">
                  <c:v>Celene</c:v>
                </c:pt>
                <c:pt idx="29">
                  <c:v>Contarini</c:v>
                </c:pt>
                <c:pt idx="30">
                  <c:v>Bottega</c:v>
                </c:pt>
                <c:pt idx="31">
                  <c:v>Celene</c:v>
                </c:pt>
                <c:pt idx="32">
                  <c:v>Mure</c:v>
                </c:pt>
                <c:pt idx="33">
                  <c:v>All Others</c:v>
                </c:pt>
                <c:pt idx="34">
                  <c:v>All Others</c:v>
                </c:pt>
                <c:pt idx="35">
                  <c:v>Bouvet-Ladu</c:v>
                </c:pt>
                <c:pt idx="36">
                  <c:v>All Others</c:v>
                </c:pt>
                <c:pt idx="37">
                  <c:v>Bouvet-Ladu</c:v>
                </c:pt>
                <c:pt idx="38">
                  <c:v>All Others</c:v>
                </c:pt>
                <c:pt idx="39">
                  <c:v>Chateau Mon</c:v>
                </c:pt>
              </c:strCache>
            </c:strRef>
          </c:cat>
          <c:val>
            <c:numRef>
              <c:f>Sheet1!$C$2:$C$41</c:f>
              <c:numCache>
                <c:formatCode>General</c:formatCode>
                <c:ptCount val="40"/>
                <c:pt idx="0">
                  <c:v>0.16161052421765995</c:v>
                </c:pt>
                <c:pt idx="1">
                  <c:v>0.27287223440302971</c:v>
                </c:pt>
                <c:pt idx="2">
                  <c:v>0.38272540030562752</c:v>
                </c:pt>
                <c:pt idx="3">
                  <c:v>0.47158328350275724</c:v>
                </c:pt>
                <c:pt idx="4">
                  <c:v>0.56028170885655437</c:v>
                </c:pt>
                <c:pt idx="5">
                  <c:v>0.62790512258321707</c:v>
                </c:pt>
                <c:pt idx="6">
                  <c:v>0.69357517772905453</c:v>
                </c:pt>
                <c:pt idx="7">
                  <c:v>0.75711912829712313</c:v>
                </c:pt>
                <c:pt idx="8">
                  <c:v>0.8052089562155339</c:v>
                </c:pt>
                <c:pt idx="9">
                  <c:v>0.83569198059929573</c:v>
                </c:pt>
                <c:pt idx="10">
                  <c:v>0.86175004983057601</c:v>
                </c:pt>
                <c:pt idx="11">
                  <c:v>0.88452594511992555</c:v>
                </c:pt>
                <c:pt idx="12">
                  <c:v>0.90251810510929498</c:v>
                </c:pt>
                <c:pt idx="13">
                  <c:v>0.91721480300312264</c:v>
                </c:pt>
                <c:pt idx="14">
                  <c:v>0.9312205169091754</c:v>
                </c:pt>
                <c:pt idx="15">
                  <c:v>0.9434057537705135</c:v>
                </c:pt>
                <c:pt idx="16">
                  <c:v>0.95466081987907769</c:v>
                </c:pt>
                <c:pt idx="17">
                  <c:v>0.96117201514849504</c:v>
                </c:pt>
                <c:pt idx="18">
                  <c:v>0.96701880273735952</c:v>
                </c:pt>
                <c:pt idx="19">
                  <c:v>0.97147033419706319</c:v>
                </c:pt>
                <c:pt idx="20">
                  <c:v>0.97499169490399296</c:v>
                </c:pt>
                <c:pt idx="21">
                  <c:v>0.9780346820809247</c:v>
                </c:pt>
                <c:pt idx="22">
                  <c:v>0.98028038004119311</c:v>
                </c:pt>
                <c:pt idx="23">
                  <c:v>0.98244634907979522</c:v>
                </c:pt>
                <c:pt idx="24">
                  <c:v>0.98455916550395306</c:v>
                </c:pt>
                <c:pt idx="25">
                  <c:v>0.9866719819281109</c:v>
                </c:pt>
                <c:pt idx="26">
                  <c:v>0.98842601820477027</c:v>
                </c:pt>
                <c:pt idx="27">
                  <c:v>0.9901401900205965</c:v>
                </c:pt>
                <c:pt idx="28">
                  <c:v>0.99178792106836744</c:v>
                </c:pt>
                <c:pt idx="29">
                  <c:v>0.99340907580891624</c:v>
                </c:pt>
                <c:pt idx="30">
                  <c:v>0.99467145040196658</c:v>
                </c:pt>
                <c:pt idx="31">
                  <c:v>0.99572121453723994</c:v>
                </c:pt>
                <c:pt idx="32">
                  <c:v>0.99671782605806913</c:v>
                </c:pt>
                <c:pt idx="33">
                  <c:v>0.99743538635306617</c:v>
                </c:pt>
                <c:pt idx="34">
                  <c:v>0.99804664141917476</c:v>
                </c:pt>
                <c:pt idx="35">
                  <c:v>0.99863132017806122</c:v>
                </c:pt>
                <c:pt idx="36">
                  <c:v>0.99916284632250341</c:v>
                </c:pt>
                <c:pt idx="37">
                  <c:v>0.99966779615972357</c:v>
                </c:pt>
                <c:pt idx="38">
                  <c:v>0.99984054215666729</c:v>
                </c:pt>
                <c:pt idx="3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All Others</c:v>
                </c:pt>
                <c:pt idx="1">
                  <c:v>Patriarche</c:v>
                </c:pt>
                <c:pt idx="2">
                  <c:v>Bottega</c:v>
                </c:pt>
                <c:pt idx="3">
                  <c:v>Mure</c:v>
                </c:pt>
                <c:pt idx="4">
                  <c:v>All Others</c:v>
                </c:pt>
                <c:pt idx="5">
                  <c:v>All Others</c:v>
                </c:pt>
                <c:pt idx="6">
                  <c:v>Kriter</c:v>
                </c:pt>
                <c:pt idx="7">
                  <c:v>Bouvet-Ladu</c:v>
                </c:pt>
                <c:pt idx="8">
                  <c:v>Chateau Mon</c:v>
                </c:pt>
                <c:pt idx="9">
                  <c:v>Patriarche</c:v>
                </c:pt>
                <c:pt idx="10">
                  <c:v>Savian</c:v>
                </c:pt>
                <c:pt idx="11">
                  <c:v>De Chanceny</c:v>
                </c:pt>
                <c:pt idx="12">
                  <c:v>All Others</c:v>
                </c:pt>
                <c:pt idx="13">
                  <c:v>All Others</c:v>
                </c:pt>
                <c:pt idx="14">
                  <c:v>Bottega</c:v>
                </c:pt>
                <c:pt idx="15">
                  <c:v>All Others</c:v>
                </c:pt>
                <c:pt idx="16">
                  <c:v>Cru La Maqu</c:v>
                </c:pt>
                <c:pt idx="17">
                  <c:v>Contarini</c:v>
                </c:pt>
                <c:pt idx="18">
                  <c:v>All Others</c:v>
                </c:pt>
                <c:pt idx="19">
                  <c:v>All Others</c:v>
                </c:pt>
                <c:pt idx="20">
                  <c:v>All Others</c:v>
                </c:pt>
                <c:pt idx="21">
                  <c:v>All Others</c:v>
                </c:pt>
                <c:pt idx="22">
                  <c:v>All Others</c:v>
                </c:pt>
                <c:pt idx="23">
                  <c:v>All Others</c:v>
                </c:pt>
                <c:pt idx="24">
                  <c:v>All Others</c:v>
                </c:pt>
                <c:pt idx="25">
                  <c:v>All Others</c:v>
                </c:pt>
                <c:pt idx="26">
                  <c:v>All Others</c:v>
                </c:pt>
                <c:pt idx="27">
                  <c:v>All Others</c:v>
                </c:pt>
                <c:pt idx="28">
                  <c:v>All Others</c:v>
                </c:pt>
                <c:pt idx="29">
                  <c:v>Bouvet-Ladu</c:v>
                </c:pt>
                <c:pt idx="30">
                  <c:v>Contarini</c:v>
                </c:pt>
                <c:pt idx="31">
                  <c:v>Bouvet-Ladu</c:v>
                </c:pt>
                <c:pt idx="32">
                  <c:v>All Others</c:v>
                </c:pt>
                <c:pt idx="33">
                  <c:v>All Others</c:v>
                </c:pt>
                <c:pt idx="34">
                  <c:v>Bouvet-Ladu</c:v>
                </c:pt>
                <c:pt idx="35">
                  <c:v>All Others</c:v>
                </c:pt>
                <c:pt idx="36">
                  <c:v>Celene</c:v>
                </c:pt>
                <c:pt idx="37">
                  <c:v>All Others</c:v>
                </c:pt>
                <c:pt idx="38">
                  <c:v>Bouvet-Ladu</c:v>
                </c:pt>
                <c:pt idx="39">
                  <c:v>Bouvet-Ladu</c:v>
                </c:pt>
                <c:pt idx="40">
                  <c:v>Bottega</c:v>
                </c:pt>
                <c:pt idx="41">
                  <c:v>Celene</c:v>
                </c:pt>
                <c:pt idx="42">
                  <c:v>All Others</c:v>
                </c:pt>
                <c:pt idx="43">
                  <c:v>All Others</c:v>
                </c:pt>
                <c:pt idx="44">
                  <c:v>Jaillance</c:v>
                </c:pt>
                <c:pt idx="45">
                  <c:v>All Others</c:v>
                </c:pt>
                <c:pt idx="46">
                  <c:v>All Others</c:v>
                </c:pt>
                <c:pt idx="47">
                  <c:v>All Others</c:v>
                </c:pt>
                <c:pt idx="48">
                  <c:v>All Others</c:v>
                </c:pt>
              </c:strCache>
            </c:strRef>
          </c:cat>
          <c:val>
            <c:numRef>
              <c:f>Sheet1!$B$2:$B$50</c:f>
              <c:numCache>
                <c:formatCode>General</c:formatCode>
                <c:ptCount val="49"/>
                <c:pt idx="0">
                  <c:v>0.96</c:v>
                </c:pt>
                <c:pt idx="1">
                  <c:v>0.94</c:v>
                </c:pt>
                <c:pt idx="2">
                  <c:v>0.83</c:v>
                </c:pt>
                <c:pt idx="3">
                  <c:v>0.93</c:v>
                </c:pt>
                <c:pt idx="4">
                  <c:v>0.73</c:v>
                </c:pt>
                <c:pt idx="5">
                  <c:v>0.47</c:v>
                </c:pt>
                <c:pt idx="6">
                  <c:v>0.93</c:v>
                </c:pt>
                <c:pt idx="7">
                  <c:v>0.8</c:v>
                </c:pt>
                <c:pt idx="8">
                  <c:v>0.74</c:v>
                </c:pt>
                <c:pt idx="9">
                  <c:v>0.69</c:v>
                </c:pt>
                <c:pt idx="10">
                  <c:v>0.56999999999999995</c:v>
                </c:pt>
                <c:pt idx="11">
                  <c:v>0.74</c:v>
                </c:pt>
                <c:pt idx="12">
                  <c:v>0.42</c:v>
                </c:pt>
                <c:pt idx="13">
                  <c:v>0.47</c:v>
                </c:pt>
                <c:pt idx="14">
                  <c:v>0.64</c:v>
                </c:pt>
                <c:pt idx="15">
                  <c:v>0.63</c:v>
                </c:pt>
                <c:pt idx="16">
                  <c:v>0.48</c:v>
                </c:pt>
                <c:pt idx="17">
                  <c:v>0.62</c:v>
                </c:pt>
                <c:pt idx="18">
                  <c:v>0.38</c:v>
                </c:pt>
                <c:pt idx="19">
                  <c:v>0.28000000000000003</c:v>
                </c:pt>
                <c:pt idx="20">
                  <c:v>0.46</c:v>
                </c:pt>
                <c:pt idx="21">
                  <c:v>0.49</c:v>
                </c:pt>
                <c:pt idx="22">
                  <c:v>0.42</c:v>
                </c:pt>
                <c:pt idx="23">
                  <c:v>0.28000000000000003</c:v>
                </c:pt>
                <c:pt idx="24">
                  <c:v>0.23</c:v>
                </c:pt>
                <c:pt idx="25">
                  <c:v>0.15</c:v>
                </c:pt>
                <c:pt idx="26">
                  <c:v>0.22</c:v>
                </c:pt>
                <c:pt idx="27">
                  <c:v>0.15</c:v>
                </c:pt>
                <c:pt idx="28">
                  <c:v>0.25</c:v>
                </c:pt>
                <c:pt idx="29">
                  <c:v>0.2</c:v>
                </c:pt>
                <c:pt idx="30">
                  <c:v>0.14000000000000001</c:v>
                </c:pt>
                <c:pt idx="31">
                  <c:v>0.13</c:v>
                </c:pt>
                <c:pt idx="32">
                  <c:v>0.14000000000000001</c:v>
                </c:pt>
                <c:pt idx="33">
                  <c:v>0.33</c:v>
                </c:pt>
                <c:pt idx="34">
                  <c:v>0.2</c:v>
                </c:pt>
                <c:pt idx="35">
                  <c:v>0.15</c:v>
                </c:pt>
                <c:pt idx="36">
                  <c:v>0.15</c:v>
                </c:pt>
                <c:pt idx="37">
                  <c:v>0.16</c:v>
                </c:pt>
                <c:pt idx="38">
                  <c:v>0.16</c:v>
                </c:pt>
                <c:pt idx="39">
                  <c:v>0.08</c:v>
                </c:pt>
                <c:pt idx="40">
                  <c:v>0.15</c:v>
                </c:pt>
                <c:pt idx="41">
                  <c:v>0.15</c:v>
                </c:pt>
                <c:pt idx="42">
                  <c:v>0.13</c:v>
                </c:pt>
                <c:pt idx="43">
                  <c:v>0.1</c:v>
                </c:pt>
                <c:pt idx="44">
                  <c:v>0.1</c:v>
                </c:pt>
                <c:pt idx="45">
                  <c:v>0.13</c:v>
                </c:pt>
                <c:pt idx="46">
                  <c:v>0.09</c:v>
                </c:pt>
                <c:pt idx="47">
                  <c:v>0.06</c:v>
                </c:pt>
                <c:pt idx="48">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All Others</c:v>
                </c:pt>
                <c:pt idx="1">
                  <c:v>Patriarche</c:v>
                </c:pt>
                <c:pt idx="2">
                  <c:v>Bottega</c:v>
                </c:pt>
                <c:pt idx="3">
                  <c:v>Mure</c:v>
                </c:pt>
                <c:pt idx="4">
                  <c:v>All Others</c:v>
                </c:pt>
                <c:pt idx="5">
                  <c:v>All Others</c:v>
                </c:pt>
                <c:pt idx="6">
                  <c:v>Kriter</c:v>
                </c:pt>
                <c:pt idx="7">
                  <c:v>Bouvet-Ladu</c:v>
                </c:pt>
                <c:pt idx="8">
                  <c:v>Chateau Mon</c:v>
                </c:pt>
                <c:pt idx="9">
                  <c:v>Patriarche</c:v>
                </c:pt>
                <c:pt idx="10">
                  <c:v>Savian</c:v>
                </c:pt>
                <c:pt idx="11">
                  <c:v>De Chanceny</c:v>
                </c:pt>
                <c:pt idx="12">
                  <c:v>All Others</c:v>
                </c:pt>
                <c:pt idx="13">
                  <c:v>All Others</c:v>
                </c:pt>
                <c:pt idx="14">
                  <c:v>Bottega</c:v>
                </c:pt>
                <c:pt idx="15">
                  <c:v>All Others</c:v>
                </c:pt>
                <c:pt idx="16">
                  <c:v>Cru La Maqu</c:v>
                </c:pt>
                <c:pt idx="17">
                  <c:v>Contarini</c:v>
                </c:pt>
                <c:pt idx="18">
                  <c:v>All Others</c:v>
                </c:pt>
                <c:pt idx="19">
                  <c:v>All Others</c:v>
                </c:pt>
                <c:pt idx="20">
                  <c:v>All Others</c:v>
                </c:pt>
                <c:pt idx="21">
                  <c:v>All Others</c:v>
                </c:pt>
                <c:pt idx="22">
                  <c:v>All Others</c:v>
                </c:pt>
                <c:pt idx="23">
                  <c:v>All Others</c:v>
                </c:pt>
                <c:pt idx="24">
                  <c:v>All Others</c:v>
                </c:pt>
                <c:pt idx="25">
                  <c:v>All Others</c:v>
                </c:pt>
                <c:pt idx="26">
                  <c:v>All Others</c:v>
                </c:pt>
                <c:pt idx="27">
                  <c:v>All Others</c:v>
                </c:pt>
                <c:pt idx="28">
                  <c:v>All Others</c:v>
                </c:pt>
                <c:pt idx="29">
                  <c:v>Bouvet-Ladu</c:v>
                </c:pt>
                <c:pt idx="30">
                  <c:v>Contarini</c:v>
                </c:pt>
                <c:pt idx="31">
                  <c:v>Bouvet-Ladu</c:v>
                </c:pt>
                <c:pt idx="32">
                  <c:v>All Others</c:v>
                </c:pt>
                <c:pt idx="33">
                  <c:v>All Others</c:v>
                </c:pt>
                <c:pt idx="34">
                  <c:v>Bouvet-Ladu</c:v>
                </c:pt>
                <c:pt idx="35">
                  <c:v>All Others</c:v>
                </c:pt>
                <c:pt idx="36">
                  <c:v>Celene</c:v>
                </c:pt>
                <c:pt idx="37">
                  <c:v>All Others</c:v>
                </c:pt>
                <c:pt idx="38">
                  <c:v>Bouvet-Ladu</c:v>
                </c:pt>
                <c:pt idx="39">
                  <c:v>Bouvet-Ladu</c:v>
                </c:pt>
                <c:pt idx="40">
                  <c:v>Bottega</c:v>
                </c:pt>
                <c:pt idx="41">
                  <c:v>Celene</c:v>
                </c:pt>
                <c:pt idx="42">
                  <c:v>All Others</c:v>
                </c:pt>
                <c:pt idx="43">
                  <c:v>All Others</c:v>
                </c:pt>
                <c:pt idx="44">
                  <c:v>Jaillance</c:v>
                </c:pt>
                <c:pt idx="45">
                  <c:v>All Others</c:v>
                </c:pt>
                <c:pt idx="46">
                  <c:v>All Others</c:v>
                </c:pt>
                <c:pt idx="47">
                  <c:v>All Others</c:v>
                </c:pt>
                <c:pt idx="48">
                  <c:v>All Others</c:v>
                </c:pt>
              </c:strCache>
            </c:strRef>
          </c:cat>
          <c:val>
            <c:numRef>
              <c:f>Sheet1!$C$2:$C$50</c:f>
              <c:numCache>
                <c:formatCode>General</c:formatCode>
                <c:ptCount val="49"/>
                <c:pt idx="0">
                  <c:v>0.13987276478679506</c:v>
                </c:pt>
                <c:pt idx="1">
                  <c:v>0.25672713204951858</c:v>
                </c:pt>
                <c:pt idx="2">
                  <c:v>0.35925679160935353</c:v>
                </c:pt>
                <c:pt idx="3">
                  <c:v>0.45086829436038517</c:v>
                </c:pt>
                <c:pt idx="4">
                  <c:v>0.54022309147180192</c:v>
                </c:pt>
                <c:pt idx="5">
                  <c:v>0.59711356602475929</c:v>
                </c:pt>
                <c:pt idx="6">
                  <c:v>0.65342374484181565</c:v>
                </c:pt>
                <c:pt idx="7">
                  <c:v>0.70705811554332876</c:v>
                </c:pt>
                <c:pt idx="8">
                  <c:v>0.74903284044016505</c:v>
                </c:pt>
                <c:pt idx="9">
                  <c:v>0.77759628610729026</c:v>
                </c:pt>
                <c:pt idx="10">
                  <c:v>0.80424690508940855</c:v>
                </c:pt>
                <c:pt idx="11">
                  <c:v>0.82741574965612108</c:v>
                </c:pt>
                <c:pt idx="12">
                  <c:v>0.84455596629986252</c:v>
                </c:pt>
                <c:pt idx="13">
                  <c:v>0.86043887551581855</c:v>
                </c:pt>
                <c:pt idx="14">
                  <c:v>0.87538686382393405</c:v>
                </c:pt>
                <c:pt idx="15">
                  <c:v>0.88837904057771677</c:v>
                </c:pt>
                <c:pt idx="16">
                  <c:v>0.90095211485557092</c:v>
                </c:pt>
                <c:pt idx="17">
                  <c:v>0.91246131361760663</c:v>
                </c:pt>
                <c:pt idx="18">
                  <c:v>0.92283141334250351</c:v>
                </c:pt>
                <c:pt idx="19">
                  <c:v>0.93242778541953242</c:v>
                </c:pt>
                <c:pt idx="20">
                  <c:v>0.94145460797799185</c:v>
                </c:pt>
                <c:pt idx="21">
                  <c:v>0.9504599381017883</c:v>
                </c:pt>
                <c:pt idx="22">
                  <c:v>0.9584981086657498</c:v>
                </c:pt>
                <c:pt idx="23">
                  <c:v>0.96317271320495201</c:v>
                </c:pt>
                <c:pt idx="24">
                  <c:v>0.96778284044016527</c:v>
                </c:pt>
                <c:pt idx="25">
                  <c:v>0.97214580467675404</c:v>
                </c:pt>
                <c:pt idx="26">
                  <c:v>0.9763798143053648</c:v>
                </c:pt>
                <c:pt idx="27">
                  <c:v>0.97957144085282011</c:v>
                </c:pt>
                <c:pt idx="28">
                  <c:v>0.98256963548830845</c:v>
                </c:pt>
                <c:pt idx="29">
                  <c:v>0.98500902682255875</c:v>
                </c:pt>
                <c:pt idx="30">
                  <c:v>0.98715827028885861</c:v>
                </c:pt>
                <c:pt idx="31">
                  <c:v>0.98869497936726303</c:v>
                </c:pt>
                <c:pt idx="32">
                  <c:v>0.99008124140302645</c:v>
                </c:pt>
                <c:pt idx="33">
                  <c:v>0.99145675722145832</c:v>
                </c:pt>
                <c:pt idx="34">
                  <c:v>0.99278928817056422</c:v>
                </c:pt>
                <c:pt idx="35">
                  <c:v>0.99369197042641011</c:v>
                </c:pt>
                <c:pt idx="36">
                  <c:v>0.994594652682256</c:v>
                </c:pt>
                <c:pt idx="37">
                  <c:v>0.99544360385144448</c:v>
                </c:pt>
                <c:pt idx="38">
                  <c:v>0.99619583906464948</c:v>
                </c:pt>
                <c:pt idx="39">
                  <c:v>0.9969050894085284</c:v>
                </c:pt>
                <c:pt idx="40">
                  <c:v>0.99752837001375538</c:v>
                </c:pt>
                <c:pt idx="41">
                  <c:v>0.99809791953232485</c:v>
                </c:pt>
                <c:pt idx="42">
                  <c:v>0.99862448418156835</c:v>
                </c:pt>
                <c:pt idx="43">
                  <c:v>0.99904358665749682</c:v>
                </c:pt>
                <c:pt idx="44">
                  <c:v>0.9993659731774418</c:v>
                </c:pt>
                <c:pt idx="45">
                  <c:v>0.99960238995873474</c:v>
                </c:pt>
                <c:pt idx="46">
                  <c:v>0.99979582187070171</c:v>
                </c:pt>
                <c:pt idx="47">
                  <c:v>0.99990328404401674</c:v>
                </c:pt>
                <c:pt idx="4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3</c:f>
              <c:strCache>
                <c:ptCount val="42"/>
                <c:pt idx="0">
                  <c:v>All Others</c:v>
                </c:pt>
                <c:pt idx="1">
                  <c:v>All Others</c:v>
                </c:pt>
                <c:pt idx="2">
                  <c:v>All Others</c:v>
                </c:pt>
                <c:pt idx="3">
                  <c:v>Patriarche</c:v>
                </c:pt>
                <c:pt idx="4">
                  <c:v>Mure</c:v>
                </c:pt>
                <c:pt idx="5">
                  <c:v>Bottega</c:v>
                </c:pt>
                <c:pt idx="6">
                  <c:v>Bouvet-Ladu</c:v>
                </c:pt>
                <c:pt idx="7">
                  <c:v>All Others</c:v>
                </c:pt>
                <c:pt idx="8">
                  <c:v>Kriter</c:v>
                </c:pt>
                <c:pt idx="9">
                  <c:v>Chateau Mon</c:v>
                </c:pt>
                <c:pt idx="10">
                  <c:v>Savian</c:v>
                </c:pt>
                <c:pt idx="11">
                  <c:v>Patriarche</c:v>
                </c:pt>
                <c:pt idx="12">
                  <c:v>All Others</c:v>
                </c:pt>
                <c:pt idx="13">
                  <c:v>All Others</c:v>
                </c:pt>
                <c:pt idx="14">
                  <c:v>All Others</c:v>
                </c:pt>
                <c:pt idx="15">
                  <c:v>De Chanceny</c:v>
                </c:pt>
                <c:pt idx="16">
                  <c:v>All Others</c:v>
                </c:pt>
                <c:pt idx="17">
                  <c:v>Cru La Maqu</c:v>
                </c:pt>
                <c:pt idx="18">
                  <c:v>All Others</c:v>
                </c:pt>
                <c:pt idx="19">
                  <c:v>Bottega</c:v>
                </c:pt>
                <c:pt idx="20">
                  <c:v>All Others</c:v>
                </c:pt>
                <c:pt idx="21">
                  <c:v>All Others</c:v>
                </c:pt>
                <c:pt idx="22">
                  <c:v>All Others</c:v>
                </c:pt>
                <c:pt idx="23">
                  <c:v>All Others</c:v>
                </c:pt>
                <c:pt idx="24">
                  <c:v>Contarini</c:v>
                </c:pt>
                <c:pt idx="25">
                  <c:v>All Others</c:v>
                </c:pt>
                <c:pt idx="26">
                  <c:v>All Others</c:v>
                </c:pt>
                <c:pt idx="27">
                  <c:v>Contarini</c:v>
                </c:pt>
                <c:pt idx="28">
                  <c:v>All Others</c:v>
                </c:pt>
                <c:pt idx="29">
                  <c:v>All Others</c:v>
                </c:pt>
                <c:pt idx="30">
                  <c:v>Bouvet-Ladu</c:v>
                </c:pt>
                <c:pt idx="31">
                  <c:v>Bottega</c:v>
                </c:pt>
                <c:pt idx="32">
                  <c:v>Celene</c:v>
                </c:pt>
                <c:pt idx="33">
                  <c:v>All Others</c:v>
                </c:pt>
                <c:pt idx="34">
                  <c:v>Celene</c:v>
                </c:pt>
                <c:pt idx="35">
                  <c:v>Bouvet-Ladu</c:v>
                </c:pt>
                <c:pt idx="36">
                  <c:v>Contarini</c:v>
                </c:pt>
                <c:pt idx="37">
                  <c:v>All Others</c:v>
                </c:pt>
                <c:pt idx="38">
                  <c:v>All Others</c:v>
                </c:pt>
                <c:pt idx="39">
                  <c:v>All Others</c:v>
                </c:pt>
                <c:pt idx="40">
                  <c:v>Bottega</c:v>
                </c:pt>
                <c:pt idx="41">
                  <c:v>All Others</c:v>
                </c:pt>
              </c:strCache>
            </c:strRef>
          </c:cat>
          <c:val>
            <c:numRef>
              <c:f>Sheet1!$B$2:$B$43</c:f>
              <c:numCache>
                <c:formatCode>General</c:formatCode>
                <c:ptCount val="42"/>
                <c:pt idx="0">
                  <c:v>1</c:v>
                </c:pt>
                <c:pt idx="1">
                  <c:v>0.28000000000000003</c:v>
                </c:pt>
                <c:pt idx="2">
                  <c:v>0.9</c:v>
                </c:pt>
                <c:pt idx="3">
                  <c:v>1</c:v>
                </c:pt>
                <c:pt idx="4">
                  <c:v>0.83</c:v>
                </c:pt>
                <c:pt idx="5">
                  <c:v>0.72</c:v>
                </c:pt>
                <c:pt idx="6">
                  <c:v>0.98</c:v>
                </c:pt>
                <c:pt idx="7">
                  <c:v>0.56999999999999995</c:v>
                </c:pt>
                <c:pt idx="8">
                  <c:v>0.89</c:v>
                </c:pt>
                <c:pt idx="9">
                  <c:v>0.82</c:v>
                </c:pt>
                <c:pt idx="10">
                  <c:v>0.8</c:v>
                </c:pt>
                <c:pt idx="11">
                  <c:v>0.69</c:v>
                </c:pt>
                <c:pt idx="12">
                  <c:v>0.66</c:v>
                </c:pt>
                <c:pt idx="13">
                  <c:v>0.59</c:v>
                </c:pt>
                <c:pt idx="14">
                  <c:v>0.68</c:v>
                </c:pt>
                <c:pt idx="15">
                  <c:v>0.75</c:v>
                </c:pt>
                <c:pt idx="16">
                  <c:v>0.23</c:v>
                </c:pt>
                <c:pt idx="17">
                  <c:v>0.62</c:v>
                </c:pt>
                <c:pt idx="18">
                  <c:v>0.33</c:v>
                </c:pt>
                <c:pt idx="19">
                  <c:v>0.59</c:v>
                </c:pt>
                <c:pt idx="20">
                  <c:v>0.47</c:v>
                </c:pt>
                <c:pt idx="21">
                  <c:v>0.56000000000000005</c:v>
                </c:pt>
                <c:pt idx="22">
                  <c:v>0.59</c:v>
                </c:pt>
                <c:pt idx="23">
                  <c:v>0.28000000000000003</c:v>
                </c:pt>
                <c:pt idx="24">
                  <c:v>0.83</c:v>
                </c:pt>
                <c:pt idx="25">
                  <c:v>0.68</c:v>
                </c:pt>
                <c:pt idx="26">
                  <c:v>0.31</c:v>
                </c:pt>
                <c:pt idx="27">
                  <c:v>0.45</c:v>
                </c:pt>
                <c:pt idx="28">
                  <c:v>0.21</c:v>
                </c:pt>
                <c:pt idx="29">
                  <c:v>0.31</c:v>
                </c:pt>
                <c:pt idx="30">
                  <c:v>0.33</c:v>
                </c:pt>
                <c:pt idx="31">
                  <c:v>0.52</c:v>
                </c:pt>
                <c:pt idx="32">
                  <c:v>0.39</c:v>
                </c:pt>
                <c:pt idx="33">
                  <c:v>0.56000000000000005</c:v>
                </c:pt>
                <c:pt idx="34">
                  <c:v>0.34</c:v>
                </c:pt>
                <c:pt idx="35">
                  <c:v>0.05</c:v>
                </c:pt>
                <c:pt idx="36">
                  <c:v>7.0000000000000007E-2</c:v>
                </c:pt>
                <c:pt idx="37">
                  <c:v>0.38</c:v>
                </c:pt>
                <c:pt idx="38">
                  <c:v>0.34</c:v>
                </c:pt>
                <c:pt idx="39">
                  <c:v>0.08</c:v>
                </c:pt>
                <c:pt idx="40">
                  <c:v>0.2</c:v>
                </c:pt>
                <c:pt idx="41">
                  <c:v>0.3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3</c:f>
              <c:strCache>
                <c:ptCount val="42"/>
                <c:pt idx="0">
                  <c:v>All Others</c:v>
                </c:pt>
                <c:pt idx="1">
                  <c:v>All Others</c:v>
                </c:pt>
                <c:pt idx="2">
                  <c:v>All Others</c:v>
                </c:pt>
                <c:pt idx="3">
                  <c:v>Patriarche</c:v>
                </c:pt>
                <c:pt idx="4">
                  <c:v>Mure</c:v>
                </c:pt>
                <c:pt idx="5">
                  <c:v>Bottega</c:v>
                </c:pt>
                <c:pt idx="6">
                  <c:v>Bouvet-Ladu</c:v>
                </c:pt>
                <c:pt idx="7">
                  <c:v>All Others</c:v>
                </c:pt>
                <c:pt idx="8">
                  <c:v>Kriter</c:v>
                </c:pt>
                <c:pt idx="9">
                  <c:v>Chateau Mon</c:v>
                </c:pt>
                <c:pt idx="10">
                  <c:v>Savian</c:v>
                </c:pt>
                <c:pt idx="11">
                  <c:v>Patriarche</c:v>
                </c:pt>
                <c:pt idx="12">
                  <c:v>All Others</c:v>
                </c:pt>
                <c:pt idx="13">
                  <c:v>All Others</c:v>
                </c:pt>
                <c:pt idx="14">
                  <c:v>All Others</c:v>
                </c:pt>
                <c:pt idx="15">
                  <c:v>De Chanceny</c:v>
                </c:pt>
                <c:pt idx="16">
                  <c:v>All Others</c:v>
                </c:pt>
                <c:pt idx="17">
                  <c:v>Cru La Maqu</c:v>
                </c:pt>
                <c:pt idx="18">
                  <c:v>All Others</c:v>
                </c:pt>
                <c:pt idx="19">
                  <c:v>Bottega</c:v>
                </c:pt>
                <c:pt idx="20">
                  <c:v>All Others</c:v>
                </c:pt>
                <c:pt idx="21">
                  <c:v>All Others</c:v>
                </c:pt>
                <c:pt idx="22">
                  <c:v>All Others</c:v>
                </c:pt>
                <c:pt idx="23">
                  <c:v>All Others</c:v>
                </c:pt>
                <c:pt idx="24">
                  <c:v>Contarini</c:v>
                </c:pt>
                <c:pt idx="25">
                  <c:v>All Others</c:v>
                </c:pt>
                <c:pt idx="26">
                  <c:v>All Others</c:v>
                </c:pt>
                <c:pt idx="27">
                  <c:v>Contarini</c:v>
                </c:pt>
                <c:pt idx="28">
                  <c:v>All Others</c:v>
                </c:pt>
                <c:pt idx="29">
                  <c:v>All Others</c:v>
                </c:pt>
                <c:pt idx="30">
                  <c:v>Bouvet-Ladu</c:v>
                </c:pt>
                <c:pt idx="31">
                  <c:v>Bottega</c:v>
                </c:pt>
                <c:pt idx="32">
                  <c:v>Celene</c:v>
                </c:pt>
                <c:pt idx="33">
                  <c:v>All Others</c:v>
                </c:pt>
                <c:pt idx="34">
                  <c:v>Celene</c:v>
                </c:pt>
                <c:pt idx="35">
                  <c:v>Bouvet-Ladu</c:v>
                </c:pt>
                <c:pt idx="36">
                  <c:v>Contarini</c:v>
                </c:pt>
                <c:pt idx="37">
                  <c:v>All Others</c:v>
                </c:pt>
                <c:pt idx="38">
                  <c:v>All Others</c:v>
                </c:pt>
                <c:pt idx="39">
                  <c:v>All Others</c:v>
                </c:pt>
                <c:pt idx="40">
                  <c:v>Bottega</c:v>
                </c:pt>
                <c:pt idx="41">
                  <c:v>All Others</c:v>
                </c:pt>
              </c:strCache>
            </c:strRef>
          </c:cat>
          <c:val>
            <c:numRef>
              <c:f>Sheet1!$C$2:$C$43</c:f>
              <c:numCache>
                <c:formatCode>General</c:formatCode>
                <c:ptCount val="42"/>
                <c:pt idx="0">
                  <c:v>0.10688252667588181</c:v>
                </c:pt>
                <c:pt idx="1">
                  <c:v>0.21109995127238734</c:v>
                </c:pt>
                <c:pt idx="2">
                  <c:v>0.31057389194403284</c:v>
                </c:pt>
                <c:pt idx="3">
                  <c:v>0.40359391004286038</c:v>
                </c:pt>
                <c:pt idx="4">
                  <c:v>0.46790441432392921</c:v>
                </c:pt>
                <c:pt idx="5">
                  <c:v>0.53138953251325094</c:v>
                </c:pt>
                <c:pt idx="6">
                  <c:v>0.58890800425620782</c:v>
                </c:pt>
                <c:pt idx="7">
                  <c:v>0.63718811841804313</c:v>
                </c:pt>
                <c:pt idx="8">
                  <c:v>0.67711492755496772</c:v>
                </c:pt>
                <c:pt idx="9">
                  <c:v>0.71480424427450551</c:v>
                </c:pt>
                <c:pt idx="10">
                  <c:v>0.74399108980797346</c:v>
                </c:pt>
                <c:pt idx="11">
                  <c:v>0.7711393311389334</c:v>
                </c:pt>
                <c:pt idx="12">
                  <c:v>0.79320597857973929</c:v>
                </c:pt>
                <c:pt idx="13">
                  <c:v>0.81255780188744919</c:v>
                </c:pt>
                <c:pt idx="14">
                  <c:v>0.83184001431995147</c:v>
                </c:pt>
                <c:pt idx="15">
                  <c:v>0.84796984854662438</c:v>
                </c:pt>
                <c:pt idx="16">
                  <c:v>0.86358257341461231</c:v>
                </c:pt>
                <c:pt idx="17">
                  <c:v>0.87792241370737578</c:v>
                </c:pt>
                <c:pt idx="18">
                  <c:v>0.89192414403484521</c:v>
                </c:pt>
                <c:pt idx="19">
                  <c:v>0.90556787557553275</c:v>
                </c:pt>
                <c:pt idx="20">
                  <c:v>0.9178790560765322</c:v>
                </c:pt>
                <c:pt idx="21">
                  <c:v>0.92994162630893307</c:v>
                </c:pt>
                <c:pt idx="22">
                  <c:v>0.94182519714794299</c:v>
                </c:pt>
                <c:pt idx="23">
                  <c:v>0.95333088037868319</c:v>
                </c:pt>
                <c:pt idx="24">
                  <c:v>0.96332501317634422</c:v>
                </c:pt>
                <c:pt idx="25">
                  <c:v>0.97200648375580501</c:v>
                </c:pt>
                <c:pt idx="26">
                  <c:v>0.97730685468232581</c:v>
                </c:pt>
                <c:pt idx="27">
                  <c:v>0.98216967153611312</c:v>
                </c:pt>
                <c:pt idx="28">
                  <c:v>0.98658498990642307</c:v>
                </c:pt>
                <c:pt idx="29">
                  <c:v>0.9901450889527541</c:v>
                </c:pt>
                <c:pt idx="30">
                  <c:v>0.99260135840650765</c:v>
                </c:pt>
                <c:pt idx="31">
                  <c:v>0.99422229735777012</c:v>
                </c:pt>
                <c:pt idx="32">
                  <c:v>0.9957239033801053</c:v>
                </c:pt>
                <c:pt idx="33">
                  <c:v>0.9972155649916965</c:v>
                </c:pt>
                <c:pt idx="34">
                  <c:v>0.99809067313716338</c:v>
                </c:pt>
                <c:pt idx="35">
                  <c:v>0.99860778249584836</c:v>
                </c:pt>
                <c:pt idx="36">
                  <c:v>0.99895583687188627</c:v>
                </c:pt>
                <c:pt idx="37">
                  <c:v>0.99927405801569236</c:v>
                </c:pt>
                <c:pt idx="38">
                  <c:v>0.99954255710577877</c:v>
                </c:pt>
                <c:pt idx="39">
                  <c:v>0.99979116737437734</c:v>
                </c:pt>
                <c:pt idx="40">
                  <c:v>0.99991050030330464</c:v>
                </c:pt>
                <c:pt idx="4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5</c:f>
              <c:strCache>
                <c:ptCount val="44"/>
                <c:pt idx="0">
                  <c:v>Bouvet-Ladu</c:v>
                </c:pt>
                <c:pt idx="1">
                  <c:v>All Others</c:v>
                </c:pt>
                <c:pt idx="2">
                  <c:v>All Others</c:v>
                </c:pt>
                <c:pt idx="3">
                  <c:v>All Others</c:v>
                </c:pt>
                <c:pt idx="4">
                  <c:v>All Others</c:v>
                </c:pt>
                <c:pt idx="5">
                  <c:v>De Chanceny</c:v>
                </c:pt>
                <c:pt idx="6">
                  <c:v>Mure</c:v>
                </c:pt>
                <c:pt idx="7">
                  <c:v>Patriarche</c:v>
                </c:pt>
                <c:pt idx="8">
                  <c:v>Bottega</c:v>
                </c:pt>
                <c:pt idx="9">
                  <c:v>Chateau Mon</c:v>
                </c:pt>
                <c:pt idx="10">
                  <c:v>Savian</c:v>
                </c:pt>
                <c:pt idx="11">
                  <c:v>Kriter</c:v>
                </c:pt>
                <c:pt idx="12">
                  <c:v>Bouvet-Ladu</c:v>
                </c:pt>
                <c:pt idx="13">
                  <c:v>Bottega</c:v>
                </c:pt>
                <c:pt idx="14">
                  <c:v>All Others</c:v>
                </c:pt>
                <c:pt idx="15">
                  <c:v>All Others</c:v>
                </c:pt>
                <c:pt idx="16">
                  <c:v>All Others</c:v>
                </c:pt>
                <c:pt idx="17">
                  <c:v>All Others</c:v>
                </c:pt>
                <c:pt idx="18">
                  <c:v>All Others</c:v>
                </c:pt>
                <c:pt idx="19">
                  <c:v>Patriarche</c:v>
                </c:pt>
                <c:pt idx="20">
                  <c:v>Contarini</c:v>
                </c:pt>
                <c:pt idx="21">
                  <c:v>All Others</c:v>
                </c:pt>
                <c:pt idx="22">
                  <c:v>All Others</c:v>
                </c:pt>
                <c:pt idx="23">
                  <c:v>All Others</c:v>
                </c:pt>
                <c:pt idx="24">
                  <c:v>All Others</c:v>
                </c:pt>
                <c:pt idx="25">
                  <c:v>Bouvet-Ladu</c:v>
                </c:pt>
                <c:pt idx="26">
                  <c:v>All Others</c:v>
                </c:pt>
                <c:pt idx="27">
                  <c:v>Cru La Maqu</c:v>
                </c:pt>
                <c:pt idx="28">
                  <c:v>All Others</c:v>
                </c:pt>
                <c:pt idx="29">
                  <c:v>All Others</c:v>
                </c:pt>
                <c:pt idx="30">
                  <c:v>Bouvet-Ladu</c:v>
                </c:pt>
                <c:pt idx="31">
                  <c:v>All Others</c:v>
                </c:pt>
                <c:pt idx="32">
                  <c:v>All Others</c:v>
                </c:pt>
                <c:pt idx="33">
                  <c:v>All Others</c:v>
                </c:pt>
                <c:pt idx="34">
                  <c:v>All Others</c:v>
                </c:pt>
                <c:pt idx="35">
                  <c:v>All Others</c:v>
                </c:pt>
                <c:pt idx="36">
                  <c:v>Contarini</c:v>
                </c:pt>
                <c:pt idx="37">
                  <c:v>Celene</c:v>
                </c:pt>
                <c:pt idx="38">
                  <c:v>Bouvet-Ladu</c:v>
                </c:pt>
                <c:pt idx="39">
                  <c:v>Celene</c:v>
                </c:pt>
                <c:pt idx="40">
                  <c:v>Jaillance</c:v>
                </c:pt>
                <c:pt idx="41">
                  <c:v>All Others</c:v>
                </c:pt>
                <c:pt idx="42">
                  <c:v>Bottega</c:v>
                </c:pt>
                <c:pt idx="43">
                  <c:v>All Others</c:v>
                </c:pt>
              </c:strCache>
            </c:strRef>
          </c:cat>
          <c:val>
            <c:numRef>
              <c:f>Sheet1!$B$2:$B$45</c:f>
              <c:numCache>
                <c:formatCode>General</c:formatCode>
                <c:ptCount val="44"/>
                <c:pt idx="0">
                  <c:v>1</c:v>
                </c:pt>
                <c:pt idx="1">
                  <c:v>0.97</c:v>
                </c:pt>
                <c:pt idx="2">
                  <c:v>0.83</c:v>
                </c:pt>
                <c:pt idx="3">
                  <c:v>0.94</c:v>
                </c:pt>
                <c:pt idx="4">
                  <c:v>0.7</c:v>
                </c:pt>
                <c:pt idx="5">
                  <c:v>0.76</c:v>
                </c:pt>
                <c:pt idx="6">
                  <c:v>0.73</c:v>
                </c:pt>
                <c:pt idx="7">
                  <c:v>0.85</c:v>
                </c:pt>
                <c:pt idx="8">
                  <c:v>0.75</c:v>
                </c:pt>
                <c:pt idx="9">
                  <c:v>0.63</c:v>
                </c:pt>
                <c:pt idx="10">
                  <c:v>0.6</c:v>
                </c:pt>
                <c:pt idx="11">
                  <c:v>0.84</c:v>
                </c:pt>
                <c:pt idx="12">
                  <c:v>0.35</c:v>
                </c:pt>
                <c:pt idx="13">
                  <c:v>0.68</c:v>
                </c:pt>
                <c:pt idx="14">
                  <c:v>0.3</c:v>
                </c:pt>
                <c:pt idx="15">
                  <c:v>0.18</c:v>
                </c:pt>
                <c:pt idx="16">
                  <c:v>0.43</c:v>
                </c:pt>
                <c:pt idx="17">
                  <c:v>0.53</c:v>
                </c:pt>
                <c:pt idx="18">
                  <c:v>0.44</c:v>
                </c:pt>
                <c:pt idx="19">
                  <c:v>0.68</c:v>
                </c:pt>
                <c:pt idx="20">
                  <c:v>0.7</c:v>
                </c:pt>
                <c:pt idx="21">
                  <c:v>0.62</c:v>
                </c:pt>
                <c:pt idx="22">
                  <c:v>0.49</c:v>
                </c:pt>
                <c:pt idx="23">
                  <c:v>0.26</c:v>
                </c:pt>
                <c:pt idx="24">
                  <c:v>0.47</c:v>
                </c:pt>
                <c:pt idx="25">
                  <c:v>0.2</c:v>
                </c:pt>
                <c:pt idx="26">
                  <c:v>0.59</c:v>
                </c:pt>
                <c:pt idx="27">
                  <c:v>0.5</c:v>
                </c:pt>
                <c:pt idx="28">
                  <c:v>0.49</c:v>
                </c:pt>
                <c:pt idx="29">
                  <c:v>0.28000000000000003</c:v>
                </c:pt>
                <c:pt idx="30">
                  <c:v>0.13</c:v>
                </c:pt>
                <c:pt idx="31">
                  <c:v>0.25</c:v>
                </c:pt>
                <c:pt idx="32">
                  <c:v>0.41</c:v>
                </c:pt>
                <c:pt idx="33">
                  <c:v>0.17</c:v>
                </c:pt>
                <c:pt idx="34">
                  <c:v>0.37</c:v>
                </c:pt>
                <c:pt idx="35">
                  <c:v>0.26</c:v>
                </c:pt>
                <c:pt idx="36">
                  <c:v>0.35</c:v>
                </c:pt>
                <c:pt idx="37">
                  <c:v>0.22</c:v>
                </c:pt>
                <c:pt idx="38">
                  <c:v>0.41</c:v>
                </c:pt>
                <c:pt idx="39">
                  <c:v>0.26</c:v>
                </c:pt>
                <c:pt idx="40">
                  <c:v>0.12</c:v>
                </c:pt>
                <c:pt idx="41">
                  <c:v>0.32</c:v>
                </c:pt>
                <c:pt idx="42">
                  <c:v>0.05</c:v>
                </c:pt>
                <c:pt idx="43">
                  <c:v>0.2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5</c:f>
              <c:strCache>
                <c:ptCount val="44"/>
                <c:pt idx="0">
                  <c:v>Bouvet-Ladu</c:v>
                </c:pt>
                <c:pt idx="1">
                  <c:v>All Others</c:v>
                </c:pt>
                <c:pt idx="2">
                  <c:v>All Others</c:v>
                </c:pt>
                <c:pt idx="3">
                  <c:v>All Others</c:v>
                </c:pt>
                <c:pt idx="4">
                  <c:v>All Others</c:v>
                </c:pt>
                <c:pt idx="5">
                  <c:v>De Chanceny</c:v>
                </c:pt>
                <c:pt idx="6">
                  <c:v>Mure</c:v>
                </c:pt>
                <c:pt idx="7">
                  <c:v>Patriarche</c:v>
                </c:pt>
                <c:pt idx="8">
                  <c:v>Bottega</c:v>
                </c:pt>
                <c:pt idx="9">
                  <c:v>Chateau Mon</c:v>
                </c:pt>
                <c:pt idx="10">
                  <c:v>Savian</c:v>
                </c:pt>
                <c:pt idx="11">
                  <c:v>Kriter</c:v>
                </c:pt>
                <c:pt idx="12">
                  <c:v>Bouvet-Ladu</c:v>
                </c:pt>
                <c:pt idx="13">
                  <c:v>Bottega</c:v>
                </c:pt>
                <c:pt idx="14">
                  <c:v>All Others</c:v>
                </c:pt>
                <c:pt idx="15">
                  <c:v>All Others</c:v>
                </c:pt>
                <c:pt idx="16">
                  <c:v>All Others</c:v>
                </c:pt>
                <c:pt idx="17">
                  <c:v>All Others</c:v>
                </c:pt>
                <c:pt idx="18">
                  <c:v>All Others</c:v>
                </c:pt>
                <c:pt idx="19">
                  <c:v>Patriarche</c:v>
                </c:pt>
                <c:pt idx="20">
                  <c:v>Contarini</c:v>
                </c:pt>
                <c:pt idx="21">
                  <c:v>All Others</c:v>
                </c:pt>
                <c:pt idx="22">
                  <c:v>All Others</c:v>
                </c:pt>
                <c:pt idx="23">
                  <c:v>All Others</c:v>
                </c:pt>
                <c:pt idx="24">
                  <c:v>All Others</c:v>
                </c:pt>
                <c:pt idx="25">
                  <c:v>Bouvet-Ladu</c:v>
                </c:pt>
                <c:pt idx="26">
                  <c:v>All Others</c:v>
                </c:pt>
                <c:pt idx="27">
                  <c:v>Cru La Maqu</c:v>
                </c:pt>
                <c:pt idx="28">
                  <c:v>All Others</c:v>
                </c:pt>
                <c:pt idx="29">
                  <c:v>All Others</c:v>
                </c:pt>
                <c:pt idx="30">
                  <c:v>Bouvet-Ladu</c:v>
                </c:pt>
                <c:pt idx="31">
                  <c:v>All Others</c:v>
                </c:pt>
                <c:pt idx="32">
                  <c:v>All Others</c:v>
                </c:pt>
                <c:pt idx="33">
                  <c:v>All Others</c:v>
                </c:pt>
                <c:pt idx="34">
                  <c:v>All Others</c:v>
                </c:pt>
                <c:pt idx="35">
                  <c:v>All Others</c:v>
                </c:pt>
                <c:pt idx="36">
                  <c:v>Contarini</c:v>
                </c:pt>
                <c:pt idx="37">
                  <c:v>Celene</c:v>
                </c:pt>
                <c:pt idx="38">
                  <c:v>Bouvet-Ladu</c:v>
                </c:pt>
                <c:pt idx="39">
                  <c:v>Celene</c:v>
                </c:pt>
                <c:pt idx="40">
                  <c:v>Jaillance</c:v>
                </c:pt>
                <c:pt idx="41">
                  <c:v>All Others</c:v>
                </c:pt>
                <c:pt idx="42">
                  <c:v>Bottega</c:v>
                </c:pt>
                <c:pt idx="43">
                  <c:v>All Others</c:v>
                </c:pt>
              </c:strCache>
            </c:strRef>
          </c:cat>
          <c:val>
            <c:numRef>
              <c:f>Sheet1!$C$2:$C$45</c:f>
              <c:numCache>
                <c:formatCode>General</c:formatCode>
                <c:ptCount val="44"/>
                <c:pt idx="0">
                  <c:v>0.1929102157716103</c:v>
                </c:pt>
                <c:pt idx="1">
                  <c:v>0.34473515232436069</c:v>
                </c:pt>
                <c:pt idx="2">
                  <c:v>0.45897077859203161</c:v>
                </c:pt>
                <c:pt idx="3">
                  <c:v>0.54211980063803977</c:v>
                </c:pt>
                <c:pt idx="4">
                  <c:v>0.58386758125834493</c:v>
                </c:pt>
                <c:pt idx="5">
                  <c:v>0.62157919949446039</c:v>
                </c:pt>
                <c:pt idx="6">
                  <c:v>0.65877100893867269</c:v>
                </c:pt>
                <c:pt idx="7">
                  <c:v>0.69485185449430753</c:v>
                </c:pt>
                <c:pt idx="8">
                  <c:v>0.73020904467297909</c:v>
                </c:pt>
                <c:pt idx="9">
                  <c:v>0.75717794787642823</c:v>
                </c:pt>
                <c:pt idx="10">
                  <c:v>0.78147646081559019</c:v>
                </c:pt>
                <c:pt idx="11">
                  <c:v>0.80464362520766874</c:v>
                </c:pt>
                <c:pt idx="12">
                  <c:v>0.82184827698673979</c:v>
                </c:pt>
                <c:pt idx="13">
                  <c:v>0.83794196487723338</c:v>
                </c:pt>
                <c:pt idx="14">
                  <c:v>0.85390315248743798</c:v>
                </c:pt>
                <c:pt idx="15">
                  <c:v>0.8681520287831378</c:v>
                </c:pt>
                <c:pt idx="16">
                  <c:v>0.88202378889647648</c:v>
                </c:pt>
                <c:pt idx="17">
                  <c:v>0.89514131664509289</c:v>
                </c:pt>
                <c:pt idx="18">
                  <c:v>0.90671980267650565</c:v>
                </c:pt>
                <c:pt idx="19">
                  <c:v>0.9176969412819912</c:v>
                </c:pt>
                <c:pt idx="20">
                  <c:v>0.92583042002588856</c:v>
                </c:pt>
                <c:pt idx="21">
                  <c:v>0.93301601214925656</c:v>
                </c:pt>
                <c:pt idx="22">
                  <c:v>0.93994679604129938</c:v>
                </c:pt>
                <c:pt idx="23">
                  <c:v>0.94682661828707726</c:v>
                </c:pt>
                <c:pt idx="24">
                  <c:v>0.95359432491107199</c:v>
                </c:pt>
                <c:pt idx="25">
                  <c:v>0.9603518392058138</c:v>
                </c:pt>
                <c:pt idx="26">
                  <c:v>0.9668443529399775</c:v>
                </c:pt>
                <c:pt idx="27">
                  <c:v>0.97317378940609311</c:v>
                </c:pt>
                <c:pt idx="28">
                  <c:v>0.97745456769235484</c:v>
                </c:pt>
                <c:pt idx="29">
                  <c:v>0.98026765056618403</c:v>
                </c:pt>
                <c:pt idx="30">
                  <c:v>0.98298900247673615</c:v>
                </c:pt>
                <c:pt idx="31">
                  <c:v>0.98541477683895118</c:v>
                </c:pt>
                <c:pt idx="32">
                  <c:v>0.98773862790863609</c:v>
                </c:pt>
                <c:pt idx="33">
                  <c:v>0.98991978636877898</c:v>
                </c:pt>
                <c:pt idx="34">
                  <c:v>0.99207036784116287</c:v>
                </c:pt>
                <c:pt idx="35">
                  <c:v>0.9939355640944626</c:v>
                </c:pt>
                <c:pt idx="36">
                  <c:v>0.99557652910419625</c:v>
                </c:pt>
                <c:pt idx="37">
                  <c:v>0.99691172423633978</c:v>
                </c:pt>
                <c:pt idx="38">
                  <c:v>0.99773730290583307</c:v>
                </c:pt>
                <c:pt idx="39">
                  <c:v>0.9985424969168204</c:v>
                </c:pt>
                <c:pt idx="40">
                  <c:v>0.99914384434274761</c:v>
                </c:pt>
                <c:pt idx="41">
                  <c:v>0.99954134518361482</c:v>
                </c:pt>
                <c:pt idx="42">
                  <c:v>0.99984711506120494</c:v>
                </c:pt>
                <c:pt idx="4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6</c:f>
              <c:strCache>
                <c:ptCount val="45"/>
                <c:pt idx="0">
                  <c:v>All Others</c:v>
                </c:pt>
                <c:pt idx="1">
                  <c:v>All Others</c:v>
                </c:pt>
                <c:pt idx="2">
                  <c:v>All Others</c:v>
                </c:pt>
                <c:pt idx="3">
                  <c:v>All Others</c:v>
                </c:pt>
                <c:pt idx="4">
                  <c:v>All Others</c:v>
                </c:pt>
                <c:pt idx="5">
                  <c:v>All Others</c:v>
                </c:pt>
                <c:pt idx="6">
                  <c:v>Bouvet-Ladu</c:v>
                </c:pt>
                <c:pt idx="7">
                  <c:v>Savian</c:v>
                </c:pt>
                <c:pt idx="8">
                  <c:v>All Others</c:v>
                </c:pt>
                <c:pt idx="9">
                  <c:v>Mure</c:v>
                </c:pt>
                <c:pt idx="10">
                  <c:v>All Others</c:v>
                </c:pt>
                <c:pt idx="11">
                  <c:v>Patriarche</c:v>
                </c:pt>
                <c:pt idx="12">
                  <c:v>Chateau Mon</c:v>
                </c:pt>
                <c:pt idx="13">
                  <c:v>All Others</c:v>
                </c:pt>
                <c:pt idx="14">
                  <c:v>De Chanceny</c:v>
                </c:pt>
                <c:pt idx="15">
                  <c:v>All Others</c:v>
                </c:pt>
                <c:pt idx="16">
                  <c:v>Patriarche</c:v>
                </c:pt>
                <c:pt idx="17">
                  <c:v>All Others</c:v>
                </c:pt>
                <c:pt idx="18">
                  <c:v>All Others</c:v>
                </c:pt>
                <c:pt idx="19">
                  <c:v>Kriter</c:v>
                </c:pt>
                <c:pt idx="20">
                  <c:v>Contarini</c:v>
                </c:pt>
                <c:pt idx="21">
                  <c:v>All Others</c:v>
                </c:pt>
                <c:pt idx="22">
                  <c:v>Bottega</c:v>
                </c:pt>
                <c:pt idx="23">
                  <c:v>Bouvet-Ladu</c:v>
                </c:pt>
                <c:pt idx="24">
                  <c:v>All Others</c:v>
                </c:pt>
                <c:pt idx="25">
                  <c:v>All Others</c:v>
                </c:pt>
                <c:pt idx="26">
                  <c:v>Bouvet-Ladu</c:v>
                </c:pt>
                <c:pt idx="27">
                  <c:v>Cru La Maqu</c:v>
                </c:pt>
                <c:pt idx="28">
                  <c:v>All Others</c:v>
                </c:pt>
                <c:pt idx="29">
                  <c:v>Bouvet-Ladu</c:v>
                </c:pt>
                <c:pt idx="30">
                  <c:v>Bottega</c:v>
                </c:pt>
                <c:pt idx="31">
                  <c:v>Celene</c:v>
                </c:pt>
                <c:pt idx="32">
                  <c:v>All Others</c:v>
                </c:pt>
                <c:pt idx="33">
                  <c:v>All Others</c:v>
                </c:pt>
                <c:pt idx="34">
                  <c:v>Bouvet-Ladu</c:v>
                </c:pt>
                <c:pt idx="35">
                  <c:v>Contarini</c:v>
                </c:pt>
                <c:pt idx="36">
                  <c:v>All Others</c:v>
                </c:pt>
                <c:pt idx="37">
                  <c:v>All Others</c:v>
                </c:pt>
                <c:pt idx="38">
                  <c:v>All Others</c:v>
                </c:pt>
                <c:pt idx="39">
                  <c:v>All Others</c:v>
                </c:pt>
                <c:pt idx="40">
                  <c:v>All Others</c:v>
                </c:pt>
                <c:pt idx="41">
                  <c:v>All Others</c:v>
                </c:pt>
                <c:pt idx="42">
                  <c:v>All Others</c:v>
                </c:pt>
                <c:pt idx="43">
                  <c:v>Bottega</c:v>
                </c:pt>
                <c:pt idx="44">
                  <c:v>Celene</c:v>
                </c:pt>
              </c:strCache>
            </c:strRef>
          </c:cat>
          <c:val>
            <c:numRef>
              <c:f>Sheet1!$B$2:$B$46</c:f>
              <c:numCache>
                <c:formatCode>General</c:formatCode>
                <c:ptCount val="45"/>
                <c:pt idx="0">
                  <c:v>1</c:v>
                </c:pt>
                <c:pt idx="1">
                  <c:v>1</c:v>
                </c:pt>
                <c:pt idx="2">
                  <c:v>0.63</c:v>
                </c:pt>
                <c:pt idx="3">
                  <c:v>0.96</c:v>
                </c:pt>
                <c:pt idx="4">
                  <c:v>0.7</c:v>
                </c:pt>
                <c:pt idx="5">
                  <c:v>0.61</c:v>
                </c:pt>
                <c:pt idx="6">
                  <c:v>1</c:v>
                </c:pt>
                <c:pt idx="7">
                  <c:v>0.95</c:v>
                </c:pt>
                <c:pt idx="8">
                  <c:v>0.92</c:v>
                </c:pt>
                <c:pt idx="9">
                  <c:v>0.91</c:v>
                </c:pt>
                <c:pt idx="10">
                  <c:v>0.7</c:v>
                </c:pt>
                <c:pt idx="11">
                  <c:v>0.91</c:v>
                </c:pt>
                <c:pt idx="12">
                  <c:v>0.78</c:v>
                </c:pt>
                <c:pt idx="13">
                  <c:v>0.5</c:v>
                </c:pt>
                <c:pt idx="14">
                  <c:v>0.92</c:v>
                </c:pt>
                <c:pt idx="15">
                  <c:v>0.8</c:v>
                </c:pt>
                <c:pt idx="16">
                  <c:v>0.8</c:v>
                </c:pt>
                <c:pt idx="17">
                  <c:v>0.41</c:v>
                </c:pt>
                <c:pt idx="18">
                  <c:v>0.62</c:v>
                </c:pt>
                <c:pt idx="19">
                  <c:v>0.66</c:v>
                </c:pt>
                <c:pt idx="20">
                  <c:v>0.77</c:v>
                </c:pt>
                <c:pt idx="21">
                  <c:v>0.55000000000000004</c:v>
                </c:pt>
                <c:pt idx="22">
                  <c:v>0.45</c:v>
                </c:pt>
                <c:pt idx="23">
                  <c:v>0.64</c:v>
                </c:pt>
                <c:pt idx="24">
                  <c:v>0.22</c:v>
                </c:pt>
                <c:pt idx="25">
                  <c:v>0.59</c:v>
                </c:pt>
                <c:pt idx="26">
                  <c:v>0.2</c:v>
                </c:pt>
                <c:pt idx="27">
                  <c:v>0.51</c:v>
                </c:pt>
                <c:pt idx="28">
                  <c:v>0.53</c:v>
                </c:pt>
                <c:pt idx="29">
                  <c:v>0.28000000000000003</c:v>
                </c:pt>
                <c:pt idx="30">
                  <c:v>0.43</c:v>
                </c:pt>
                <c:pt idx="31">
                  <c:v>0.28000000000000003</c:v>
                </c:pt>
                <c:pt idx="32">
                  <c:v>0.25</c:v>
                </c:pt>
                <c:pt idx="33">
                  <c:v>0.22</c:v>
                </c:pt>
                <c:pt idx="34">
                  <c:v>0.37</c:v>
                </c:pt>
                <c:pt idx="35">
                  <c:v>0.19</c:v>
                </c:pt>
                <c:pt idx="36">
                  <c:v>0.33</c:v>
                </c:pt>
                <c:pt idx="37">
                  <c:v>0.37</c:v>
                </c:pt>
                <c:pt idx="38">
                  <c:v>0.11</c:v>
                </c:pt>
                <c:pt idx="39">
                  <c:v>0.22</c:v>
                </c:pt>
                <c:pt idx="40">
                  <c:v>0.41</c:v>
                </c:pt>
                <c:pt idx="41">
                  <c:v>0.13</c:v>
                </c:pt>
                <c:pt idx="42">
                  <c:v>0.09</c:v>
                </c:pt>
                <c:pt idx="43">
                  <c:v>0.08</c:v>
                </c:pt>
                <c:pt idx="44">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6</c:f>
              <c:strCache>
                <c:ptCount val="45"/>
                <c:pt idx="0">
                  <c:v>All Others</c:v>
                </c:pt>
                <c:pt idx="1">
                  <c:v>All Others</c:v>
                </c:pt>
                <c:pt idx="2">
                  <c:v>All Others</c:v>
                </c:pt>
                <c:pt idx="3">
                  <c:v>All Others</c:v>
                </c:pt>
                <c:pt idx="4">
                  <c:v>All Others</c:v>
                </c:pt>
                <c:pt idx="5">
                  <c:v>All Others</c:v>
                </c:pt>
                <c:pt idx="6">
                  <c:v>Bouvet-Ladu</c:v>
                </c:pt>
                <c:pt idx="7">
                  <c:v>Savian</c:v>
                </c:pt>
                <c:pt idx="8">
                  <c:v>All Others</c:v>
                </c:pt>
                <c:pt idx="9">
                  <c:v>Mure</c:v>
                </c:pt>
                <c:pt idx="10">
                  <c:v>All Others</c:v>
                </c:pt>
                <c:pt idx="11">
                  <c:v>Patriarche</c:v>
                </c:pt>
                <c:pt idx="12">
                  <c:v>Chateau Mon</c:v>
                </c:pt>
                <c:pt idx="13">
                  <c:v>All Others</c:v>
                </c:pt>
                <c:pt idx="14">
                  <c:v>De Chanceny</c:v>
                </c:pt>
                <c:pt idx="15">
                  <c:v>All Others</c:v>
                </c:pt>
                <c:pt idx="16">
                  <c:v>Patriarche</c:v>
                </c:pt>
                <c:pt idx="17">
                  <c:v>All Others</c:v>
                </c:pt>
                <c:pt idx="18">
                  <c:v>All Others</c:v>
                </c:pt>
                <c:pt idx="19">
                  <c:v>Kriter</c:v>
                </c:pt>
                <c:pt idx="20">
                  <c:v>Contarini</c:v>
                </c:pt>
                <c:pt idx="21">
                  <c:v>All Others</c:v>
                </c:pt>
                <c:pt idx="22">
                  <c:v>Bottega</c:v>
                </c:pt>
                <c:pt idx="23">
                  <c:v>Bouvet-Ladu</c:v>
                </c:pt>
                <c:pt idx="24">
                  <c:v>All Others</c:v>
                </c:pt>
                <c:pt idx="25">
                  <c:v>All Others</c:v>
                </c:pt>
                <c:pt idx="26">
                  <c:v>Bouvet-Ladu</c:v>
                </c:pt>
                <c:pt idx="27">
                  <c:v>Cru La Maqu</c:v>
                </c:pt>
                <c:pt idx="28">
                  <c:v>All Others</c:v>
                </c:pt>
                <c:pt idx="29">
                  <c:v>Bouvet-Ladu</c:v>
                </c:pt>
                <c:pt idx="30">
                  <c:v>Bottega</c:v>
                </c:pt>
                <c:pt idx="31">
                  <c:v>Celene</c:v>
                </c:pt>
                <c:pt idx="32">
                  <c:v>All Others</c:v>
                </c:pt>
                <c:pt idx="33">
                  <c:v>All Others</c:v>
                </c:pt>
                <c:pt idx="34">
                  <c:v>Bouvet-Ladu</c:v>
                </c:pt>
                <c:pt idx="35">
                  <c:v>Contarini</c:v>
                </c:pt>
                <c:pt idx="36">
                  <c:v>All Others</c:v>
                </c:pt>
                <c:pt idx="37">
                  <c:v>All Others</c:v>
                </c:pt>
                <c:pt idx="38">
                  <c:v>All Others</c:v>
                </c:pt>
                <c:pt idx="39">
                  <c:v>All Others</c:v>
                </c:pt>
                <c:pt idx="40">
                  <c:v>All Others</c:v>
                </c:pt>
                <c:pt idx="41">
                  <c:v>All Others</c:v>
                </c:pt>
                <c:pt idx="42">
                  <c:v>All Others</c:v>
                </c:pt>
                <c:pt idx="43">
                  <c:v>Bottega</c:v>
                </c:pt>
                <c:pt idx="44">
                  <c:v>Celene</c:v>
                </c:pt>
              </c:strCache>
            </c:strRef>
          </c:cat>
          <c:val>
            <c:numRef>
              <c:f>Sheet1!$C$2:$C$46</c:f>
              <c:numCache>
                <c:formatCode>General</c:formatCode>
                <c:ptCount val="45"/>
                <c:pt idx="0">
                  <c:v>0.40888516527756619</c:v>
                </c:pt>
                <c:pt idx="1">
                  <c:v>0.47149261201662568</c:v>
                </c:pt>
                <c:pt idx="2">
                  <c:v>0.52677735947598636</c:v>
                </c:pt>
                <c:pt idx="3">
                  <c:v>0.572302134789894</c:v>
                </c:pt>
                <c:pt idx="4">
                  <c:v>0.61507409744739183</c:v>
                </c:pt>
                <c:pt idx="5">
                  <c:v>0.65563728157029999</c:v>
                </c:pt>
                <c:pt idx="6">
                  <c:v>0.69204404500250249</c:v>
                </c:pt>
                <c:pt idx="7">
                  <c:v>0.72711248449502741</c:v>
                </c:pt>
                <c:pt idx="8">
                  <c:v>0.75831828172262949</c:v>
                </c:pt>
                <c:pt idx="9">
                  <c:v>0.78933910734881274</c:v>
                </c:pt>
                <c:pt idx="10">
                  <c:v>0.81948947838008379</c:v>
                </c:pt>
                <c:pt idx="11">
                  <c:v>0.84698496289687264</c:v>
                </c:pt>
                <c:pt idx="12">
                  <c:v>0.86996496420255454</c:v>
                </c:pt>
                <c:pt idx="13">
                  <c:v>0.88772223793876326</c:v>
                </c:pt>
                <c:pt idx="14">
                  <c:v>0.90517485256675267</c:v>
                </c:pt>
                <c:pt idx="15">
                  <c:v>0.92067982503862611</c:v>
                </c:pt>
                <c:pt idx="16">
                  <c:v>0.93219158705633987</c:v>
                </c:pt>
                <c:pt idx="17">
                  <c:v>0.94165778077600992</c:v>
                </c:pt>
                <c:pt idx="18">
                  <c:v>0.95037320740756825</c:v>
                </c:pt>
                <c:pt idx="19">
                  <c:v>0.95800056579548631</c:v>
                </c:pt>
                <c:pt idx="20">
                  <c:v>0.96513829347376634</c:v>
                </c:pt>
                <c:pt idx="21">
                  <c:v>0.97161229952342576</c:v>
                </c:pt>
                <c:pt idx="22">
                  <c:v>0.976541248667116</c:v>
                </c:pt>
                <c:pt idx="23">
                  <c:v>0.98040389093203884</c:v>
                </c:pt>
                <c:pt idx="24">
                  <c:v>0.98298261266946618</c:v>
                </c:pt>
                <c:pt idx="25">
                  <c:v>0.98494113550801865</c:v>
                </c:pt>
                <c:pt idx="26">
                  <c:v>0.98676909015733427</c:v>
                </c:pt>
                <c:pt idx="27">
                  <c:v>0.98841207320523106</c:v>
                </c:pt>
                <c:pt idx="28">
                  <c:v>0.98990272669901813</c:v>
                </c:pt>
                <c:pt idx="29">
                  <c:v>0.99118664722651362</c:v>
                </c:pt>
                <c:pt idx="30">
                  <c:v>0.99243792570669986</c:v>
                </c:pt>
                <c:pt idx="31">
                  <c:v>0.99351511326790365</c:v>
                </c:pt>
                <c:pt idx="32">
                  <c:v>0.99450525536961631</c:v>
                </c:pt>
                <c:pt idx="33">
                  <c:v>0.99535394859965576</c:v>
                </c:pt>
                <c:pt idx="34">
                  <c:v>0.99615911909994959</c:v>
                </c:pt>
                <c:pt idx="35">
                  <c:v>0.99694252823537055</c:v>
                </c:pt>
                <c:pt idx="36">
                  <c:v>0.99771505668835514</c:v>
                </c:pt>
                <c:pt idx="37">
                  <c:v>0.99826997149261165</c:v>
                </c:pt>
                <c:pt idx="38">
                  <c:v>0.99868343742519494</c:v>
                </c:pt>
                <c:pt idx="39">
                  <c:v>0.99906426131046899</c:v>
                </c:pt>
                <c:pt idx="40">
                  <c:v>0.99934715905381544</c:v>
                </c:pt>
                <c:pt idx="41">
                  <c:v>0.99956477270254351</c:v>
                </c:pt>
                <c:pt idx="42">
                  <c:v>0.99976062498639873</c:v>
                </c:pt>
                <c:pt idx="43">
                  <c:v>0.99989119317563557</c:v>
                </c:pt>
                <c:pt idx="44">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All Others</c:v>
                </c:pt>
                <c:pt idx="1">
                  <c:v>Patriarche</c:v>
                </c:pt>
                <c:pt idx="2">
                  <c:v>All Others</c:v>
                </c:pt>
                <c:pt idx="3">
                  <c:v>Mure</c:v>
                </c:pt>
                <c:pt idx="4">
                  <c:v>All Others</c:v>
                </c:pt>
                <c:pt idx="5">
                  <c:v>All Others</c:v>
                </c:pt>
                <c:pt idx="6">
                  <c:v>All Others</c:v>
                </c:pt>
                <c:pt idx="7">
                  <c:v>All Others</c:v>
                </c:pt>
                <c:pt idx="8">
                  <c:v>All Others</c:v>
                </c:pt>
                <c:pt idx="9">
                  <c:v>All Others</c:v>
                </c:pt>
                <c:pt idx="10">
                  <c:v>Bottega</c:v>
                </c:pt>
                <c:pt idx="11">
                  <c:v>Patriarche</c:v>
                </c:pt>
                <c:pt idx="12">
                  <c:v>Chateau Mon</c:v>
                </c:pt>
                <c:pt idx="13">
                  <c:v>De Chanceny</c:v>
                </c:pt>
                <c:pt idx="14">
                  <c:v>All Others</c:v>
                </c:pt>
                <c:pt idx="15">
                  <c:v>Cru La Maqu</c:v>
                </c:pt>
                <c:pt idx="16">
                  <c:v>Kriter</c:v>
                </c:pt>
                <c:pt idx="17">
                  <c:v>All Others</c:v>
                </c:pt>
                <c:pt idx="18">
                  <c:v>Savian</c:v>
                </c:pt>
                <c:pt idx="19">
                  <c:v>Bouvet-Ladu</c:v>
                </c:pt>
                <c:pt idx="20">
                  <c:v>Bottega</c:v>
                </c:pt>
                <c:pt idx="21">
                  <c:v>All Others</c:v>
                </c:pt>
                <c:pt idx="22">
                  <c:v>All Others</c:v>
                </c:pt>
                <c:pt idx="23">
                  <c:v>Contarini</c:v>
                </c:pt>
                <c:pt idx="24">
                  <c:v>All Others</c:v>
                </c:pt>
                <c:pt idx="25">
                  <c:v>Contarini</c:v>
                </c:pt>
                <c:pt idx="26">
                  <c:v>All Others</c:v>
                </c:pt>
                <c:pt idx="27">
                  <c:v>All Others</c:v>
                </c:pt>
                <c:pt idx="28">
                  <c:v>All Others</c:v>
                </c:pt>
                <c:pt idx="29">
                  <c:v>All Others</c:v>
                </c:pt>
                <c:pt idx="30">
                  <c:v>Bouvet-Ladu</c:v>
                </c:pt>
                <c:pt idx="31">
                  <c:v>All Others</c:v>
                </c:pt>
                <c:pt idx="32">
                  <c:v>All Others</c:v>
                </c:pt>
                <c:pt idx="33">
                  <c:v>All Others</c:v>
                </c:pt>
                <c:pt idx="34">
                  <c:v>All Others</c:v>
                </c:pt>
                <c:pt idx="35">
                  <c:v>All Others</c:v>
                </c:pt>
                <c:pt idx="36">
                  <c:v>All Others</c:v>
                </c:pt>
                <c:pt idx="37">
                  <c:v>Celene</c:v>
                </c:pt>
                <c:pt idx="38">
                  <c:v>Celene</c:v>
                </c:pt>
                <c:pt idx="39">
                  <c:v>All Others</c:v>
                </c:pt>
                <c:pt idx="40">
                  <c:v>All Others</c:v>
                </c:pt>
              </c:strCache>
            </c:strRef>
          </c:cat>
          <c:val>
            <c:numRef>
              <c:f>Sheet1!$B$2:$B$42</c:f>
              <c:numCache>
                <c:formatCode>General</c:formatCode>
                <c:ptCount val="41"/>
                <c:pt idx="0">
                  <c:v>0.91</c:v>
                </c:pt>
                <c:pt idx="1">
                  <c:v>1</c:v>
                </c:pt>
                <c:pt idx="2">
                  <c:v>0.71</c:v>
                </c:pt>
                <c:pt idx="3">
                  <c:v>0.88</c:v>
                </c:pt>
                <c:pt idx="4">
                  <c:v>0.81</c:v>
                </c:pt>
                <c:pt idx="5">
                  <c:v>1</c:v>
                </c:pt>
                <c:pt idx="6">
                  <c:v>0.56999999999999995</c:v>
                </c:pt>
                <c:pt idx="7">
                  <c:v>0.61</c:v>
                </c:pt>
                <c:pt idx="8">
                  <c:v>0.5</c:v>
                </c:pt>
                <c:pt idx="9">
                  <c:v>0.8</c:v>
                </c:pt>
                <c:pt idx="10">
                  <c:v>0.85</c:v>
                </c:pt>
                <c:pt idx="11">
                  <c:v>0.63</c:v>
                </c:pt>
                <c:pt idx="12">
                  <c:v>0.8</c:v>
                </c:pt>
                <c:pt idx="13">
                  <c:v>0.73</c:v>
                </c:pt>
                <c:pt idx="14">
                  <c:v>0.53</c:v>
                </c:pt>
                <c:pt idx="15">
                  <c:v>0.72</c:v>
                </c:pt>
                <c:pt idx="16">
                  <c:v>0.8</c:v>
                </c:pt>
                <c:pt idx="17">
                  <c:v>0.56000000000000005</c:v>
                </c:pt>
                <c:pt idx="18">
                  <c:v>0.76</c:v>
                </c:pt>
                <c:pt idx="19">
                  <c:v>0.61</c:v>
                </c:pt>
                <c:pt idx="20">
                  <c:v>0.81</c:v>
                </c:pt>
                <c:pt idx="21">
                  <c:v>0.44</c:v>
                </c:pt>
                <c:pt idx="22">
                  <c:v>0.65</c:v>
                </c:pt>
                <c:pt idx="23">
                  <c:v>0.56999999999999995</c:v>
                </c:pt>
                <c:pt idx="24">
                  <c:v>0.42</c:v>
                </c:pt>
                <c:pt idx="25">
                  <c:v>0.34</c:v>
                </c:pt>
                <c:pt idx="26">
                  <c:v>0.43</c:v>
                </c:pt>
                <c:pt idx="27">
                  <c:v>0.42</c:v>
                </c:pt>
                <c:pt idx="28">
                  <c:v>0.16</c:v>
                </c:pt>
                <c:pt idx="29">
                  <c:v>0.44</c:v>
                </c:pt>
                <c:pt idx="30">
                  <c:v>0.17</c:v>
                </c:pt>
                <c:pt idx="31">
                  <c:v>0.42</c:v>
                </c:pt>
                <c:pt idx="32">
                  <c:v>0.8</c:v>
                </c:pt>
                <c:pt idx="33">
                  <c:v>0.35</c:v>
                </c:pt>
                <c:pt idx="34">
                  <c:v>0.21</c:v>
                </c:pt>
                <c:pt idx="35">
                  <c:v>0.59</c:v>
                </c:pt>
                <c:pt idx="36">
                  <c:v>0.28000000000000003</c:v>
                </c:pt>
                <c:pt idx="37">
                  <c:v>0.33</c:v>
                </c:pt>
                <c:pt idx="38">
                  <c:v>0.25</c:v>
                </c:pt>
                <c:pt idx="39">
                  <c:v>0.18</c:v>
                </c:pt>
                <c:pt idx="40">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All Others</c:v>
                </c:pt>
                <c:pt idx="1">
                  <c:v>Patriarche</c:v>
                </c:pt>
                <c:pt idx="2">
                  <c:v>All Others</c:v>
                </c:pt>
                <c:pt idx="3">
                  <c:v>Mure</c:v>
                </c:pt>
                <c:pt idx="4">
                  <c:v>All Others</c:v>
                </c:pt>
                <c:pt idx="5">
                  <c:v>All Others</c:v>
                </c:pt>
                <c:pt idx="6">
                  <c:v>All Others</c:v>
                </c:pt>
                <c:pt idx="7">
                  <c:v>All Others</c:v>
                </c:pt>
                <c:pt idx="8">
                  <c:v>All Others</c:v>
                </c:pt>
                <c:pt idx="9">
                  <c:v>All Others</c:v>
                </c:pt>
                <c:pt idx="10">
                  <c:v>Bottega</c:v>
                </c:pt>
                <c:pt idx="11">
                  <c:v>Patriarche</c:v>
                </c:pt>
                <c:pt idx="12">
                  <c:v>Chateau Mon</c:v>
                </c:pt>
                <c:pt idx="13">
                  <c:v>De Chanceny</c:v>
                </c:pt>
                <c:pt idx="14">
                  <c:v>All Others</c:v>
                </c:pt>
                <c:pt idx="15">
                  <c:v>Cru La Maqu</c:v>
                </c:pt>
                <c:pt idx="16">
                  <c:v>Kriter</c:v>
                </c:pt>
                <c:pt idx="17">
                  <c:v>All Others</c:v>
                </c:pt>
                <c:pt idx="18">
                  <c:v>Savian</c:v>
                </c:pt>
                <c:pt idx="19">
                  <c:v>Bouvet-Ladu</c:v>
                </c:pt>
                <c:pt idx="20">
                  <c:v>Bottega</c:v>
                </c:pt>
                <c:pt idx="21">
                  <c:v>All Others</c:v>
                </c:pt>
                <c:pt idx="22">
                  <c:v>All Others</c:v>
                </c:pt>
                <c:pt idx="23">
                  <c:v>Contarini</c:v>
                </c:pt>
                <c:pt idx="24">
                  <c:v>All Others</c:v>
                </c:pt>
                <c:pt idx="25">
                  <c:v>Contarini</c:v>
                </c:pt>
                <c:pt idx="26">
                  <c:v>All Others</c:v>
                </c:pt>
                <c:pt idx="27">
                  <c:v>All Others</c:v>
                </c:pt>
                <c:pt idx="28">
                  <c:v>All Others</c:v>
                </c:pt>
                <c:pt idx="29">
                  <c:v>All Others</c:v>
                </c:pt>
                <c:pt idx="30">
                  <c:v>Bouvet-Ladu</c:v>
                </c:pt>
                <c:pt idx="31">
                  <c:v>All Others</c:v>
                </c:pt>
                <c:pt idx="32">
                  <c:v>All Others</c:v>
                </c:pt>
                <c:pt idx="33">
                  <c:v>All Others</c:v>
                </c:pt>
                <c:pt idx="34">
                  <c:v>All Others</c:v>
                </c:pt>
                <c:pt idx="35">
                  <c:v>All Others</c:v>
                </c:pt>
                <c:pt idx="36">
                  <c:v>All Others</c:v>
                </c:pt>
                <c:pt idx="37">
                  <c:v>Celene</c:v>
                </c:pt>
                <c:pt idx="38">
                  <c:v>Celene</c:v>
                </c:pt>
                <c:pt idx="39">
                  <c:v>All Others</c:v>
                </c:pt>
                <c:pt idx="40">
                  <c:v>All Others</c:v>
                </c:pt>
              </c:strCache>
            </c:strRef>
          </c:cat>
          <c:val>
            <c:numRef>
              <c:f>Sheet1!$C$2:$C$42</c:f>
              <c:numCache>
                <c:formatCode>General</c:formatCode>
                <c:ptCount val="41"/>
                <c:pt idx="0">
                  <c:v>0.23464339700425998</c:v>
                </c:pt>
                <c:pt idx="1">
                  <c:v>0.35081420915212314</c:v>
                </c:pt>
                <c:pt idx="2">
                  <c:v>0.42843891713618248</c:v>
                </c:pt>
                <c:pt idx="3">
                  <c:v>0.50036072557372546</c:v>
                </c:pt>
                <c:pt idx="4">
                  <c:v>0.54933351655902163</c:v>
                </c:pt>
                <c:pt idx="5">
                  <c:v>0.5971725985983235</c:v>
                </c:pt>
                <c:pt idx="6">
                  <c:v>0.64439329393981037</c:v>
                </c:pt>
                <c:pt idx="7">
                  <c:v>0.69041157070221248</c:v>
                </c:pt>
                <c:pt idx="8">
                  <c:v>0.73584581558334483</c:v>
                </c:pt>
                <c:pt idx="9">
                  <c:v>0.77525079016078058</c:v>
                </c:pt>
                <c:pt idx="10">
                  <c:v>0.80407448124227021</c:v>
                </c:pt>
                <c:pt idx="11">
                  <c:v>0.82609591864779441</c:v>
                </c:pt>
                <c:pt idx="12">
                  <c:v>0.84421808437542945</c:v>
                </c:pt>
                <c:pt idx="13">
                  <c:v>0.8580974302597224</c:v>
                </c:pt>
                <c:pt idx="14">
                  <c:v>0.87165040538683525</c:v>
                </c:pt>
                <c:pt idx="15">
                  <c:v>0.88518620310567542</c:v>
                </c:pt>
                <c:pt idx="16">
                  <c:v>0.89738216297924966</c:v>
                </c:pt>
                <c:pt idx="17">
                  <c:v>0.90715610828638171</c:v>
                </c:pt>
                <c:pt idx="18">
                  <c:v>0.91650061838669783</c:v>
                </c:pt>
                <c:pt idx="19">
                  <c:v>0.92574206403737802</c:v>
                </c:pt>
                <c:pt idx="20">
                  <c:v>0.93494915487151298</c:v>
                </c:pt>
                <c:pt idx="21">
                  <c:v>0.94405318125601212</c:v>
                </c:pt>
                <c:pt idx="22">
                  <c:v>0.95284801429160371</c:v>
                </c:pt>
                <c:pt idx="23">
                  <c:v>0.96128212175346983</c:v>
                </c:pt>
                <c:pt idx="24">
                  <c:v>0.96689913425862306</c:v>
                </c:pt>
                <c:pt idx="25">
                  <c:v>0.97158856671705374</c:v>
                </c:pt>
                <c:pt idx="26">
                  <c:v>0.97603751545966744</c:v>
                </c:pt>
                <c:pt idx="27">
                  <c:v>0.98043493197746323</c:v>
                </c:pt>
                <c:pt idx="28">
                  <c:v>0.98368146214099217</c:v>
                </c:pt>
                <c:pt idx="29">
                  <c:v>0.98667033118043146</c:v>
                </c:pt>
                <c:pt idx="30">
                  <c:v>0.98862855572351238</c:v>
                </c:pt>
                <c:pt idx="31">
                  <c:v>0.99051807063350272</c:v>
                </c:pt>
                <c:pt idx="32">
                  <c:v>0.9923904081352205</c:v>
                </c:pt>
                <c:pt idx="33">
                  <c:v>0.99426274563693828</c:v>
                </c:pt>
                <c:pt idx="34">
                  <c:v>0.99565411570702211</c:v>
                </c:pt>
                <c:pt idx="35">
                  <c:v>0.99687371169437955</c:v>
                </c:pt>
                <c:pt idx="36">
                  <c:v>0.99800742064037373</c:v>
                </c:pt>
                <c:pt idx="37">
                  <c:v>0.99878040401264256</c:v>
                </c:pt>
                <c:pt idx="38">
                  <c:v>0.99929572626082175</c:v>
                </c:pt>
                <c:pt idx="39">
                  <c:v>0.99965645183454721</c:v>
                </c:pt>
                <c:pt idx="4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5</c:v>
                </c:pt>
                <c:pt idx="1">
                  <c:v>0.81</c:v>
                </c:pt>
                <c:pt idx="2">
                  <c:v>0.56999999999999995</c:v>
                </c:pt>
                <c:pt idx="3">
                  <c:v>0.56000000000000005</c:v>
                </c:pt>
                <c:pt idx="4">
                  <c:v>0.3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8969240837696337</c:v>
                </c:pt>
                <c:pt idx="1">
                  <c:v>0.79728403141361259</c:v>
                </c:pt>
                <c:pt idx="2">
                  <c:v>0.89643324607329844</c:v>
                </c:pt>
                <c:pt idx="3">
                  <c:v>0.96265543193717273</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Canard Duchêne</c:v>
                </c:pt>
                <c:pt idx="7">
                  <c:v>Besserat De Bellefon</c:v>
                </c:pt>
                <c:pt idx="8">
                  <c:v>Roederer</c:v>
                </c:pt>
                <c:pt idx="9">
                  <c:v>Others</c:v>
                </c:pt>
              </c:strCache>
            </c:strRef>
          </c:cat>
          <c:val>
            <c:numRef>
              <c:f>Sheet1!$B$2:$B$11</c:f>
              <c:numCache>
                <c:formatCode>General</c:formatCode>
                <c:ptCount val="10"/>
                <c:pt idx="0">
                  <c:v>0.27702682029138292</c:v>
                </c:pt>
                <c:pt idx="1">
                  <c:v>9.9693915056102658E-2</c:v>
                </c:pt>
                <c:pt idx="2">
                  <c:v>8.102982110897794E-2</c:v>
                </c:pt>
                <c:pt idx="3">
                  <c:v>3.9662845672071984E-2</c:v>
                </c:pt>
                <c:pt idx="4">
                  <c:v>3.9188787755672722E-2</c:v>
                </c:pt>
                <c:pt idx="5">
                  <c:v>3.6626783575132563E-2</c:v>
                </c:pt>
                <c:pt idx="6">
                  <c:v>2.804765211585139E-2</c:v>
                </c:pt>
                <c:pt idx="7">
                  <c:v>2.7638273670071958E-2</c:v>
                </c:pt>
                <c:pt idx="8">
                  <c:v>2.7548032252979613E-2</c:v>
                </c:pt>
                <c:pt idx="9">
                  <c:v>0.343537068501756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Canard Duchêne</c:v>
                </c:pt>
                <c:pt idx="7">
                  <c:v>Besserat De Bellefon</c:v>
                </c:pt>
                <c:pt idx="8">
                  <c:v>Roederer</c:v>
                </c:pt>
                <c:pt idx="9">
                  <c:v>Others</c:v>
                </c:pt>
              </c:strCache>
            </c:strRef>
          </c:cat>
          <c:val>
            <c:numRef>
              <c:f>Sheet1!$C$2:$C$11</c:f>
              <c:numCache>
                <c:formatCode>General</c:formatCode>
                <c:ptCount val="10"/>
                <c:pt idx="0">
                  <c:v>0.10566079053980079</c:v>
                </c:pt>
                <c:pt idx="1">
                  <c:v>7.6645133034052404E-2</c:v>
                </c:pt>
                <c:pt idx="2">
                  <c:v>4.7191503339537984E-2</c:v>
                </c:pt>
                <c:pt idx="3">
                  <c:v>3.9745976130515746E-2</c:v>
                </c:pt>
                <c:pt idx="4">
                  <c:v>3.449030986532358E-2</c:v>
                </c:pt>
                <c:pt idx="5">
                  <c:v>9.7448812000438048E-3</c:v>
                </c:pt>
                <c:pt idx="6">
                  <c:v>3.5147268148472598E-2</c:v>
                </c:pt>
                <c:pt idx="7">
                  <c:v>3.2190955874302006E-2</c:v>
                </c:pt>
                <c:pt idx="8">
                  <c:v>5.1023759991240598E-2</c:v>
                </c:pt>
                <c:pt idx="9">
                  <c:v>0.568159421876711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Canard Duchêne</c:v>
                </c:pt>
                <c:pt idx="7">
                  <c:v>Besserat De Bellefon</c:v>
                </c:pt>
                <c:pt idx="8">
                  <c:v>Roederer</c:v>
                </c:pt>
                <c:pt idx="9">
                  <c:v>Others</c:v>
                </c:pt>
              </c:strCache>
            </c:strRef>
          </c:cat>
          <c:val>
            <c:numRef>
              <c:f>Sheet1!$D$2:$D$11</c:f>
              <c:numCache>
                <c:formatCode>General</c:formatCode>
                <c:ptCount val="10"/>
                <c:pt idx="0">
                  <c:v>38.140996755716444</c:v>
                </c:pt>
                <c:pt idx="1">
                  <c:v>76.880452524028598</c:v>
                </c:pt>
                <c:pt idx="2">
                  <c:v>58.239673608645369</c:v>
                </c:pt>
                <c:pt idx="3">
                  <c:v>100.20959277387979</c:v>
                </c:pt>
                <c:pt idx="4">
                  <c:v>88.010657743121897</c:v>
                </c:pt>
                <c:pt idx="5">
                  <c:v>26.605888502478297</c:v>
                </c:pt>
                <c:pt idx="6">
                  <c:v>125.31269285320603</c:v>
                </c:pt>
                <c:pt idx="7">
                  <c:v>116.47238267692497</c:v>
                </c:pt>
                <c:pt idx="8">
                  <c:v>185.21743957128493</c:v>
                </c:pt>
                <c:pt idx="9">
                  <c:v>165.3851866276278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Malard</c:v>
                </c:pt>
                <c:pt idx="5">
                  <c:v>Besserat De Bellefon</c:v>
                </c:pt>
                <c:pt idx="6">
                  <c:v>De Bligny</c:v>
                </c:pt>
                <c:pt idx="7">
                  <c:v>Roederer</c:v>
                </c:pt>
                <c:pt idx="8">
                  <c:v>Laurent Perrier</c:v>
                </c:pt>
                <c:pt idx="9">
                  <c:v>Others</c:v>
                </c:pt>
              </c:strCache>
            </c:strRef>
          </c:cat>
          <c:val>
            <c:numRef>
              <c:f>Sheet1!$B$2:$B$11</c:f>
              <c:numCache>
                <c:formatCode>General</c:formatCode>
                <c:ptCount val="10"/>
                <c:pt idx="0">
                  <c:v>0.21310671345383309</c:v>
                </c:pt>
                <c:pt idx="1">
                  <c:v>8.0946552308818587E-2</c:v>
                </c:pt>
                <c:pt idx="2">
                  <c:v>7.7412772547130401E-2</c:v>
                </c:pt>
                <c:pt idx="3">
                  <c:v>6.0771406074666377E-2</c:v>
                </c:pt>
                <c:pt idx="4">
                  <c:v>5.9148603589377118E-2</c:v>
                </c:pt>
                <c:pt idx="5">
                  <c:v>4.9194929870190356E-2</c:v>
                </c:pt>
                <c:pt idx="6">
                  <c:v>4.5198323928841204E-2</c:v>
                </c:pt>
                <c:pt idx="7">
                  <c:v>4.4100931037443801E-2</c:v>
                </c:pt>
                <c:pt idx="8">
                  <c:v>3.9551262365682169E-2</c:v>
                </c:pt>
                <c:pt idx="9">
                  <c:v>0.330568504824016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Malard</c:v>
                </c:pt>
                <c:pt idx="5">
                  <c:v>Besserat De Bellefon</c:v>
                </c:pt>
                <c:pt idx="6">
                  <c:v>De Bligny</c:v>
                </c:pt>
                <c:pt idx="7">
                  <c:v>Roederer</c:v>
                </c:pt>
                <c:pt idx="8">
                  <c:v>Laurent Perrier</c:v>
                </c:pt>
                <c:pt idx="9">
                  <c:v>Others</c:v>
                </c:pt>
              </c:strCache>
            </c:strRef>
          </c:cat>
          <c:val>
            <c:numRef>
              <c:f>Sheet1!$C$2:$C$11</c:f>
              <c:numCache>
                <c:formatCode>General</c:formatCode>
                <c:ptCount val="10"/>
                <c:pt idx="0">
                  <c:v>0.10614457831325301</c:v>
                </c:pt>
                <c:pt idx="1">
                  <c:v>0.10385542168674702</c:v>
                </c:pt>
                <c:pt idx="2">
                  <c:v>5.2771084337349408E-2</c:v>
                </c:pt>
                <c:pt idx="3">
                  <c:v>1.204819277108434E-2</c:v>
                </c:pt>
                <c:pt idx="4">
                  <c:v>4.8433734939759047E-2</c:v>
                </c:pt>
                <c:pt idx="5">
                  <c:v>4.0000000000000008E-2</c:v>
                </c:pt>
                <c:pt idx="6">
                  <c:v>2.4337349397590365E-2</c:v>
                </c:pt>
                <c:pt idx="7">
                  <c:v>7.0481927710843398E-2</c:v>
                </c:pt>
                <c:pt idx="8">
                  <c:v>0.05</c:v>
                </c:pt>
                <c:pt idx="9">
                  <c:v>0.4919277108433735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Malard</c:v>
                </c:pt>
                <c:pt idx="5">
                  <c:v>Besserat De Bellefon</c:v>
                </c:pt>
                <c:pt idx="6">
                  <c:v>De Bligny</c:v>
                </c:pt>
                <c:pt idx="7">
                  <c:v>Roederer</c:v>
                </c:pt>
                <c:pt idx="8">
                  <c:v>Laurent Perrier</c:v>
                </c:pt>
                <c:pt idx="9">
                  <c:v>Others</c:v>
                </c:pt>
              </c:strCache>
            </c:strRef>
          </c:cat>
          <c:val>
            <c:numRef>
              <c:f>Sheet1!$D$2:$D$11</c:f>
              <c:numCache>
                <c:formatCode>General</c:formatCode>
                <c:ptCount val="10"/>
                <c:pt idx="0">
                  <c:v>49.808181353351834</c:v>
                </c:pt>
                <c:pt idx="1">
                  <c:v>128.30122929822753</c:v>
                </c:pt>
                <c:pt idx="2">
                  <c:v>68.168446370037131</c:v>
                </c:pt>
                <c:pt idx="3">
                  <c:v>19.825430328667085</c:v>
                </c:pt>
                <c:pt idx="4">
                  <c:v>81.884832439996231</c:v>
                </c:pt>
                <c:pt idx="5">
                  <c:v>81.309192035738604</c:v>
                </c:pt>
                <c:pt idx="6">
                  <c:v>53.845690021396166</c:v>
                </c:pt>
                <c:pt idx="7">
                  <c:v>159.8195912258652</c:v>
                </c:pt>
                <c:pt idx="8">
                  <c:v>126.41821527138914</c:v>
                </c:pt>
                <c:pt idx="9">
                  <c:v>148.812637521308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77</c:v>
                </c:pt>
                <c:pt idx="1">
                  <c:v>0.9</c:v>
                </c:pt>
                <c:pt idx="2">
                  <c:v>0.33</c:v>
                </c:pt>
                <c:pt idx="3">
                  <c:v>0.38</c:v>
                </c:pt>
                <c:pt idx="4">
                  <c:v>0.4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3595184052106978</c:v>
                </c:pt>
                <c:pt idx="1">
                  <c:v>0.7605348860159874</c:v>
                </c:pt>
                <c:pt idx="2">
                  <c:v>0.85034047172604366</c:v>
                </c:pt>
                <c:pt idx="3">
                  <c:v>0.9342248100266457</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Lyre's</c:v>
                </c:pt>
                <c:pt idx="1">
                  <c:v>De Chanceny</c:v>
                </c:pt>
                <c:pt idx="2">
                  <c:v>All Others</c:v>
                </c:pt>
                <c:pt idx="3">
                  <c:v>All Others</c:v>
                </c:pt>
                <c:pt idx="4">
                  <c:v>All Others</c:v>
                </c:pt>
                <c:pt idx="5">
                  <c:v>All Others</c:v>
                </c:pt>
                <c:pt idx="6">
                  <c:v>All Others</c:v>
                </c:pt>
              </c:strCache>
            </c:strRef>
          </c:cat>
          <c:val>
            <c:numRef>
              <c:f>Sheet1!$B$2:$B$8</c:f>
              <c:numCache>
                <c:formatCode>General</c:formatCode>
                <c:ptCount val="7"/>
                <c:pt idx="0">
                  <c:v>0.98</c:v>
                </c:pt>
                <c:pt idx="1">
                  <c:v>0.75</c:v>
                </c:pt>
                <c:pt idx="2">
                  <c:v>0.59</c:v>
                </c:pt>
                <c:pt idx="3">
                  <c:v>0.2</c:v>
                </c:pt>
                <c:pt idx="4">
                  <c:v>0.26</c:v>
                </c:pt>
                <c:pt idx="5">
                  <c:v>0.26</c:v>
                </c:pt>
                <c:pt idx="6">
                  <c:v>0.2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Lyre's</c:v>
                </c:pt>
                <c:pt idx="1">
                  <c:v>De Chanceny</c:v>
                </c:pt>
                <c:pt idx="2">
                  <c:v>All Others</c:v>
                </c:pt>
                <c:pt idx="3">
                  <c:v>All Others</c:v>
                </c:pt>
                <c:pt idx="4">
                  <c:v>All Others</c:v>
                </c:pt>
                <c:pt idx="5">
                  <c:v>All Others</c:v>
                </c:pt>
                <c:pt idx="6">
                  <c:v>All Others</c:v>
                </c:pt>
              </c:strCache>
            </c:strRef>
          </c:cat>
          <c:val>
            <c:numRef>
              <c:f>Sheet1!$C$2:$C$8</c:f>
              <c:numCache>
                <c:formatCode>General</c:formatCode>
                <c:ptCount val="7"/>
                <c:pt idx="0">
                  <c:v>0.36506499917722562</c:v>
                </c:pt>
                <c:pt idx="1">
                  <c:v>0.71680105315122589</c:v>
                </c:pt>
                <c:pt idx="2">
                  <c:v>0.79661016949152541</c:v>
                </c:pt>
                <c:pt idx="3">
                  <c:v>0.86341945038670398</c:v>
                </c:pt>
                <c:pt idx="4">
                  <c:v>0.92126049037353963</c:v>
                </c:pt>
                <c:pt idx="5">
                  <c:v>0.97638637485601454</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84</c:v>
                </c:pt>
                <c:pt idx="1">
                  <c:v>0.92</c:v>
                </c:pt>
                <c:pt idx="2">
                  <c:v>0.62</c:v>
                </c:pt>
                <c:pt idx="3">
                  <c:v>0.65</c:v>
                </c:pt>
                <c:pt idx="4">
                  <c:v>0.5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8197299785210185</c:v>
                </c:pt>
                <c:pt idx="1">
                  <c:v>0.74416999079472235</c:v>
                </c:pt>
                <c:pt idx="2">
                  <c:v>0.90081313286284137</c:v>
                </c:pt>
                <c:pt idx="3">
                  <c:v>0.96271862534519792</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B$2:$B$8</c:f>
              <c:numCache>
                <c:formatCode>General</c:formatCode>
                <c:ptCount val="7"/>
                <c:pt idx="0">
                  <c:v>0.86</c:v>
                </c:pt>
                <c:pt idx="1">
                  <c:v>0.9</c:v>
                </c:pt>
                <c:pt idx="2">
                  <c:v>0.46</c:v>
                </c:pt>
                <c:pt idx="3">
                  <c:v>0.22</c:v>
                </c:pt>
                <c:pt idx="4">
                  <c:v>0.15</c:v>
                </c:pt>
                <c:pt idx="5">
                  <c:v>0.04</c:v>
                </c:pt>
                <c:pt idx="6">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De Chanceny</c:v>
                </c:pt>
                <c:pt idx="1">
                  <c:v>Lyre's</c:v>
                </c:pt>
                <c:pt idx="2">
                  <c:v>All Others</c:v>
                </c:pt>
                <c:pt idx="3">
                  <c:v>All Others</c:v>
                </c:pt>
                <c:pt idx="4">
                  <c:v>All Others</c:v>
                </c:pt>
                <c:pt idx="5">
                  <c:v>All Others</c:v>
                </c:pt>
                <c:pt idx="6">
                  <c:v>All Others</c:v>
                </c:pt>
              </c:strCache>
            </c:strRef>
          </c:cat>
          <c:val>
            <c:numRef>
              <c:f>Sheet1!$C$2:$C$8</c:f>
              <c:numCache>
                <c:formatCode>General</c:formatCode>
                <c:ptCount val="7"/>
                <c:pt idx="0">
                  <c:v>0.43762562814070349</c:v>
                </c:pt>
                <c:pt idx="1">
                  <c:v>0.85119346733668344</c:v>
                </c:pt>
                <c:pt idx="2">
                  <c:v>0.9402638190954774</c:v>
                </c:pt>
                <c:pt idx="3">
                  <c:v>0.99133165829145731</c:v>
                </c:pt>
                <c:pt idx="4">
                  <c:v>0.9973618090452262</c:v>
                </c:pt>
                <c:pt idx="5">
                  <c:v>0.99937185929648253</c:v>
                </c:pt>
                <c:pt idx="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62</c:v>
                </c:pt>
                <c:pt idx="1">
                  <c:v>0.85</c:v>
                </c:pt>
                <c:pt idx="2">
                  <c:v>0.62</c:v>
                </c:pt>
                <c:pt idx="3">
                  <c:v>0.4</c:v>
                </c:pt>
                <c:pt idx="4">
                  <c:v>0.3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1273015079563441</c:v>
                </c:pt>
                <c:pt idx="1">
                  <c:v>0.80371573773223359</c:v>
                </c:pt>
                <c:pt idx="2">
                  <c:v>0.8868616179288511</c:v>
                </c:pt>
                <c:pt idx="3">
                  <c:v>0.96000999750062488</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De Chanceny</c:v>
                </c:pt>
                <c:pt idx="1">
                  <c:v>Lyre's</c:v>
                </c:pt>
                <c:pt idx="2">
                  <c:v>All Others</c:v>
                </c:pt>
                <c:pt idx="3">
                  <c:v>All Others</c:v>
                </c:pt>
                <c:pt idx="4">
                  <c:v>All Others</c:v>
                </c:pt>
              </c:strCache>
            </c:strRef>
          </c:cat>
          <c:val>
            <c:numRef>
              <c:f>Sheet1!$B$2:$B$6</c:f>
              <c:numCache>
                <c:formatCode>General</c:formatCode>
                <c:ptCount val="5"/>
                <c:pt idx="0">
                  <c:v>0.86</c:v>
                </c:pt>
                <c:pt idx="1">
                  <c:v>0.89</c:v>
                </c:pt>
                <c:pt idx="2">
                  <c:v>0.67</c:v>
                </c:pt>
                <c:pt idx="3">
                  <c:v>0.36</c:v>
                </c:pt>
                <c:pt idx="4">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De Chanceny</c:v>
                </c:pt>
                <c:pt idx="1">
                  <c:v>Lyre's</c:v>
                </c:pt>
                <c:pt idx="2">
                  <c:v>All Others</c:v>
                </c:pt>
                <c:pt idx="3">
                  <c:v>All Others</c:v>
                </c:pt>
                <c:pt idx="4">
                  <c:v>All Others</c:v>
                </c:pt>
              </c:strCache>
            </c:strRef>
          </c:cat>
          <c:val>
            <c:numRef>
              <c:f>Sheet1!$C$2:$C$6</c:f>
              <c:numCache>
                <c:formatCode>General</c:formatCode>
                <c:ptCount val="5"/>
                <c:pt idx="0">
                  <c:v>0.45213065515299417</c:v>
                </c:pt>
                <c:pt idx="1">
                  <c:v>0.7977285526562794</c:v>
                </c:pt>
                <c:pt idx="2">
                  <c:v>0.89647080908578947</c:v>
                </c:pt>
                <c:pt idx="3">
                  <c:v>0.96311244602966029</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Lyre's</c:v>
                </c:pt>
                <c:pt idx="1">
                  <c:v>De Chanceny</c:v>
                </c:pt>
                <c:pt idx="2">
                  <c:v>All Others</c:v>
                </c:pt>
                <c:pt idx="3">
                  <c:v>All Others</c:v>
                </c:pt>
                <c:pt idx="4">
                  <c:v>All Others</c:v>
                </c:pt>
              </c:strCache>
            </c:strRef>
          </c:cat>
          <c:val>
            <c:numRef>
              <c:f>Sheet1!$B$2:$B$6</c:f>
              <c:numCache>
                <c:formatCode>General</c:formatCode>
                <c:ptCount val="5"/>
                <c:pt idx="0">
                  <c:v>1</c:v>
                </c:pt>
                <c:pt idx="1">
                  <c:v>0.53</c:v>
                </c:pt>
                <c:pt idx="2">
                  <c:v>0.56999999999999995</c:v>
                </c:pt>
                <c:pt idx="3">
                  <c:v>0.35</c:v>
                </c:pt>
                <c:pt idx="4">
                  <c:v>0.2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Lyre's</c:v>
                </c:pt>
                <c:pt idx="1">
                  <c:v>De Chanceny</c:v>
                </c:pt>
                <c:pt idx="2">
                  <c:v>All Others</c:v>
                </c:pt>
                <c:pt idx="3">
                  <c:v>All Others</c:v>
                </c:pt>
                <c:pt idx="4">
                  <c:v>All Others</c:v>
                </c:pt>
              </c:strCache>
            </c:strRef>
          </c:cat>
          <c:val>
            <c:numRef>
              <c:f>Sheet1!$C$2:$C$6</c:f>
              <c:numCache>
                <c:formatCode>General</c:formatCode>
                <c:ptCount val="5"/>
                <c:pt idx="0">
                  <c:v>0.44127722045510154</c:v>
                </c:pt>
                <c:pt idx="1">
                  <c:v>0.81343283582089554</c:v>
                </c:pt>
                <c:pt idx="2">
                  <c:v>0.93626131636897481</c:v>
                </c:pt>
                <c:pt idx="3">
                  <c:v>0.9777342794225593</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Lyre's</c:v>
                </c:pt>
                <c:pt idx="1">
                  <c:v>De Chanceny</c:v>
                </c:pt>
                <c:pt idx="2">
                  <c:v>All Others</c:v>
                </c:pt>
                <c:pt idx="3">
                  <c:v>All Others</c:v>
                </c:pt>
                <c:pt idx="4">
                  <c:v>All Others</c:v>
                </c:pt>
              </c:strCache>
            </c:strRef>
          </c:cat>
          <c:val>
            <c:numRef>
              <c:f>Sheet1!$B$2:$B$6</c:f>
              <c:numCache>
                <c:formatCode>General</c:formatCode>
                <c:ptCount val="5"/>
                <c:pt idx="0">
                  <c:v>0.83</c:v>
                </c:pt>
                <c:pt idx="1">
                  <c:v>0.77</c:v>
                </c:pt>
                <c:pt idx="2">
                  <c:v>0.66</c:v>
                </c:pt>
                <c:pt idx="3">
                  <c:v>0.64</c:v>
                </c:pt>
                <c:pt idx="4">
                  <c:v>0.4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Lyre's</c:v>
                </c:pt>
                <c:pt idx="1">
                  <c:v>De Chanceny</c:v>
                </c:pt>
                <c:pt idx="2">
                  <c:v>All Others</c:v>
                </c:pt>
                <c:pt idx="3">
                  <c:v>All Others</c:v>
                </c:pt>
                <c:pt idx="4">
                  <c:v>All Others</c:v>
                </c:pt>
              </c:strCache>
            </c:strRef>
          </c:cat>
          <c:val>
            <c:numRef>
              <c:f>Sheet1!$C$2:$C$6</c:f>
              <c:numCache>
                <c:formatCode>General</c:formatCode>
                <c:ptCount val="5"/>
                <c:pt idx="0">
                  <c:v>0.40656087162482235</c:v>
                </c:pt>
                <c:pt idx="1">
                  <c:v>0.77984367598294646</c:v>
                </c:pt>
                <c:pt idx="2">
                  <c:v>0.87411179535765038</c:v>
                </c:pt>
                <c:pt idx="3">
                  <c:v>0.93983893889152059</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Lyre's</c:v>
                </c:pt>
                <c:pt idx="1">
                  <c:v>De Chanceny</c:v>
                </c:pt>
                <c:pt idx="2">
                  <c:v>All Others</c:v>
                </c:pt>
                <c:pt idx="3">
                  <c:v>All Others</c:v>
                </c:pt>
                <c:pt idx="4">
                  <c:v>All Others</c:v>
                </c:pt>
              </c:strCache>
            </c:strRef>
          </c:cat>
          <c:val>
            <c:numRef>
              <c:f>Sheet1!$B$2:$B$6</c:f>
              <c:numCache>
                <c:formatCode>General</c:formatCode>
                <c:ptCount val="5"/>
                <c:pt idx="0">
                  <c:v>0.9</c:v>
                </c:pt>
                <c:pt idx="1">
                  <c:v>0.62</c:v>
                </c:pt>
                <c:pt idx="2">
                  <c:v>0.96</c:v>
                </c:pt>
                <c:pt idx="3">
                  <c:v>0.43</c:v>
                </c:pt>
                <c:pt idx="4">
                  <c:v>0.3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Lyre's</c:v>
                </c:pt>
                <c:pt idx="1">
                  <c:v>De Chanceny</c:v>
                </c:pt>
                <c:pt idx="2">
                  <c:v>All Others</c:v>
                </c:pt>
                <c:pt idx="3">
                  <c:v>All Others</c:v>
                </c:pt>
                <c:pt idx="4">
                  <c:v>All Others</c:v>
                </c:pt>
              </c:strCache>
            </c:strRef>
          </c:cat>
          <c:val>
            <c:numRef>
              <c:f>Sheet1!$C$2:$C$6</c:f>
              <c:numCache>
                <c:formatCode>General</c:formatCode>
                <c:ptCount val="5"/>
                <c:pt idx="0">
                  <c:v>0.37696969696969695</c:v>
                </c:pt>
                <c:pt idx="1">
                  <c:v>0.74157575757575755</c:v>
                </c:pt>
                <c:pt idx="2">
                  <c:v>0.90981818181818186</c:v>
                </c:pt>
                <c:pt idx="3">
                  <c:v>0.95903030303030312</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Lyre's</c:v>
                </c:pt>
                <c:pt idx="1">
                  <c:v>De Chanceny</c:v>
                </c:pt>
                <c:pt idx="2">
                  <c:v>All Others</c:v>
                </c:pt>
                <c:pt idx="3">
                  <c:v>All Others</c:v>
                </c:pt>
                <c:pt idx="4">
                  <c:v>All Others</c:v>
                </c:pt>
              </c:strCache>
            </c:strRef>
          </c:cat>
          <c:val>
            <c:numRef>
              <c:f>Sheet1!$B$2:$B$6</c:f>
              <c:numCache>
                <c:formatCode>General</c:formatCode>
                <c:ptCount val="5"/>
                <c:pt idx="0">
                  <c:v>0.8</c:v>
                </c:pt>
                <c:pt idx="1">
                  <c:v>0.48</c:v>
                </c:pt>
                <c:pt idx="2">
                  <c:v>0.67</c:v>
                </c:pt>
                <c:pt idx="3">
                  <c:v>0.53</c:v>
                </c:pt>
                <c:pt idx="4">
                  <c:v>0.2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Lyre's</c:v>
                </c:pt>
                <c:pt idx="1">
                  <c:v>De Chanceny</c:v>
                </c:pt>
                <c:pt idx="2">
                  <c:v>All Others</c:v>
                </c:pt>
                <c:pt idx="3">
                  <c:v>All Others</c:v>
                </c:pt>
                <c:pt idx="4">
                  <c:v>All Others</c:v>
                </c:pt>
              </c:strCache>
            </c:strRef>
          </c:cat>
          <c:val>
            <c:numRef>
              <c:f>Sheet1!$C$2:$C$6</c:f>
              <c:numCache>
                <c:formatCode>General</c:formatCode>
                <c:ptCount val="5"/>
                <c:pt idx="0">
                  <c:v>0.57122943964315587</c:v>
                </c:pt>
                <c:pt idx="1">
                  <c:v>0.79899637580150551</c:v>
                </c:pt>
                <c:pt idx="2">
                  <c:v>0.94006133258990809</c:v>
                </c:pt>
                <c:pt idx="3">
                  <c:v>0.98940618901589084</c:v>
                </c:pt>
                <c:pt idx="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Ayala</c:v>
                </c:pt>
                <c:pt idx="5">
                  <c:v>Laurent Perrier</c:v>
                </c:pt>
                <c:pt idx="6">
                  <c:v>De Bligny</c:v>
                </c:pt>
                <c:pt idx="7">
                  <c:v>Canard Duchêne</c:v>
                </c:pt>
                <c:pt idx="8">
                  <c:v>Nicolas Feuillatte</c:v>
                </c:pt>
                <c:pt idx="9">
                  <c:v>Others</c:v>
                </c:pt>
              </c:strCache>
            </c:strRef>
          </c:cat>
          <c:val>
            <c:numRef>
              <c:f>Sheet1!$B$2:$B$11</c:f>
              <c:numCache>
                <c:formatCode>General</c:formatCode>
                <c:ptCount val="10"/>
                <c:pt idx="0">
                  <c:v>0.23175069961580419</c:v>
                </c:pt>
                <c:pt idx="1">
                  <c:v>8.5606512605566468E-2</c:v>
                </c:pt>
                <c:pt idx="2">
                  <c:v>7.4367724557326056E-2</c:v>
                </c:pt>
                <c:pt idx="3">
                  <c:v>6.4409589167625694E-2</c:v>
                </c:pt>
                <c:pt idx="4">
                  <c:v>6.2205268899612309E-2</c:v>
                </c:pt>
                <c:pt idx="5">
                  <c:v>4.6720106246739078E-2</c:v>
                </c:pt>
                <c:pt idx="6">
                  <c:v>4.5007576570796626E-2</c:v>
                </c:pt>
                <c:pt idx="7">
                  <c:v>4.4660577117507996E-2</c:v>
                </c:pt>
                <c:pt idx="8">
                  <c:v>2.7088424947013932E-2</c:v>
                </c:pt>
                <c:pt idx="9">
                  <c:v>0.3181835202720076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Ayala</c:v>
                </c:pt>
                <c:pt idx="5">
                  <c:v>Laurent Perrier</c:v>
                </c:pt>
                <c:pt idx="6">
                  <c:v>De Bligny</c:v>
                </c:pt>
                <c:pt idx="7">
                  <c:v>Canard Duchêne</c:v>
                </c:pt>
                <c:pt idx="8">
                  <c:v>Nicolas Feuillatte</c:v>
                </c:pt>
                <c:pt idx="9">
                  <c:v>Others</c:v>
                </c:pt>
              </c:strCache>
            </c:strRef>
          </c:cat>
          <c:val>
            <c:numRef>
              <c:f>Sheet1!$C$2:$C$11</c:f>
              <c:numCache>
                <c:formatCode>General</c:formatCode>
                <c:ptCount val="10"/>
                <c:pt idx="0">
                  <c:v>0.10672409667384541</c:v>
                </c:pt>
                <c:pt idx="1">
                  <c:v>5.754965302703996E-2</c:v>
                </c:pt>
                <c:pt idx="2">
                  <c:v>0.10792055515673604</c:v>
                </c:pt>
                <c:pt idx="3">
                  <c:v>5.1328068916008614E-2</c:v>
                </c:pt>
                <c:pt idx="4">
                  <c:v>2.2732711174922229E-2</c:v>
                </c:pt>
                <c:pt idx="5">
                  <c:v>3.7449150514477149E-2</c:v>
                </c:pt>
                <c:pt idx="6">
                  <c:v>1.7109356305336203E-2</c:v>
                </c:pt>
                <c:pt idx="7">
                  <c:v>4.6422589136156975E-2</c:v>
                </c:pt>
                <c:pt idx="8">
                  <c:v>4.2952859535774109E-2</c:v>
                </c:pt>
                <c:pt idx="9">
                  <c:v>0.5098109595597032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Malard</c:v>
                </c:pt>
                <c:pt idx="4">
                  <c:v>Ayala</c:v>
                </c:pt>
                <c:pt idx="5">
                  <c:v>Laurent Perrier</c:v>
                </c:pt>
                <c:pt idx="6">
                  <c:v>De Bligny</c:v>
                </c:pt>
                <c:pt idx="7">
                  <c:v>Canard Duchêne</c:v>
                </c:pt>
                <c:pt idx="8">
                  <c:v>Nicolas Feuillatte</c:v>
                </c:pt>
                <c:pt idx="9">
                  <c:v>Others</c:v>
                </c:pt>
              </c:strCache>
            </c:strRef>
          </c:cat>
          <c:val>
            <c:numRef>
              <c:f>Sheet1!$D$2:$D$11</c:f>
              <c:numCache>
                <c:formatCode>General</c:formatCode>
                <c:ptCount val="10"/>
                <c:pt idx="0">
                  <c:v>46.051251129240342</c:v>
                </c:pt>
                <c:pt idx="1">
                  <c:v>67.225788407245375</c:v>
                </c:pt>
                <c:pt idx="2">
                  <c:v>145.11746298428955</c:v>
                </c:pt>
                <c:pt idx="3">
                  <c:v>79.690104500476664</c:v>
                </c:pt>
                <c:pt idx="4">
                  <c:v>36.544671499786588</c:v>
                </c:pt>
                <c:pt idx="5">
                  <c:v>80.156389877839771</c:v>
                </c:pt>
                <c:pt idx="6">
                  <c:v>38.014391373468634</c:v>
                </c:pt>
                <c:pt idx="7">
                  <c:v>103.94534090773813</c:v>
                </c:pt>
                <c:pt idx="8">
                  <c:v>158.56536369239501</c:v>
                </c:pt>
                <c:pt idx="9">
                  <c:v>160.2254444616986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Ruinart</c:v>
                </c:pt>
                <c:pt idx="1">
                  <c:v>Ruinart</c:v>
                </c:pt>
                <c:pt idx="2">
                  <c:v>Ruinart</c:v>
                </c:pt>
                <c:pt idx="3">
                  <c:v>Malard</c:v>
                </c:pt>
                <c:pt idx="4">
                  <c:v>Besserat De</c:v>
                </c:pt>
                <c:pt idx="5">
                  <c:v>Nicolas</c:v>
                </c:pt>
                <c:pt idx="6">
                  <c:v>Delamotte</c:v>
                </c:pt>
                <c:pt idx="7">
                  <c:v>De Bligny</c:v>
                </c:pt>
                <c:pt idx="8">
                  <c:v>Ruinart</c:v>
                </c:pt>
                <c:pt idx="9">
                  <c:v>Ayala</c:v>
                </c:pt>
                <c:pt idx="10">
                  <c:v>Henriot</c:v>
                </c:pt>
                <c:pt idx="11">
                  <c:v>Perrier Jou</c:v>
                </c:pt>
                <c:pt idx="12">
                  <c:v>Taittinger</c:v>
                </c:pt>
                <c:pt idx="13">
                  <c:v>Deutz</c:v>
                </c:pt>
                <c:pt idx="14">
                  <c:v>Henriot</c:v>
                </c:pt>
                <c:pt idx="15">
                  <c:v>Nicolas</c:v>
                </c:pt>
                <c:pt idx="16">
                  <c:v>Ruinart</c:v>
                </c:pt>
                <c:pt idx="17">
                  <c:v>Nicolas</c:v>
                </c:pt>
                <c:pt idx="18">
                  <c:v>Laurent Per</c:v>
                </c:pt>
                <c:pt idx="19">
                  <c:v>De Venoge</c:v>
                </c:pt>
                <c:pt idx="20">
                  <c:v>Delamotte</c:v>
                </c:pt>
                <c:pt idx="21">
                  <c:v>Krug</c:v>
                </c:pt>
                <c:pt idx="22">
                  <c:v>Lanson</c:v>
                </c:pt>
                <c:pt idx="23">
                  <c:v>Nicolas</c:v>
                </c:pt>
                <c:pt idx="24">
                  <c:v>Taittinger</c:v>
                </c:pt>
                <c:pt idx="25">
                  <c:v>Perrier Jou</c:v>
                </c:pt>
                <c:pt idx="26">
                  <c:v>Ayala</c:v>
                </c:pt>
                <c:pt idx="27">
                  <c:v>Deutz</c:v>
                </c:pt>
                <c:pt idx="28">
                  <c:v>All Others</c:v>
                </c:pt>
                <c:pt idx="29">
                  <c:v>Vesselle</c:v>
                </c:pt>
                <c:pt idx="30">
                  <c:v>Taittinger</c:v>
                </c:pt>
                <c:pt idx="31">
                  <c:v>Besserat De</c:v>
                </c:pt>
                <c:pt idx="32">
                  <c:v>Nicolas</c:v>
                </c:pt>
                <c:pt idx="33">
                  <c:v>Ruinart</c:v>
                </c:pt>
                <c:pt idx="34">
                  <c:v>Ayala</c:v>
                </c:pt>
                <c:pt idx="35">
                  <c:v>All Others</c:v>
                </c:pt>
                <c:pt idx="36">
                  <c:v>De Venoge</c:v>
                </c:pt>
                <c:pt idx="37">
                  <c:v>All Others</c:v>
                </c:pt>
                <c:pt idx="38">
                  <c:v>Pommery</c:v>
                </c:pt>
              </c:strCache>
            </c:strRef>
          </c:cat>
          <c:val>
            <c:numRef>
              <c:f>Sheet1!$B$2:$B$40</c:f>
              <c:numCache>
                <c:formatCode>General</c:formatCode>
                <c:ptCount val="39"/>
                <c:pt idx="0">
                  <c:v>0.79</c:v>
                </c:pt>
                <c:pt idx="1">
                  <c:v>0.74</c:v>
                </c:pt>
                <c:pt idx="2">
                  <c:v>0.66</c:v>
                </c:pt>
                <c:pt idx="3">
                  <c:v>0.82</c:v>
                </c:pt>
                <c:pt idx="4">
                  <c:v>0.42</c:v>
                </c:pt>
                <c:pt idx="5">
                  <c:v>0.73</c:v>
                </c:pt>
                <c:pt idx="6">
                  <c:v>0.53</c:v>
                </c:pt>
                <c:pt idx="7">
                  <c:v>0.63</c:v>
                </c:pt>
                <c:pt idx="8">
                  <c:v>0.39</c:v>
                </c:pt>
                <c:pt idx="9">
                  <c:v>0.33</c:v>
                </c:pt>
                <c:pt idx="10">
                  <c:v>0.44</c:v>
                </c:pt>
                <c:pt idx="11">
                  <c:v>0.4</c:v>
                </c:pt>
                <c:pt idx="12">
                  <c:v>0.35</c:v>
                </c:pt>
                <c:pt idx="13">
                  <c:v>0.34</c:v>
                </c:pt>
                <c:pt idx="14">
                  <c:v>0.41</c:v>
                </c:pt>
                <c:pt idx="15">
                  <c:v>0.38</c:v>
                </c:pt>
                <c:pt idx="16">
                  <c:v>0.34</c:v>
                </c:pt>
                <c:pt idx="17">
                  <c:v>0.16</c:v>
                </c:pt>
                <c:pt idx="18">
                  <c:v>0.3</c:v>
                </c:pt>
                <c:pt idx="19">
                  <c:v>0.27</c:v>
                </c:pt>
                <c:pt idx="20">
                  <c:v>0.27</c:v>
                </c:pt>
                <c:pt idx="21">
                  <c:v>0.16</c:v>
                </c:pt>
                <c:pt idx="22">
                  <c:v>0.39</c:v>
                </c:pt>
                <c:pt idx="23">
                  <c:v>0.21</c:v>
                </c:pt>
                <c:pt idx="24">
                  <c:v>0.2</c:v>
                </c:pt>
                <c:pt idx="25">
                  <c:v>0.2</c:v>
                </c:pt>
                <c:pt idx="26">
                  <c:v>0.18</c:v>
                </c:pt>
                <c:pt idx="27">
                  <c:v>0.2</c:v>
                </c:pt>
                <c:pt idx="28">
                  <c:v>0.12</c:v>
                </c:pt>
                <c:pt idx="29">
                  <c:v>0.2</c:v>
                </c:pt>
                <c:pt idx="30">
                  <c:v>0.04</c:v>
                </c:pt>
                <c:pt idx="31">
                  <c:v>0.15</c:v>
                </c:pt>
                <c:pt idx="32">
                  <c:v>0.08</c:v>
                </c:pt>
                <c:pt idx="33">
                  <c:v>0.03</c:v>
                </c:pt>
                <c:pt idx="34">
                  <c:v>0.12</c:v>
                </c:pt>
                <c:pt idx="35">
                  <c:v>0.39</c:v>
                </c:pt>
                <c:pt idx="36">
                  <c:v>0.03</c:v>
                </c:pt>
                <c:pt idx="37">
                  <c:v>0.53</c:v>
                </c:pt>
                <c:pt idx="3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Ruinart</c:v>
                </c:pt>
                <c:pt idx="1">
                  <c:v>Ruinart</c:v>
                </c:pt>
                <c:pt idx="2">
                  <c:v>Ruinart</c:v>
                </c:pt>
                <c:pt idx="3">
                  <c:v>Malard</c:v>
                </c:pt>
                <c:pt idx="4">
                  <c:v>Besserat De</c:v>
                </c:pt>
                <c:pt idx="5">
                  <c:v>Nicolas</c:v>
                </c:pt>
                <c:pt idx="6">
                  <c:v>Delamotte</c:v>
                </c:pt>
                <c:pt idx="7">
                  <c:v>De Bligny</c:v>
                </c:pt>
                <c:pt idx="8">
                  <c:v>Ruinart</c:v>
                </c:pt>
                <c:pt idx="9">
                  <c:v>Ayala</c:v>
                </c:pt>
                <c:pt idx="10">
                  <c:v>Henriot</c:v>
                </c:pt>
                <c:pt idx="11">
                  <c:v>Perrier Jou</c:v>
                </c:pt>
                <c:pt idx="12">
                  <c:v>Taittinger</c:v>
                </c:pt>
                <c:pt idx="13">
                  <c:v>Deutz</c:v>
                </c:pt>
                <c:pt idx="14">
                  <c:v>Henriot</c:v>
                </c:pt>
                <c:pt idx="15">
                  <c:v>Nicolas</c:v>
                </c:pt>
                <c:pt idx="16">
                  <c:v>Ruinart</c:v>
                </c:pt>
                <c:pt idx="17">
                  <c:v>Nicolas</c:v>
                </c:pt>
                <c:pt idx="18">
                  <c:v>Laurent Per</c:v>
                </c:pt>
                <c:pt idx="19">
                  <c:v>De Venoge</c:v>
                </c:pt>
                <c:pt idx="20">
                  <c:v>Delamotte</c:v>
                </c:pt>
                <c:pt idx="21">
                  <c:v>Krug</c:v>
                </c:pt>
                <c:pt idx="22">
                  <c:v>Lanson</c:v>
                </c:pt>
                <c:pt idx="23">
                  <c:v>Nicolas</c:v>
                </c:pt>
                <c:pt idx="24">
                  <c:v>Taittinger</c:v>
                </c:pt>
                <c:pt idx="25">
                  <c:v>Perrier Jou</c:v>
                </c:pt>
                <c:pt idx="26">
                  <c:v>Ayala</c:v>
                </c:pt>
                <c:pt idx="27">
                  <c:v>Deutz</c:v>
                </c:pt>
                <c:pt idx="28">
                  <c:v>All Others</c:v>
                </c:pt>
                <c:pt idx="29">
                  <c:v>Vesselle</c:v>
                </c:pt>
                <c:pt idx="30">
                  <c:v>Taittinger</c:v>
                </c:pt>
                <c:pt idx="31">
                  <c:v>Besserat De</c:v>
                </c:pt>
                <c:pt idx="32">
                  <c:v>Nicolas</c:v>
                </c:pt>
                <c:pt idx="33">
                  <c:v>Ruinart</c:v>
                </c:pt>
                <c:pt idx="34">
                  <c:v>Ayala</c:v>
                </c:pt>
                <c:pt idx="35">
                  <c:v>All Others</c:v>
                </c:pt>
                <c:pt idx="36">
                  <c:v>De Venoge</c:v>
                </c:pt>
                <c:pt idx="37">
                  <c:v>All Others</c:v>
                </c:pt>
                <c:pt idx="38">
                  <c:v>Pommery</c:v>
                </c:pt>
              </c:strCache>
            </c:strRef>
          </c:cat>
          <c:val>
            <c:numRef>
              <c:f>Sheet1!$C$2:$C$40</c:f>
              <c:numCache>
                <c:formatCode>General</c:formatCode>
                <c:ptCount val="39"/>
                <c:pt idx="0">
                  <c:v>0.320076579118166</c:v>
                </c:pt>
                <c:pt idx="1">
                  <c:v>0.4945256367188392</c:v>
                </c:pt>
                <c:pt idx="2">
                  <c:v>0.59327617078317485</c:v>
                </c:pt>
                <c:pt idx="3">
                  <c:v>0.65376976038041701</c:v>
                </c:pt>
                <c:pt idx="4">
                  <c:v>0.69815172971615513</c:v>
                </c:pt>
                <c:pt idx="5">
                  <c:v>0.7357074599410981</c:v>
                </c:pt>
                <c:pt idx="6">
                  <c:v>0.76717730283649321</c:v>
                </c:pt>
                <c:pt idx="7">
                  <c:v>0.79267867101963085</c:v>
                </c:pt>
                <c:pt idx="8">
                  <c:v>0.81758645319313406</c:v>
                </c:pt>
                <c:pt idx="9">
                  <c:v>0.83772597852001407</c:v>
                </c:pt>
                <c:pt idx="10">
                  <c:v>0.85626086474392649</c:v>
                </c:pt>
                <c:pt idx="11">
                  <c:v>0.87259426439364551</c:v>
                </c:pt>
                <c:pt idx="12">
                  <c:v>0.88841561457351514</c:v>
                </c:pt>
                <c:pt idx="13">
                  <c:v>0.9039825707492557</c:v>
                </c:pt>
                <c:pt idx="14">
                  <c:v>0.9175600353542438</c:v>
                </c:pt>
                <c:pt idx="15">
                  <c:v>0.92667255904060863</c:v>
                </c:pt>
                <c:pt idx="16">
                  <c:v>0.93396518715897359</c:v>
                </c:pt>
                <c:pt idx="17">
                  <c:v>0.9409708066572956</c:v>
                </c:pt>
                <c:pt idx="18">
                  <c:v>0.94755895907191867</c:v>
                </c:pt>
                <c:pt idx="19">
                  <c:v>0.95414058856335893</c:v>
                </c:pt>
                <c:pt idx="20">
                  <c:v>0.96043520943475624</c:v>
                </c:pt>
                <c:pt idx="21">
                  <c:v>0.96516432874228275</c:v>
                </c:pt>
                <c:pt idx="22">
                  <c:v>0.96968471450795979</c:v>
                </c:pt>
                <c:pt idx="23">
                  <c:v>0.97373544980447557</c:v>
                </c:pt>
                <c:pt idx="24">
                  <c:v>0.97750243794253977</c:v>
                </c:pt>
                <c:pt idx="25">
                  <c:v>0.98105743107716314</c:v>
                </c:pt>
                <c:pt idx="26">
                  <c:v>0.98437433751561443</c:v>
                </c:pt>
                <c:pt idx="27">
                  <c:v>0.98746946456585072</c:v>
                </c:pt>
                <c:pt idx="28">
                  <c:v>0.99003949629987198</c:v>
                </c:pt>
                <c:pt idx="29">
                  <c:v>0.99233230379862447</c:v>
                </c:pt>
                <c:pt idx="30">
                  <c:v>0.99412936913548455</c:v>
                </c:pt>
                <c:pt idx="31">
                  <c:v>0.9956687790066242</c:v>
                </c:pt>
                <c:pt idx="32">
                  <c:v>0.99718862010821552</c:v>
                </c:pt>
                <c:pt idx="33">
                  <c:v>0.99800072404447349</c:v>
                </c:pt>
                <c:pt idx="34">
                  <c:v>0.99856495689978531</c:v>
                </c:pt>
                <c:pt idx="35">
                  <c:v>0.9990998366007745</c:v>
                </c:pt>
                <c:pt idx="36">
                  <c:v>0.99956296414675294</c:v>
                </c:pt>
                <c:pt idx="37">
                  <c:v>0.99987280299793568</c:v>
                </c:pt>
                <c:pt idx="3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6</c:f>
              <c:strCache>
                <c:ptCount val="35"/>
                <c:pt idx="0">
                  <c:v>Ruinart</c:v>
                </c:pt>
                <c:pt idx="1">
                  <c:v>Ruinart</c:v>
                </c:pt>
                <c:pt idx="2">
                  <c:v>Ruinart</c:v>
                </c:pt>
                <c:pt idx="3">
                  <c:v>Nicolas</c:v>
                </c:pt>
                <c:pt idx="4">
                  <c:v>Besserat De</c:v>
                </c:pt>
                <c:pt idx="5">
                  <c:v>Malard</c:v>
                </c:pt>
                <c:pt idx="6">
                  <c:v>Ruinart</c:v>
                </c:pt>
                <c:pt idx="7">
                  <c:v>De Bligny</c:v>
                </c:pt>
                <c:pt idx="8">
                  <c:v>Ayala</c:v>
                </c:pt>
                <c:pt idx="9">
                  <c:v>Delamotte</c:v>
                </c:pt>
                <c:pt idx="10">
                  <c:v>De Venoge</c:v>
                </c:pt>
                <c:pt idx="11">
                  <c:v>Henriot</c:v>
                </c:pt>
                <c:pt idx="12">
                  <c:v>Deutz</c:v>
                </c:pt>
                <c:pt idx="13">
                  <c:v>Nicolas</c:v>
                </c:pt>
                <c:pt idx="14">
                  <c:v>Perrier Jou</c:v>
                </c:pt>
                <c:pt idx="15">
                  <c:v>Deutz</c:v>
                </c:pt>
                <c:pt idx="16">
                  <c:v>Nicolas</c:v>
                </c:pt>
                <c:pt idx="17">
                  <c:v>Henriot</c:v>
                </c:pt>
                <c:pt idx="18">
                  <c:v>Ruinart</c:v>
                </c:pt>
                <c:pt idx="19">
                  <c:v>Taittinger</c:v>
                </c:pt>
                <c:pt idx="20">
                  <c:v>All Others</c:v>
                </c:pt>
                <c:pt idx="21">
                  <c:v>Ayala</c:v>
                </c:pt>
                <c:pt idx="22">
                  <c:v>Vesselle</c:v>
                </c:pt>
                <c:pt idx="23">
                  <c:v>Delamotte</c:v>
                </c:pt>
                <c:pt idx="24">
                  <c:v>Taittinger</c:v>
                </c:pt>
                <c:pt idx="25">
                  <c:v>Nicolas</c:v>
                </c:pt>
                <c:pt idx="26">
                  <c:v>Lanson</c:v>
                </c:pt>
                <c:pt idx="27">
                  <c:v>De Venoge</c:v>
                </c:pt>
                <c:pt idx="28">
                  <c:v>Besserat De</c:v>
                </c:pt>
                <c:pt idx="29">
                  <c:v>Taittinger</c:v>
                </c:pt>
                <c:pt idx="30">
                  <c:v>Deutz</c:v>
                </c:pt>
                <c:pt idx="31">
                  <c:v>Henriot</c:v>
                </c:pt>
                <c:pt idx="32">
                  <c:v>Laurent Per</c:v>
                </c:pt>
                <c:pt idx="33">
                  <c:v>Besserat De</c:v>
                </c:pt>
                <c:pt idx="34">
                  <c:v>Ayala</c:v>
                </c:pt>
              </c:strCache>
            </c:strRef>
          </c:cat>
          <c:val>
            <c:numRef>
              <c:f>Sheet1!$B$2:$B$36</c:f>
              <c:numCache>
                <c:formatCode>General</c:formatCode>
                <c:ptCount val="35"/>
                <c:pt idx="0">
                  <c:v>0.92</c:v>
                </c:pt>
                <c:pt idx="1">
                  <c:v>0.69</c:v>
                </c:pt>
                <c:pt idx="2">
                  <c:v>0.6</c:v>
                </c:pt>
                <c:pt idx="3">
                  <c:v>0.63</c:v>
                </c:pt>
                <c:pt idx="4">
                  <c:v>0.85</c:v>
                </c:pt>
                <c:pt idx="5">
                  <c:v>0.69</c:v>
                </c:pt>
                <c:pt idx="6">
                  <c:v>0.43</c:v>
                </c:pt>
                <c:pt idx="7">
                  <c:v>0.36</c:v>
                </c:pt>
                <c:pt idx="8">
                  <c:v>0.23</c:v>
                </c:pt>
                <c:pt idx="9">
                  <c:v>0.24</c:v>
                </c:pt>
                <c:pt idx="10">
                  <c:v>0.22</c:v>
                </c:pt>
                <c:pt idx="11">
                  <c:v>0.26</c:v>
                </c:pt>
                <c:pt idx="12">
                  <c:v>0.59</c:v>
                </c:pt>
                <c:pt idx="13">
                  <c:v>0.31</c:v>
                </c:pt>
                <c:pt idx="14">
                  <c:v>0.13</c:v>
                </c:pt>
                <c:pt idx="15">
                  <c:v>0.21</c:v>
                </c:pt>
                <c:pt idx="16">
                  <c:v>0.27</c:v>
                </c:pt>
                <c:pt idx="17">
                  <c:v>0.16</c:v>
                </c:pt>
                <c:pt idx="18">
                  <c:v>0.15</c:v>
                </c:pt>
                <c:pt idx="19">
                  <c:v>0.16</c:v>
                </c:pt>
                <c:pt idx="20">
                  <c:v>0.22</c:v>
                </c:pt>
                <c:pt idx="21">
                  <c:v>0.1</c:v>
                </c:pt>
                <c:pt idx="22">
                  <c:v>0.28000000000000003</c:v>
                </c:pt>
                <c:pt idx="23">
                  <c:v>0.22</c:v>
                </c:pt>
                <c:pt idx="24">
                  <c:v>0.13</c:v>
                </c:pt>
                <c:pt idx="25">
                  <c:v>0.2</c:v>
                </c:pt>
                <c:pt idx="26">
                  <c:v>0.17</c:v>
                </c:pt>
                <c:pt idx="27">
                  <c:v>0.22</c:v>
                </c:pt>
                <c:pt idx="28">
                  <c:v>0.1</c:v>
                </c:pt>
                <c:pt idx="29">
                  <c:v>0.15</c:v>
                </c:pt>
                <c:pt idx="30">
                  <c:v>0.03</c:v>
                </c:pt>
                <c:pt idx="31">
                  <c:v>0.04</c:v>
                </c:pt>
                <c:pt idx="32">
                  <c:v>0.03</c:v>
                </c:pt>
                <c:pt idx="33">
                  <c:v>0.22</c:v>
                </c:pt>
                <c:pt idx="34">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6</c:f>
              <c:strCache>
                <c:ptCount val="35"/>
                <c:pt idx="0">
                  <c:v>Ruinart</c:v>
                </c:pt>
                <c:pt idx="1">
                  <c:v>Ruinart</c:v>
                </c:pt>
                <c:pt idx="2">
                  <c:v>Ruinart</c:v>
                </c:pt>
                <c:pt idx="3">
                  <c:v>Nicolas</c:v>
                </c:pt>
                <c:pt idx="4">
                  <c:v>Besserat De</c:v>
                </c:pt>
                <c:pt idx="5">
                  <c:v>Malard</c:v>
                </c:pt>
                <c:pt idx="6">
                  <c:v>Ruinart</c:v>
                </c:pt>
                <c:pt idx="7">
                  <c:v>De Bligny</c:v>
                </c:pt>
                <c:pt idx="8">
                  <c:v>Ayala</c:v>
                </c:pt>
                <c:pt idx="9">
                  <c:v>Delamotte</c:v>
                </c:pt>
                <c:pt idx="10">
                  <c:v>De Venoge</c:v>
                </c:pt>
                <c:pt idx="11">
                  <c:v>Henriot</c:v>
                </c:pt>
                <c:pt idx="12">
                  <c:v>Deutz</c:v>
                </c:pt>
                <c:pt idx="13">
                  <c:v>Nicolas</c:v>
                </c:pt>
                <c:pt idx="14">
                  <c:v>Perrier Jou</c:v>
                </c:pt>
                <c:pt idx="15">
                  <c:v>Deutz</c:v>
                </c:pt>
                <c:pt idx="16">
                  <c:v>Nicolas</c:v>
                </c:pt>
                <c:pt idx="17">
                  <c:v>Henriot</c:v>
                </c:pt>
                <c:pt idx="18">
                  <c:v>Ruinart</c:v>
                </c:pt>
                <c:pt idx="19">
                  <c:v>Taittinger</c:v>
                </c:pt>
                <c:pt idx="20">
                  <c:v>All Others</c:v>
                </c:pt>
                <c:pt idx="21">
                  <c:v>Ayala</c:v>
                </c:pt>
                <c:pt idx="22">
                  <c:v>Vesselle</c:v>
                </c:pt>
                <c:pt idx="23">
                  <c:v>Delamotte</c:v>
                </c:pt>
                <c:pt idx="24">
                  <c:v>Taittinger</c:v>
                </c:pt>
                <c:pt idx="25">
                  <c:v>Nicolas</c:v>
                </c:pt>
                <c:pt idx="26">
                  <c:v>Lanson</c:v>
                </c:pt>
                <c:pt idx="27">
                  <c:v>De Venoge</c:v>
                </c:pt>
                <c:pt idx="28">
                  <c:v>Besserat De</c:v>
                </c:pt>
                <c:pt idx="29">
                  <c:v>Taittinger</c:v>
                </c:pt>
                <c:pt idx="30">
                  <c:v>Deutz</c:v>
                </c:pt>
                <c:pt idx="31">
                  <c:v>Henriot</c:v>
                </c:pt>
                <c:pt idx="32">
                  <c:v>Laurent Per</c:v>
                </c:pt>
                <c:pt idx="33">
                  <c:v>Besserat De</c:v>
                </c:pt>
                <c:pt idx="34">
                  <c:v>Ayala</c:v>
                </c:pt>
              </c:strCache>
            </c:strRef>
          </c:cat>
          <c:val>
            <c:numRef>
              <c:f>Sheet1!$C$2:$C$36</c:f>
              <c:numCache>
                <c:formatCode>General</c:formatCode>
                <c:ptCount val="35"/>
                <c:pt idx="0">
                  <c:v>0.49675298372702587</c:v>
                </c:pt>
                <c:pt idx="1">
                  <c:v>0.59816442315481932</c:v>
                </c:pt>
                <c:pt idx="2">
                  <c:v>0.68213735989484114</c:v>
                </c:pt>
                <c:pt idx="3">
                  <c:v>0.73949390972118789</c:v>
                </c:pt>
                <c:pt idx="4">
                  <c:v>0.79485390386741206</c:v>
                </c:pt>
                <c:pt idx="5">
                  <c:v>0.83099312965329453</c:v>
                </c:pt>
                <c:pt idx="6">
                  <c:v>0.8527958312753654</c:v>
                </c:pt>
                <c:pt idx="7">
                  <c:v>0.8737648925022018</c:v>
                </c:pt>
                <c:pt idx="8">
                  <c:v>0.89126088763102407</c:v>
                </c:pt>
                <c:pt idx="9">
                  <c:v>0.90548504020550946</c:v>
                </c:pt>
                <c:pt idx="10">
                  <c:v>0.91940866411086641</c:v>
                </c:pt>
                <c:pt idx="11">
                  <c:v>0.93193678967435767</c:v>
                </c:pt>
                <c:pt idx="12">
                  <c:v>0.94201887320042133</c:v>
                </c:pt>
                <c:pt idx="13">
                  <c:v>0.95054604752534244</c:v>
                </c:pt>
                <c:pt idx="14">
                  <c:v>0.95634755748590783</c:v>
                </c:pt>
                <c:pt idx="15">
                  <c:v>0.96130758717291376</c:v>
                </c:pt>
                <c:pt idx="16">
                  <c:v>0.96549408219851096</c:v>
                </c:pt>
                <c:pt idx="17">
                  <c:v>0.96919711806072772</c:v>
                </c:pt>
                <c:pt idx="18">
                  <c:v>0.97282959501801869</c:v>
                </c:pt>
                <c:pt idx="19">
                  <c:v>0.9764516188042095</c:v>
                </c:pt>
                <c:pt idx="20">
                  <c:v>0.9795666637920446</c:v>
                </c:pt>
                <c:pt idx="21">
                  <c:v>0.98221654266592451</c:v>
                </c:pt>
                <c:pt idx="22">
                  <c:v>0.98478802275655353</c:v>
                </c:pt>
                <c:pt idx="23">
                  <c:v>0.98722622491565604</c:v>
                </c:pt>
                <c:pt idx="24">
                  <c:v>0.98963045426868312</c:v>
                </c:pt>
                <c:pt idx="25">
                  <c:v>0.99192753861793403</c:v>
                </c:pt>
                <c:pt idx="26">
                  <c:v>0.99382217587983035</c:v>
                </c:pt>
                <c:pt idx="27">
                  <c:v>0.99567761375010122</c:v>
                </c:pt>
                <c:pt idx="28">
                  <c:v>0.99726388246454412</c:v>
                </c:pt>
                <c:pt idx="29">
                  <c:v>0.99847122372660768</c:v>
                </c:pt>
                <c:pt idx="30">
                  <c:v>0.99896774935386323</c:v>
                </c:pt>
                <c:pt idx="31">
                  <c:v>0.99938064961231787</c:v>
                </c:pt>
                <c:pt idx="32">
                  <c:v>0.99966549852479614</c:v>
                </c:pt>
                <c:pt idx="33">
                  <c:v>0.99984842901904825</c:v>
                </c:pt>
                <c:pt idx="3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c:f>
              <c:strCache>
                <c:ptCount val="34"/>
                <c:pt idx="0">
                  <c:v>Ruinart</c:v>
                </c:pt>
                <c:pt idx="1">
                  <c:v>Ruinart</c:v>
                </c:pt>
                <c:pt idx="2">
                  <c:v>Malard</c:v>
                </c:pt>
                <c:pt idx="3">
                  <c:v>Besserat De</c:v>
                </c:pt>
                <c:pt idx="4">
                  <c:v>Ruinart</c:v>
                </c:pt>
                <c:pt idx="5">
                  <c:v>Nicolas</c:v>
                </c:pt>
                <c:pt idx="6">
                  <c:v>De Venoge</c:v>
                </c:pt>
                <c:pt idx="7">
                  <c:v>Ruinart</c:v>
                </c:pt>
                <c:pt idx="8">
                  <c:v>Delamotte</c:v>
                </c:pt>
                <c:pt idx="9">
                  <c:v>De Bligny</c:v>
                </c:pt>
                <c:pt idx="10">
                  <c:v>Ayala</c:v>
                </c:pt>
                <c:pt idx="11">
                  <c:v>Deutz</c:v>
                </c:pt>
                <c:pt idx="12">
                  <c:v>Henriot</c:v>
                </c:pt>
                <c:pt idx="13">
                  <c:v>Henriot</c:v>
                </c:pt>
                <c:pt idx="14">
                  <c:v>Deutz</c:v>
                </c:pt>
                <c:pt idx="15">
                  <c:v>Nicolas</c:v>
                </c:pt>
                <c:pt idx="16">
                  <c:v>Nicolas</c:v>
                </c:pt>
                <c:pt idx="17">
                  <c:v>All Others</c:v>
                </c:pt>
                <c:pt idx="18">
                  <c:v>Ruinart</c:v>
                </c:pt>
                <c:pt idx="19">
                  <c:v>Nicolas</c:v>
                </c:pt>
                <c:pt idx="20">
                  <c:v>Laurent Per</c:v>
                </c:pt>
                <c:pt idx="21">
                  <c:v>Lanson</c:v>
                </c:pt>
                <c:pt idx="22">
                  <c:v>Besserat De</c:v>
                </c:pt>
                <c:pt idx="23">
                  <c:v>Delamotte</c:v>
                </c:pt>
                <c:pt idx="24">
                  <c:v>Taittinger</c:v>
                </c:pt>
                <c:pt idx="25">
                  <c:v>Taittinger</c:v>
                </c:pt>
                <c:pt idx="26">
                  <c:v>Ruinart</c:v>
                </c:pt>
                <c:pt idx="27">
                  <c:v>Vesselle</c:v>
                </c:pt>
                <c:pt idx="28">
                  <c:v>Taittinger</c:v>
                </c:pt>
                <c:pt idx="29">
                  <c:v>De Venoge</c:v>
                </c:pt>
                <c:pt idx="30">
                  <c:v>Perrier Jou</c:v>
                </c:pt>
                <c:pt idx="31">
                  <c:v>Nicolas</c:v>
                </c:pt>
                <c:pt idx="32">
                  <c:v>Ayala</c:v>
                </c:pt>
                <c:pt idx="33">
                  <c:v>All Others</c:v>
                </c:pt>
              </c:strCache>
            </c:strRef>
          </c:cat>
          <c:val>
            <c:numRef>
              <c:f>Sheet1!$B$2:$B$35</c:f>
              <c:numCache>
                <c:formatCode>General</c:formatCode>
                <c:ptCount val="34"/>
                <c:pt idx="0">
                  <c:v>0.97</c:v>
                </c:pt>
                <c:pt idx="1">
                  <c:v>0.73</c:v>
                </c:pt>
                <c:pt idx="2">
                  <c:v>0.73</c:v>
                </c:pt>
                <c:pt idx="3">
                  <c:v>0.56999999999999995</c:v>
                </c:pt>
                <c:pt idx="4">
                  <c:v>0.42</c:v>
                </c:pt>
                <c:pt idx="5">
                  <c:v>0.67</c:v>
                </c:pt>
                <c:pt idx="6">
                  <c:v>0.62</c:v>
                </c:pt>
                <c:pt idx="7">
                  <c:v>0.38</c:v>
                </c:pt>
                <c:pt idx="8">
                  <c:v>0.32</c:v>
                </c:pt>
                <c:pt idx="9">
                  <c:v>0.67</c:v>
                </c:pt>
                <c:pt idx="10">
                  <c:v>0.62</c:v>
                </c:pt>
                <c:pt idx="11">
                  <c:v>0.23</c:v>
                </c:pt>
                <c:pt idx="12">
                  <c:v>0.47</c:v>
                </c:pt>
                <c:pt idx="13">
                  <c:v>0.37</c:v>
                </c:pt>
                <c:pt idx="14">
                  <c:v>0.28000000000000003</c:v>
                </c:pt>
                <c:pt idx="15">
                  <c:v>0.38</c:v>
                </c:pt>
                <c:pt idx="16">
                  <c:v>0.22</c:v>
                </c:pt>
                <c:pt idx="17">
                  <c:v>0.26</c:v>
                </c:pt>
                <c:pt idx="18">
                  <c:v>0.14000000000000001</c:v>
                </c:pt>
                <c:pt idx="19">
                  <c:v>0.15</c:v>
                </c:pt>
                <c:pt idx="20">
                  <c:v>0.12</c:v>
                </c:pt>
                <c:pt idx="21">
                  <c:v>7.0000000000000007E-2</c:v>
                </c:pt>
                <c:pt idx="22">
                  <c:v>0.23</c:v>
                </c:pt>
                <c:pt idx="23">
                  <c:v>0.2</c:v>
                </c:pt>
                <c:pt idx="24">
                  <c:v>0.09</c:v>
                </c:pt>
                <c:pt idx="25">
                  <c:v>0.19</c:v>
                </c:pt>
                <c:pt idx="26">
                  <c:v>0.12</c:v>
                </c:pt>
                <c:pt idx="27">
                  <c:v>0.08</c:v>
                </c:pt>
                <c:pt idx="28">
                  <c:v>0.11</c:v>
                </c:pt>
                <c:pt idx="29">
                  <c:v>0.05</c:v>
                </c:pt>
                <c:pt idx="30">
                  <c:v>0.08</c:v>
                </c:pt>
                <c:pt idx="31">
                  <c:v>0.03</c:v>
                </c:pt>
                <c:pt idx="32">
                  <c:v>0.02</c:v>
                </c:pt>
                <c:pt idx="33">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5</c:f>
              <c:strCache>
                <c:ptCount val="34"/>
                <c:pt idx="0">
                  <c:v>Ruinart</c:v>
                </c:pt>
                <c:pt idx="1">
                  <c:v>Ruinart</c:v>
                </c:pt>
                <c:pt idx="2">
                  <c:v>Malard</c:v>
                </c:pt>
                <c:pt idx="3">
                  <c:v>Besserat De</c:v>
                </c:pt>
                <c:pt idx="4">
                  <c:v>Ruinart</c:v>
                </c:pt>
                <c:pt idx="5">
                  <c:v>Nicolas</c:v>
                </c:pt>
                <c:pt idx="6">
                  <c:v>De Venoge</c:v>
                </c:pt>
                <c:pt idx="7">
                  <c:v>Ruinart</c:v>
                </c:pt>
                <c:pt idx="8">
                  <c:v>Delamotte</c:v>
                </c:pt>
                <c:pt idx="9">
                  <c:v>De Bligny</c:v>
                </c:pt>
                <c:pt idx="10">
                  <c:v>Ayala</c:v>
                </c:pt>
                <c:pt idx="11">
                  <c:v>Deutz</c:v>
                </c:pt>
                <c:pt idx="12">
                  <c:v>Henriot</c:v>
                </c:pt>
                <c:pt idx="13">
                  <c:v>Henriot</c:v>
                </c:pt>
                <c:pt idx="14">
                  <c:v>Deutz</c:v>
                </c:pt>
                <c:pt idx="15">
                  <c:v>Nicolas</c:v>
                </c:pt>
                <c:pt idx="16">
                  <c:v>Nicolas</c:v>
                </c:pt>
                <c:pt idx="17">
                  <c:v>All Others</c:v>
                </c:pt>
                <c:pt idx="18">
                  <c:v>Ruinart</c:v>
                </c:pt>
                <c:pt idx="19">
                  <c:v>Nicolas</c:v>
                </c:pt>
                <c:pt idx="20">
                  <c:v>Laurent Per</c:v>
                </c:pt>
                <c:pt idx="21">
                  <c:v>Lanson</c:v>
                </c:pt>
                <c:pt idx="22">
                  <c:v>Besserat De</c:v>
                </c:pt>
                <c:pt idx="23">
                  <c:v>Delamotte</c:v>
                </c:pt>
                <c:pt idx="24">
                  <c:v>Taittinger</c:v>
                </c:pt>
                <c:pt idx="25">
                  <c:v>Taittinger</c:v>
                </c:pt>
                <c:pt idx="26">
                  <c:v>Ruinart</c:v>
                </c:pt>
                <c:pt idx="27">
                  <c:v>Vesselle</c:v>
                </c:pt>
                <c:pt idx="28">
                  <c:v>Taittinger</c:v>
                </c:pt>
                <c:pt idx="29">
                  <c:v>De Venoge</c:v>
                </c:pt>
                <c:pt idx="30">
                  <c:v>Perrier Jou</c:v>
                </c:pt>
                <c:pt idx="31">
                  <c:v>Nicolas</c:v>
                </c:pt>
                <c:pt idx="32">
                  <c:v>Ayala</c:v>
                </c:pt>
                <c:pt idx="33">
                  <c:v>All Others</c:v>
                </c:pt>
              </c:strCache>
            </c:strRef>
          </c:cat>
          <c:val>
            <c:numRef>
              <c:f>Sheet1!$C$2:$C$35</c:f>
              <c:numCache>
                <c:formatCode>General</c:formatCode>
                <c:ptCount val="34"/>
                <c:pt idx="0">
                  <c:v>0.39883099596828642</c:v>
                </c:pt>
                <c:pt idx="1">
                  <c:v>0.52522875312666784</c:v>
                </c:pt>
                <c:pt idx="2">
                  <c:v>0.608660146479163</c:v>
                </c:pt>
                <c:pt idx="3">
                  <c:v>0.67437000456541729</c:v>
                </c:pt>
                <c:pt idx="4">
                  <c:v>0.73863950564890013</c:v>
                </c:pt>
                <c:pt idx="5">
                  <c:v>0.78955355363079283</c:v>
                </c:pt>
                <c:pt idx="6">
                  <c:v>0.82100992174488963</c:v>
                </c:pt>
                <c:pt idx="7">
                  <c:v>0.84801661554685337</c:v>
                </c:pt>
                <c:pt idx="8">
                  <c:v>0.87019425529041838</c:v>
                </c:pt>
                <c:pt idx="9">
                  <c:v>0.89204395660924529</c:v>
                </c:pt>
                <c:pt idx="10">
                  <c:v>0.9125947645595015</c:v>
                </c:pt>
                <c:pt idx="11">
                  <c:v>0.92740986515943591</c:v>
                </c:pt>
                <c:pt idx="12">
                  <c:v>0.94038593851476038</c:v>
                </c:pt>
                <c:pt idx="13">
                  <c:v>0.95184449288502215</c:v>
                </c:pt>
                <c:pt idx="14">
                  <c:v>0.96038375225859551</c:v>
                </c:pt>
                <c:pt idx="15">
                  <c:v>0.96714828603946834</c:v>
                </c:pt>
                <c:pt idx="16">
                  <c:v>0.97204164174977659</c:v>
                </c:pt>
                <c:pt idx="17">
                  <c:v>0.97571969623899646</c:v>
                </c:pt>
                <c:pt idx="18">
                  <c:v>0.9792948680851612</c:v>
                </c:pt>
                <c:pt idx="19">
                  <c:v>0.98259997299330626</c:v>
                </c:pt>
                <c:pt idx="20">
                  <c:v>0.98481837998418187</c:v>
                </c:pt>
                <c:pt idx="21">
                  <c:v>0.98694033449719332</c:v>
                </c:pt>
                <c:pt idx="22">
                  <c:v>0.98901727785386817</c:v>
                </c:pt>
                <c:pt idx="23">
                  <c:v>0.99078557328137773</c:v>
                </c:pt>
                <c:pt idx="24">
                  <c:v>0.99227094144048578</c:v>
                </c:pt>
                <c:pt idx="25">
                  <c:v>0.99375630959959382</c:v>
                </c:pt>
                <c:pt idx="26">
                  <c:v>0.99513879511564673</c:v>
                </c:pt>
                <c:pt idx="27">
                  <c:v>0.99634123600635327</c:v>
                </c:pt>
                <c:pt idx="28">
                  <c:v>0.99752438640148688</c:v>
                </c:pt>
                <c:pt idx="29">
                  <c:v>0.99836030787630958</c:v>
                </c:pt>
                <c:pt idx="30">
                  <c:v>0.99887472109158504</c:v>
                </c:pt>
                <c:pt idx="31">
                  <c:v>0.99937627397647866</c:v>
                </c:pt>
                <c:pt idx="32">
                  <c:v>0.99981352520946287</c:v>
                </c:pt>
                <c:pt idx="33">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Ruinart</c:v>
                </c:pt>
                <c:pt idx="1">
                  <c:v>Ruinart</c:v>
                </c:pt>
                <c:pt idx="2">
                  <c:v>Ruinart</c:v>
                </c:pt>
                <c:pt idx="3">
                  <c:v>Malard</c:v>
                </c:pt>
                <c:pt idx="4">
                  <c:v>Nicolas</c:v>
                </c:pt>
                <c:pt idx="5">
                  <c:v>Besserat De</c:v>
                </c:pt>
                <c:pt idx="6">
                  <c:v>Ayala</c:v>
                </c:pt>
                <c:pt idx="7">
                  <c:v>De Bligny</c:v>
                </c:pt>
                <c:pt idx="8">
                  <c:v>Ruinart</c:v>
                </c:pt>
                <c:pt idx="9">
                  <c:v>De Venoge</c:v>
                </c:pt>
                <c:pt idx="10">
                  <c:v>Henriot</c:v>
                </c:pt>
                <c:pt idx="11">
                  <c:v>Perrier Jou</c:v>
                </c:pt>
                <c:pt idx="12">
                  <c:v>Delamotte</c:v>
                </c:pt>
                <c:pt idx="13">
                  <c:v>Nicolas</c:v>
                </c:pt>
                <c:pt idx="14">
                  <c:v>Laurent Per</c:v>
                </c:pt>
                <c:pt idx="15">
                  <c:v>Deutz</c:v>
                </c:pt>
                <c:pt idx="16">
                  <c:v>Taittinger</c:v>
                </c:pt>
                <c:pt idx="17">
                  <c:v>Nicolas</c:v>
                </c:pt>
                <c:pt idx="18">
                  <c:v>Delamotte</c:v>
                </c:pt>
                <c:pt idx="19">
                  <c:v>Ruinart</c:v>
                </c:pt>
                <c:pt idx="20">
                  <c:v>Lanson</c:v>
                </c:pt>
                <c:pt idx="21">
                  <c:v>Henriot</c:v>
                </c:pt>
                <c:pt idx="22">
                  <c:v>Deutz</c:v>
                </c:pt>
                <c:pt idx="23">
                  <c:v>All Others</c:v>
                </c:pt>
                <c:pt idx="24">
                  <c:v>Nicolas</c:v>
                </c:pt>
                <c:pt idx="25">
                  <c:v>Besserat De</c:v>
                </c:pt>
                <c:pt idx="26">
                  <c:v>Ayala</c:v>
                </c:pt>
                <c:pt idx="27">
                  <c:v>All Others</c:v>
                </c:pt>
                <c:pt idx="28">
                  <c:v>Vesselle</c:v>
                </c:pt>
                <c:pt idx="29">
                  <c:v>Taittinger</c:v>
                </c:pt>
                <c:pt idx="30">
                  <c:v>Taittinger</c:v>
                </c:pt>
                <c:pt idx="31">
                  <c:v>All Others</c:v>
                </c:pt>
                <c:pt idx="32">
                  <c:v>Ayala</c:v>
                </c:pt>
              </c:strCache>
            </c:strRef>
          </c:cat>
          <c:val>
            <c:numRef>
              <c:f>Sheet1!$B$2:$B$34</c:f>
              <c:numCache>
                <c:formatCode>General</c:formatCode>
                <c:ptCount val="33"/>
                <c:pt idx="0">
                  <c:v>0.94</c:v>
                </c:pt>
                <c:pt idx="1">
                  <c:v>0.87</c:v>
                </c:pt>
                <c:pt idx="2">
                  <c:v>0.7</c:v>
                </c:pt>
                <c:pt idx="3">
                  <c:v>0.85</c:v>
                </c:pt>
                <c:pt idx="4">
                  <c:v>0.87</c:v>
                </c:pt>
                <c:pt idx="5">
                  <c:v>0.65</c:v>
                </c:pt>
                <c:pt idx="6">
                  <c:v>0.62</c:v>
                </c:pt>
                <c:pt idx="7">
                  <c:v>0.8</c:v>
                </c:pt>
                <c:pt idx="8">
                  <c:v>0.62</c:v>
                </c:pt>
                <c:pt idx="9">
                  <c:v>0.51</c:v>
                </c:pt>
                <c:pt idx="10">
                  <c:v>0.67</c:v>
                </c:pt>
                <c:pt idx="11">
                  <c:v>0.56999999999999995</c:v>
                </c:pt>
                <c:pt idx="12">
                  <c:v>0.56000000000000005</c:v>
                </c:pt>
                <c:pt idx="13">
                  <c:v>0.63</c:v>
                </c:pt>
                <c:pt idx="14">
                  <c:v>0.48</c:v>
                </c:pt>
                <c:pt idx="15">
                  <c:v>0.47</c:v>
                </c:pt>
                <c:pt idx="16">
                  <c:v>0.23</c:v>
                </c:pt>
                <c:pt idx="17">
                  <c:v>0.47</c:v>
                </c:pt>
                <c:pt idx="18">
                  <c:v>0.49</c:v>
                </c:pt>
                <c:pt idx="19">
                  <c:v>0.62</c:v>
                </c:pt>
                <c:pt idx="20">
                  <c:v>0.62</c:v>
                </c:pt>
                <c:pt idx="21">
                  <c:v>0.25</c:v>
                </c:pt>
                <c:pt idx="22">
                  <c:v>0.36</c:v>
                </c:pt>
                <c:pt idx="23">
                  <c:v>0.48</c:v>
                </c:pt>
                <c:pt idx="24">
                  <c:v>0.34</c:v>
                </c:pt>
                <c:pt idx="25">
                  <c:v>0.35</c:v>
                </c:pt>
                <c:pt idx="26">
                  <c:v>0.36</c:v>
                </c:pt>
                <c:pt idx="27">
                  <c:v>0.34</c:v>
                </c:pt>
                <c:pt idx="28">
                  <c:v>0.36</c:v>
                </c:pt>
                <c:pt idx="29">
                  <c:v>0.12</c:v>
                </c:pt>
                <c:pt idx="30">
                  <c:v>0.14000000000000001</c:v>
                </c:pt>
                <c:pt idx="31">
                  <c:v>0.47</c:v>
                </c:pt>
                <c:pt idx="32">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Ruinart</c:v>
                </c:pt>
                <c:pt idx="1">
                  <c:v>Ruinart</c:v>
                </c:pt>
                <c:pt idx="2">
                  <c:v>Ruinart</c:v>
                </c:pt>
                <c:pt idx="3">
                  <c:v>Malard</c:v>
                </c:pt>
                <c:pt idx="4">
                  <c:v>Nicolas</c:v>
                </c:pt>
                <c:pt idx="5">
                  <c:v>Besserat De</c:v>
                </c:pt>
                <c:pt idx="6">
                  <c:v>Ayala</c:v>
                </c:pt>
                <c:pt idx="7">
                  <c:v>De Bligny</c:v>
                </c:pt>
                <c:pt idx="8">
                  <c:v>Ruinart</c:v>
                </c:pt>
                <c:pt idx="9">
                  <c:v>De Venoge</c:v>
                </c:pt>
                <c:pt idx="10">
                  <c:v>Henriot</c:v>
                </c:pt>
                <c:pt idx="11">
                  <c:v>Perrier Jou</c:v>
                </c:pt>
                <c:pt idx="12">
                  <c:v>Delamotte</c:v>
                </c:pt>
                <c:pt idx="13">
                  <c:v>Nicolas</c:v>
                </c:pt>
                <c:pt idx="14">
                  <c:v>Laurent Per</c:v>
                </c:pt>
                <c:pt idx="15">
                  <c:v>Deutz</c:v>
                </c:pt>
                <c:pt idx="16">
                  <c:v>Taittinger</c:v>
                </c:pt>
                <c:pt idx="17">
                  <c:v>Nicolas</c:v>
                </c:pt>
                <c:pt idx="18">
                  <c:v>Delamotte</c:v>
                </c:pt>
                <c:pt idx="19">
                  <c:v>Ruinart</c:v>
                </c:pt>
                <c:pt idx="20">
                  <c:v>Lanson</c:v>
                </c:pt>
                <c:pt idx="21">
                  <c:v>Henriot</c:v>
                </c:pt>
                <c:pt idx="22">
                  <c:v>Deutz</c:v>
                </c:pt>
                <c:pt idx="23">
                  <c:v>All Others</c:v>
                </c:pt>
                <c:pt idx="24">
                  <c:v>Nicolas</c:v>
                </c:pt>
                <c:pt idx="25">
                  <c:v>Besserat De</c:v>
                </c:pt>
                <c:pt idx="26">
                  <c:v>Ayala</c:v>
                </c:pt>
                <c:pt idx="27">
                  <c:v>All Others</c:v>
                </c:pt>
                <c:pt idx="28">
                  <c:v>Vesselle</c:v>
                </c:pt>
                <c:pt idx="29">
                  <c:v>Taittinger</c:v>
                </c:pt>
                <c:pt idx="30">
                  <c:v>Taittinger</c:v>
                </c:pt>
                <c:pt idx="31">
                  <c:v>All Others</c:v>
                </c:pt>
                <c:pt idx="32">
                  <c:v>Ayala</c:v>
                </c:pt>
              </c:strCache>
            </c:strRef>
          </c:cat>
          <c:val>
            <c:numRef>
              <c:f>Sheet1!$C$2:$C$34</c:f>
              <c:numCache>
                <c:formatCode>General</c:formatCode>
                <c:ptCount val="33"/>
                <c:pt idx="0">
                  <c:v>0.336267157943901</c:v>
                </c:pt>
                <c:pt idx="1">
                  <c:v>0.55826046342665869</c:v>
                </c:pt>
                <c:pt idx="2">
                  <c:v>0.65964347803523704</c:v>
                </c:pt>
                <c:pt idx="3">
                  <c:v>0.70346402345675807</c:v>
                </c:pt>
                <c:pt idx="4">
                  <c:v>0.74508420042035339</c:v>
                </c:pt>
                <c:pt idx="5">
                  <c:v>0.7737253172111368</c:v>
                </c:pt>
                <c:pt idx="6">
                  <c:v>0.80192532240068504</c:v>
                </c:pt>
                <c:pt idx="7">
                  <c:v>0.83005267391473569</c:v>
                </c:pt>
                <c:pt idx="8">
                  <c:v>0.85272062066997067</c:v>
                </c:pt>
                <c:pt idx="9">
                  <c:v>0.86708529022548586</c:v>
                </c:pt>
                <c:pt idx="10">
                  <c:v>0.88102441682451538</c:v>
                </c:pt>
                <c:pt idx="11">
                  <c:v>0.89429409169931751</c:v>
                </c:pt>
                <c:pt idx="12">
                  <c:v>0.90612107216066839</c:v>
                </c:pt>
                <c:pt idx="13">
                  <c:v>0.91771452295077716</c:v>
                </c:pt>
                <c:pt idx="14">
                  <c:v>0.92745530501569839</c:v>
                </c:pt>
                <c:pt idx="15">
                  <c:v>0.93637613845714729</c:v>
                </c:pt>
                <c:pt idx="16">
                  <c:v>0.94476763797711405</c:v>
                </c:pt>
                <c:pt idx="17">
                  <c:v>0.95261423493084918</c:v>
                </c:pt>
                <c:pt idx="18">
                  <c:v>0.95973429512960884</c:v>
                </c:pt>
                <c:pt idx="19">
                  <c:v>0.96657930927112778</c:v>
                </c:pt>
                <c:pt idx="20">
                  <c:v>0.97204909312644316</c:v>
                </c:pt>
                <c:pt idx="21">
                  <c:v>0.97713485041127157</c:v>
                </c:pt>
                <c:pt idx="22">
                  <c:v>0.98107890708113843</c:v>
                </c:pt>
                <c:pt idx="23">
                  <c:v>0.98490360414125933</c:v>
                </c:pt>
                <c:pt idx="24">
                  <c:v>0.98858818339863497</c:v>
                </c:pt>
                <c:pt idx="25">
                  <c:v>0.99118814707179725</c:v>
                </c:pt>
                <c:pt idx="26">
                  <c:v>0.99365318249046408</c:v>
                </c:pt>
                <c:pt idx="27">
                  <c:v>0.99568748540439544</c:v>
                </c:pt>
                <c:pt idx="28">
                  <c:v>0.99714055891434639</c:v>
                </c:pt>
                <c:pt idx="29">
                  <c:v>0.99833934456005591</c:v>
                </c:pt>
                <c:pt idx="30">
                  <c:v>0.99929422143802371</c:v>
                </c:pt>
                <c:pt idx="31">
                  <c:v>0.99973533303925888</c:v>
                </c:pt>
                <c:pt idx="3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Ruinart</c:v>
                </c:pt>
                <c:pt idx="1">
                  <c:v>Ruinart</c:v>
                </c:pt>
                <c:pt idx="2">
                  <c:v>Ruinart</c:v>
                </c:pt>
                <c:pt idx="3">
                  <c:v>Nicolas</c:v>
                </c:pt>
                <c:pt idx="4">
                  <c:v>De Bligny</c:v>
                </c:pt>
                <c:pt idx="5">
                  <c:v>Malard</c:v>
                </c:pt>
                <c:pt idx="6">
                  <c:v>Besserat De</c:v>
                </c:pt>
                <c:pt idx="7">
                  <c:v>Ayala</c:v>
                </c:pt>
                <c:pt idx="8">
                  <c:v>Henriot</c:v>
                </c:pt>
                <c:pt idx="9">
                  <c:v>Ruinart</c:v>
                </c:pt>
                <c:pt idx="10">
                  <c:v>De Venoge</c:v>
                </c:pt>
                <c:pt idx="11">
                  <c:v>Henriot</c:v>
                </c:pt>
                <c:pt idx="12">
                  <c:v>Delamotte</c:v>
                </c:pt>
                <c:pt idx="13">
                  <c:v>Nicolas</c:v>
                </c:pt>
                <c:pt idx="14">
                  <c:v>Nicolas</c:v>
                </c:pt>
                <c:pt idx="15">
                  <c:v>Perrier Jou</c:v>
                </c:pt>
                <c:pt idx="16">
                  <c:v>Ruinart</c:v>
                </c:pt>
                <c:pt idx="17">
                  <c:v>Delamotte</c:v>
                </c:pt>
                <c:pt idx="18">
                  <c:v>Vesselle</c:v>
                </c:pt>
                <c:pt idx="19">
                  <c:v>Deutz</c:v>
                </c:pt>
                <c:pt idx="20">
                  <c:v>Deutz</c:v>
                </c:pt>
                <c:pt idx="21">
                  <c:v>Ayala</c:v>
                </c:pt>
                <c:pt idx="22">
                  <c:v>Nicolas</c:v>
                </c:pt>
                <c:pt idx="23">
                  <c:v>All Others</c:v>
                </c:pt>
                <c:pt idx="24">
                  <c:v>Lanson</c:v>
                </c:pt>
                <c:pt idx="25">
                  <c:v>Taittinger</c:v>
                </c:pt>
                <c:pt idx="26">
                  <c:v>Laurent Per</c:v>
                </c:pt>
                <c:pt idx="27">
                  <c:v>De Venoge</c:v>
                </c:pt>
                <c:pt idx="28">
                  <c:v>Besserat De</c:v>
                </c:pt>
                <c:pt idx="29">
                  <c:v>Nicolas</c:v>
                </c:pt>
                <c:pt idx="30">
                  <c:v>Taittinger</c:v>
                </c:pt>
                <c:pt idx="31">
                  <c:v>Taittinger</c:v>
                </c:pt>
                <c:pt idx="32">
                  <c:v>Besserat De</c:v>
                </c:pt>
              </c:strCache>
            </c:strRef>
          </c:cat>
          <c:val>
            <c:numRef>
              <c:f>Sheet1!$B$2:$B$34</c:f>
              <c:numCache>
                <c:formatCode>General</c:formatCode>
                <c:ptCount val="33"/>
                <c:pt idx="0">
                  <c:v>0.98</c:v>
                </c:pt>
                <c:pt idx="1">
                  <c:v>0.7</c:v>
                </c:pt>
                <c:pt idx="2">
                  <c:v>0.41</c:v>
                </c:pt>
                <c:pt idx="3">
                  <c:v>0.55000000000000004</c:v>
                </c:pt>
                <c:pt idx="4">
                  <c:v>0.55000000000000004</c:v>
                </c:pt>
                <c:pt idx="5">
                  <c:v>0.69</c:v>
                </c:pt>
                <c:pt idx="6">
                  <c:v>0.46</c:v>
                </c:pt>
                <c:pt idx="7">
                  <c:v>0.67</c:v>
                </c:pt>
                <c:pt idx="8">
                  <c:v>0.47</c:v>
                </c:pt>
                <c:pt idx="9">
                  <c:v>0.44</c:v>
                </c:pt>
                <c:pt idx="10">
                  <c:v>0.34</c:v>
                </c:pt>
                <c:pt idx="11">
                  <c:v>0.22</c:v>
                </c:pt>
                <c:pt idx="12">
                  <c:v>0.24</c:v>
                </c:pt>
                <c:pt idx="13">
                  <c:v>0.4</c:v>
                </c:pt>
                <c:pt idx="14">
                  <c:v>0.35</c:v>
                </c:pt>
                <c:pt idx="15">
                  <c:v>0.22</c:v>
                </c:pt>
                <c:pt idx="16">
                  <c:v>0.16</c:v>
                </c:pt>
                <c:pt idx="17">
                  <c:v>0.11</c:v>
                </c:pt>
                <c:pt idx="18">
                  <c:v>0.28000000000000003</c:v>
                </c:pt>
                <c:pt idx="19">
                  <c:v>0.27</c:v>
                </c:pt>
                <c:pt idx="20">
                  <c:v>0.18</c:v>
                </c:pt>
                <c:pt idx="21">
                  <c:v>0.1</c:v>
                </c:pt>
                <c:pt idx="22">
                  <c:v>0.11</c:v>
                </c:pt>
                <c:pt idx="23">
                  <c:v>0.13</c:v>
                </c:pt>
                <c:pt idx="24">
                  <c:v>0.24</c:v>
                </c:pt>
                <c:pt idx="25">
                  <c:v>0.16</c:v>
                </c:pt>
                <c:pt idx="26">
                  <c:v>0.14000000000000001</c:v>
                </c:pt>
                <c:pt idx="27">
                  <c:v>0.06</c:v>
                </c:pt>
                <c:pt idx="28">
                  <c:v>0.15</c:v>
                </c:pt>
                <c:pt idx="29">
                  <c:v>0.13</c:v>
                </c:pt>
                <c:pt idx="30">
                  <c:v>0.11</c:v>
                </c:pt>
                <c:pt idx="31">
                  <c:v>0.05</c:v>
                </c:pt>
                <c:pt idx="32">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Ruinart</c:v>
                </c:pt>
                <c:pt idx="1">
                  <c:v>Ruinart</c:v>
                </c:pt>
                <c:pt idx="2">
                  <c:v>Ruinart</c:v>
                </c:pt>
                <c:pt idx="3">
                  <c:v>Nicolas</c:v>
                </c:pt>
                <c:pt idx="4">
                  <c:v>De Bligny</c:v>
                </c:pt>
                <c:pt idx="5">
                  <c:v>Malard</c:v>
                </c:pt>
                <c:pt idx="6">
                  <c:v>Besserat De</c:v>
                </c:pt>
                <c:pt idx="7">
                  <c:v>Ayala</c:v>
                </c:pt>
                <c:pt idx="8">
                  <c:v>Henriot</c:v>
                </c:pt>
                <c:pt idx="9">
                  <c:v>Ruinart</c:v>
                </c:pt>
                <c:pt idx="10">
                  <c:v>De Venoge</c:v>
                </c:pt>
                <c:pt idx="11">
                  <c:v>Henriot</c:v>
                </c:pt>
                <c:pt idx="12">
                  <c:v>Delamotte</c:v>
                </c:pt>
                <c:pt idx="13">
                  <c:v>Nicolas</c:v>
                </c:pt>
                <c:pt idx="14">
                  <c:v>Nicolas</c:v>
                </c:pt>
                <c:pt idx="15">
                  <c:v>Perrier Jou</c:v>
                </c:pt>
                <c:pt idx="16">
                  <c:v>Ruinart</c:v>
                </c:pt>
                <c:pt idx="17">
                  <c:v>Delamotte</c:v>
                </c:pt>
                <c:pt idx="18">
                  <c:v>Vesselle</c:v>
                </c:pt>
                <c:pt idx="19">
                  <c:v>Deutz</c:v>
                </c:pt>
                <c:pt idx="20">
                  <c:v>Deutz</c:v>
                </c:pt>
                <c:pt idx="21">
                  <c:v>Ayala</c:v>
                </c:pt>
                <c:pt idx="22">
                  <c:v>Nicolas</c:v>
                </c:pt>
                <c:pt idx="23">
                  <c:v>All Others</c:v>
                </c:pt>
                <c:pt idx="24">
                  <c:v>Lanson</c:v>
                </c:pt>
                <c:pt idx="25">
                  <c:v>Taittinger</c:v>
                </c:pt>
                <c:pt idx="26">
                  <c:v>Laurent Per</c:v>
                </c:pt>
                <c:pt idx="27">
                  <c:v>De Venoge</c:v>
                </c:pt>
                <c:pt idx="28">
                  <c:v>Besserat De</c:v>
                </c:pt>
                <c:pt idx="29">
                  <c:v>Nicolas</c:v>
                </c:pt>
                <c:pt idx="30">
                  <c:v>Taittinger</c:v>
                </c:pt>
                <c:pt idx="31">
                  <c:v>Taittinger</c:v>
                </c:pt>
                <c:pt idx="32">
                  <c:v>Besserat De</c:v>
                </c:pt>
              </c:strCache>
            </c:strRef>
          </c:cat>
          <c:val>
            <c:numRef>
              <c:f>Sheet1!$C$2:$C$34</c:f>
              <c:numCache>
                <c:formatCode>General</c:formatCode>
                <c:ptCount val="33"/>
                <c:pt idx="0">
                  <c:v>0.35401803149736238</c:v>
                </c:pt>
                <c:pt idx="1">
                  <c:v>0.53229772323466795</c:v>
                </c:pt>
                <c:pt idx="2">
                  <c:v>0.58826247435269785</c:v>
                </c:pt>
                <c:pt idx="3">
                  <c:v>0.63943606189457236</c:v>
                </c:pt>
                <c:pt idx="4">
                  <c:v>0.68807379822105363</c:v>
                </c:pt>
                <c:pt idx="5">
                  <c:v>0.73600743703002869</c:v>
                </c:pt>
                <c:pt idx="6">
                  <c:v>0.78208181833183898</c:v>
                </c:pt>
                <c:pt idx="7">
                  <c:v>0.81175292778049757</c:v>
                </c:pt>
                <c:pt idx="8">
                  <c:v>0.83659986908186779</c:v>
                </c:pt>
                <c:pt idx="9">
                  <c:v>0.85786581441529641</c:v>
                </c:pt>
                <c:pt idx="10">
                  <c:v>0.87419757636432638</c:v>
                </c:pt>
                <c:pt idx="11">
                  <c:v>0.88746541395983336</c:v>
                </c:pt>
                <c:pt idx="12">
                  <c:v>0.89971010985021416</c:v>
                </c:pt>
                <c:pt idx="13">
                  <c:v>0.91152574631586469</c:v>
                </c:pt>
                <c:pt idx="14">
                  <c:v>0.92060200337746778</c:v>
                </c:pt>
                <c:pt idx="15">
                  <c:v>0.9289191553030095</c:v>
                </c:pt>
                <c:pt idx="16">
                  <c:v>0.93664222494815541</c:v>
                </c:pt>
                <c:pt idx="17">
                  <c:v>0.94389772983558229</c:v>
                </c:pt>
                <c:pt idx="18">
                  <c:v>0.95085619358281126</c:v>
                </c:pt>
                <c:pt idx="19">
                  <c:v>0.95720957352593339</c:v>
                </c:pt>
                <c:pt idx="20">
                  <c:v>0.96347494127936728</c:v>
                </c:pt>
                <c:pt idx="21">
                  <c:v>0.96939376103590358</c:v>
                </c:pt>
                <c:pt idx="22">
                  <c:v>0.974696495464622</c:v>
                </c:pt>
                <c:pt idx="23">
                  <c:v>0.97980670322839725</c:v>
                </c:pt>
                <c:pt idx="24">
                  <c:v>0.98487840565918394</c:v>
                </c:pt>
                <c:pt idx="25">
                  <c:v>0.98993910656625961</c:v>
                </c:pt>
                <c:pt idx="26">
                  <c:v>0.99317905529915906</c:v>
                </c:pt>
                <c:pt idx="27">
                  <c:v>0.99461475414344902</c:v>
                </c:pt>
                <c:pt idx="28">
                  <c:v>0.99598994460732826</c:v>
                </c:pt>
                <c:pt idx="29">
                  <c:v>0.99726612135780823</c:v>
                </c:pt>
                <c:pt idx="30">
                  <c:v>0.99853679734643264</c:v>
                </c:pt>
                <c:pt idx="31">
                  <c:v>0.99980747333505704</c:v>
                </c:pt>
                <c:pt idx="3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Ruinart</c:v>
                </c:pt>
                <c:pt idx="1">
                  <c:v>Ruinart</c:v>
                </c:pt>
                <c:pt idx="2">
                  <c:v>Nicolas</c:v>
                </c:pt>
                <c:pt idx="3">
                  <c:v>Ruinart</c:v>
                </c:pt>
                <c:pt idx="4">
                  <c:v>Malard</c:v>
                </c:pt>
                <c:pt idx="5">
                  <c:v>De Venoge</c:v>
                </c:pt>
                <c:pt idx="6">
                  <c:v>Besserat De</c:v>
                </c:pt>
                <c:pt idx="7">
                  <c:v>Ayala</c:v>
                </c:pt>
                <c:pt idx="8">
                  <c:v>Henriot</c:v>
                </c:pt>
                <c:pt idx="9">
                  <c:v>Ruinart</c:v>
                </c:pt>
                <c:pt idx="10">
                  <c:v>De Bligny</c:v>
                </c:pt>
                <c:pt idx="11">
                  <c:v>Nicolas</c:v>
                </c:pt>
                <c:pt idx="12">
                  <c:v>Delamotte</c:v>
                </c:pt>
                <c:pt idx="13">
                  <c:v>Deutz</c:v>
                </c:pt>
                <c:pt idx="14">
                  <c:v>Henriot</c:v>
                </c:pt>
                <c:pt idx="15">
                  <c:v>Ruinart</c:v>
                </c:pt>
                <c:pt idx="16">
                  <c:v>Nicolas</c:v>
                </c:pt>
                <c:pt idx="17">
                  <c:v>All Others</c:v>
                </c:pt>
                <c:pt idx="18">
                  <c:v>Deutz</c:v>
                </c:pt>
                <c:pt idx="19">
                  <c:v>Nicolas</c:v>
                </c:pt>
                <c:pt idx="20">
                  <c:v>Perrier Jou</c:v>
                </c:pt>
                <c:pt idx="21">
                  <c:v>De Venoge</c:v>
                </c:pt>
                <c:pt idx="22">
                  <c:v>Taittinger</c:v>
                </c:pt>
                <c:pt idx="23">
                  <c:v>Vesselle</c:v>
                </c:pt>
                <c:pt idx="24">
                  <c:v>Ruinart</c:v>
                </c:pt>
                <c:pt idx="25">
                  <c:v>Lanson</c:v>
                </c:pt>
                <c:pt idx="26">
                  <c:v>All Others</c:v>
                </c:pt>
                <c:pt idx="27">
                  <c:v>Delamotte</c:v>
                </c:pt>
                <c:pt idx="28">
                  <c:v>Nicolas</c:v>
                </c:pt>
                <c:pt idx="29">
                  <c:v>Taittinger</c:v>
                </c:pt>
                <c:pt idx="30">
                  <c:v>All Others</c:v>
                </c:pt>
                <c:pt idx="31">
                  <c:v>Besserat De</c:v>
                </c:pt>
                <c:pt idx="32">
                  <c:v>All Others</c:v>
                </c:pt>
                <c:pt idx="33">
                  <c:v>Deutz</c:v>
                </c:pt>
                <c:pt idx="34">
                  <c:v>Henriot</c:v>
                </c:pt>
                <c:pt idx="35">
                  <c:v>Ayala</c:v>
                </c:pt>
                <c:pt idx="36">
                  <c:v>All Others</c:v>
                </c:pt>
                <c:pt idx="37">
                  <c:v>All Others</c:v>
                </c:pt>
                <c:pt idx="38">
                  <c:v>Besserat De</c:v>
                </c:pt>
              </c:strCache>
            </c:strRef>
          </c:cat>
          <c:val>
            <c:numRef>
              <c:f>Sheet1!$B$2:$B$40</c:f>
              <c:numCache>
                <c:formatCode>General</c:formatCode>
                <c:ptCount val="39"/>
                <c:pt idx="0">
                  <c:v>0.82</c:v>
                </c:pt>
                <c:pt idx="1">
                  <c:v>0.65</c:v>
                </c:pt>
                <c:pt idx="2">
                  <c:v>0.65</c:v>
                </c:pt>
                <c:pt idx="3">
                  <c:v>0.38</c:v>
                </c:pt>
                <c:pt idx="4">
                  <c:v>0.67</c:v>
                </c:pt>
                <c:pt idx="5">
                  <c:v>0.3</c:v>
                </c:pt>
                <c:pt idx="6">
                  <c:v>0.51</c:v>
                </c:pt>
                <c:pt idx="7">
                  <c:v>0.6</c:v>
                </c:pt>
                <c:pt idx="8">
                  <c:v>0.46</c:v>
                </c:pt>
                <c:pt idx="9">
                  <c:v>0.32</c:v>
                </c:pt>
                <c:pt idx="10">
                  <c:v>0.49</c:v>
                </c:pt>
                <c:pt idx="11">
                  <c:v>0.4</c:v>
                </c:pt>
                <c:pt idx="12">
                  <c:v>0.26</c:v>
                </c:pt>
                <c:pt idx="13">
                  <c:v>0.21</c:v>
                </c:pt>
                <c:pt idx="14">
                  <c:v>0.46</c:v>
                </c:pt>
                <c:pt idx="15">
                  <c:v>0.15</c:v>
                </c:pt>
                <c:pt idx="16">
                  <c:v>0.28000000000000003</c:v>
                </c:pt>
                <c:pt idx="17">
                  <c:v>0.12</c:v>
                </c:pt>
                <c:pt idx="18">
                  <c:v>0.08</c:v>
                </c:pt>
                <c:pt idx="19">
                  <c:v>0.17</c:v>
                </c:pt>
                <c:pt idx="20">
                  <c:v>0.18</c:v>
                </c:pt>
                <c:pt idx="21">
                  <c:v>0.18</c:v>
                </c:pt>
                <c:pt idx="22">
                  <c:v>0.12</c:v>
                </c:pt>
                <c:pt idx="23">
                  <c:v>0.31</c:v>
                </c:pt>
                <c:pt idx="24">
                  <c:v>0.19</c:v>
                </c:pt>
                <c:pt idx="25">
                  <c:v>0.1</c:v>
                </c:pt>
                <c:pt idx="26">
                  <c:v>0.09</c:v>
                </c:pt>
                <c:pt idx="27">
                  <c:v>0.16</c:v>
                </c:pt>
                <c:pt idx="28">
                  <c:v>7.0000000000000007E-2</c:v>
                </c:pt>
                <c:pt idx="29">
                  <c:v>0.13</c:v>
                </c:pt>
                <c:pt idx="30">
                  <c:v>7.0000000000000007E-2</c:v>
                </c:pt>
                <c:pt idx="31">
                  <c:v>0.14000000000000001</c:v>
                </c:pt>
                <c:pt idx="32">
                  <c:v>7.0000000000000007E-2</c:v>
                </c:pt>
                <c:pt idx="33">
                  <c:v>0.05</c:v>
                </c:pt>
                <c:pt idx="34">
                  <c:v>7.0000000000000007E-2</c:v>
                </c:pt>
                <c:pt idx="35">
                  <c:v>7.0000000000000007E-2</c:v>
                </c:pt>
                <c:pt idx="36">
                  <c:v>0.08</c:v>
                </c:pt>
                <c:pt idx="37">
                  <c:v>0.12</c:v>
                </c:pt>
                <c:pt idx="3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Ruinart</c:v>
                </c:pt>
                <c:pt idx="1">
                  <c:v>Ruinart</c:v>
                </c:pt>
                <c:pt idx="2">
                  <c:v>Nicolas</c:v>
                </c:pt>
                <c:pt idx="3">
                  <c:v>Ruinart</c:v>
                </c:pt>
                <c:pt idx="4">
                  <c:v>Malard</c:v>
                </c:pt>
                <c:pt idx="5">
                  <c:v>De Venoge</c:v>
                </c:pt>
                <c:pt idx="6">
                  <c:v>Besserat De</c:v>
                </c:pt>
                <c:pt idx="7">
                  <c:v>Ayala</c:v>
                </c:pt>
                <c:pt idx="8">
                  <c:v>Henriot</c:v>
                </c:pt>
                <c:pt idx="9">
                  <c:v>Ruinart</c:v>
                </c:pt>
                <c:pt idx="10">
                  <c:v>De Bligny</c:v>
                </c:pt>
                <c:pt idx="11">
                  <c:v>Nicolas</c:v>
                </c:pt>
                <c:pt idx="12">
                  <c:v>Delamotte</c:v>
                </c:pt>
                <c:pt idx="13">
                  <c:v>Deutz</c:v>
                </c:pt>
                <c:pt idx="14">
                  <c:v>Henriot</c:v>
                </c:pt>
                <c:pt idx="15">
                  <c:v>Ruinart</c:v>
                </c:pt>
                <c:pt idx="16">
                  <c:v>Nicolas</c:v>
                </c:pt>
                <c:pt idx="17">
                  <c:v>All Others</c:v>
                </c:pt>
                <c:pt idx="18">
                  <c:v>Deutz</c:v>
                </c:pt>
                <c:pt idx="19">
                  <c:v>Nicolas</c:v>
                </c:pt>
                <c:pt idx="20">
                  <c:v>Perrier Jou</c:v>
                </c:pt>
                <c:pt idx="21">
                  <c:v>De Venoge</c:v>
                </c:pt>
                <c:pt idx="22">
                  <c:v>Taittinger</c:v>
                </c:pt>
                <c:pt idx="23">
                  <c:v>Vesselle</c:v>
                </c:pt>
                <c:pt idx="24">
                  <c:v>Ruinart</c:v>
                </c:pt>
                <c:pt idx="25">
                  <c:v>Lanson</c:v>
                </c:pt>
                <c:pt idx="26">
                  <c:v>All Others</c:v>
                </c:pt>
                <c:pt idx="27">
                  <c:v>Delamotte</c:v>
                </c:pt>
                <c:pt idx="28">
                  <c:v>Nicolas</c:v>
                </c:pt>
                <c:pt idx="29">
                  <c:v>Taittinger</c:v>
                </c:pt>
                <c:pt idx="30">
                  <c:v>All Others</c:v>
                </c:pt>
                <c:pt idx="31">
                  <c:v>Besserat De</c:v>
                </c:pt>
                <c:pt idx="32">
                  <c:v>All Others</c:v>
                </c:pt>
                <c:pt idx="33">
                  <c:v>Deutz</c:v>
                </c:pt>
                <c:pt idx="34">
                  <c:v>Henriot</c:v>
                </c:pt>
                <c:pt idx="35">
                  <c:v>Ayala</c:v>
                </c:pt>
                <c:pt idx="36">
                  <c:v>All Others</c:v>
                </c:pt>
                <c:pt idx="37">
                  <c:v>All Others</c:v>
                </c:pt>
                <c:pt idx="38">
                  <c:v>Besserat De</c:v>
                </c:pt>
              </c:strCache>
            </c:strRef>
          </c:cat>
          <c:val>
            <c:numRef>
              <c:f>Sheet1!$C$2:$C$40</c:f>
              <c:numCache>
                <c:formatCode>General</c:formatCode>
                <c:ptCount val="39"/>
                <c:pt idx="0">
                  <c:v>0.29639291020281244</c:v>
                </c:pt>
                <c:pt idx="1">
                  <c:v>0.49772541432010042</c:v>
                </c:pt>
                <c:pt idx="2">
                  <c:v>0.58677976252173814</c:v>
                </c:pt>
                <c:pt idx="3">
                  <c:v>0.65836874776860266</c:v>
                </c:pt>
                <c:pt idx="4">
                  <c:v>0.72366375289361851</c:v>
                </c:pt>
                <c:pt idx="5">
                  <c:v>0.75448870768982712</c:v>
                </c:pt>
                <c:pt idx="6">
                  <c:v>0.78342489260500525</c:v>
                </c:pt>
                <c:pt idx="7">
                  <c:v>0.80977553582328488</c:v>
                </c:pt>
                <c:pt idx="8">
                  <c:v>0.82998767692821529</c:v>
                </c:pt>
                <c:pt idx="9">
                  <c:v>0.85000978935609073</c:v>
                </c:pt>
                <c:pt idx="10">
                  <c:v>0.86740029252899375</c:v>
                </c:pt>
                <c:pt idx="11">
                  <c:v>0.88370820808715977</c:v>
                </c:pt>
                <c:pt idx="12">
                  <c:v>0.8995612065093459</c:v>
                </c:pt>
                <c:pt idx="13">
                  <c:v>0.91489018645844122</c:v>
                </c:pt>
                <c:pt idx="14">
                  <c:v>0.92834767186078371</c:v>
                </c:pt>
                <c:pt idx="15">
                  <c:v>0.93642676985799667</c:v>
                </c:pt>
                <c:pt idx="16">
                  <c:v>0.94441373273906171</c:v>
                </c:pt>
                <c:pt idx="17">
                  <c:v>0.95180757580992514</c:v>
                </c:pt>
                <c:pt idx="18">
                  <c:v>0.9583722028354581</c:v>
                </c:pt>
                <c:pt idx="19">
                  <c:v>0.96405002936806816</c:v>
                </c:pt>
                <c:pt idx="20">
                  <c:v>0.96862223450690421</c:v>
                </c:pt>
                <c:pt idx="21">
                  <c:v>0.97234794826613213</c:v>
                </c:pt>
                <c:pt idx="22">
                  <c:v>0.97551509288371385</c:v>
                </c:pt>
                <c:pt idx="23">
                  <c:v>0.97848645037948134</c:v>
                </c:pt>
                <c:pt idx="24">
                  <c:v>0.98134263898006413</c:v>
                </c:pt>
                <c:pt idx="25">
                  <c:v>0.98399728201407355</c:v>
                </c:pt>
                <c:pt idx="26">
                  <c:v>0.98646765481578724</c:v>
                </c:pt>
                <c:pt idx="27">
                  <c:v>0.98867889760333516</c:v>
                </c:pt>
                <c:pt idx="28">
                  <c:v>0.99070011171382821</c:v>
                </c:pt>
                <c:pt idx="29">
                  <c:v>0.99203031245321249</c:v>
                </c:pt>
                <c:pt idx="30">
                  <c:v>0.99329141185548597</c:v>
                </c:pt>
                <c:pt idx="31">
                  <c:v>0.99452371903396319</c:v>
                </c:pt>
                <c:pt idx="32">
                  <c:v>0.99574450932292191</c:v>
                </c:pt>
                <c:pt idx="33">
                  <c:v>0.99683861382717742</c:v>
                </c:pt>
                <c:pt idx="34">
                  <c:v>0.99774844809913721</c:v>
                </c:pt>
                <c:pt idx="35">
                  <c:v>0.99853159658639379</c:v>
                </c:pt>
                <c:pt idx="36">
                  <c:v>0.99925716062605796</c:v>
                </c:pt>
                <c:pt idx="37">
                  <c:v>0.99979845443342652</c:v>
                </c:pt>
                <c:pt idx="3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3</c:f>
              <c:strCache>
                <c:ptCount val="32"/>
                <c:pt idx="0">
                  <c:v>Ruinart</c:v>
                </c:pt>
                <c:pt idx="1">
                  <c:v>Ruinart</c:v>
                </c:pt>
                <c:pt idx="2">
                  <c:v>Malard</c:v>
                </c:pt>
                <c:pt idx="3">
                  <c:v>Ruinart</c:v>
                </c:pt>
                <c:pt idx="4">
                  <c:v>Nicolas</c:v>
                </c:pt>
                <c:pt idx="5">
                  <c:v>De Bligny</c:v>
                </c:pt>
                <c:pt idx="6">
                  <c:v>Besserat De</c:v>
                </c:pt>
                <c:pt idx="7">
                  <c:v>De Venoge</c:v>
                </c:pt>
                <c:pt idx="8">
                  <c:v>Delamotte</c:v>
                </c:pt>
                <c:pt idx="9">
                  <c:v>Henriot</c:v>
                </c:pt>
                <c:pt idx="10">
                  <c:v>Henriot</c:v>
                </c:pt>
                <c:pt idx="11">
                  <c:v>Deutz</c:v>
                </c:pt>
                <c:pt idx="12">
                  <c:v>Nicolas</c:v>
                </c:pt>
                <c:pt idx="13">
                  <c:v>Taittinger</c:v>
                </c:pt>
                <c:pt idx="14">
                  <c:v>Ruinart</c:v>
                </c:pt>
                <c:pt idx="15">
                  <c:v>Nicolas</c:v>
                </c:pt>
                <c:pt idx="16">
                  <c:v>Perrier Jou</c:v>
                </c:pt>
                <c:pt idx="17">
                  <c:v>Nicolas</c:v>
                </c:pt>
                <c:pt idx="18">
                  <c:v>Ayala</c:v>
                </c:pt>
                <c:pt idx="19">
                  <c:v>Ruinart</c:v>
                </c:pt>
                <c:pt idx="20">
                  <c:v>Ayala</c:v>
                </c:pt>
                <c:pt idx="21">
                  <c:v>Taittinger</c:v>
                </c:pt>
                <c:pt idx="22">
                  <c:v>Ruinart</c:v>
                </c:pt>
                <c:pt idx="23">
                  <c:v>Taittinger</c:v>
                </c:pt>
                <c:pt idx="24">
                  <c:v>All Others</c:v>
                </c:pt>
                <c:pt idx="25">
                  <c:v>Deutz</c:v>
                </c:pt>
                <c:pt idx="26">
                  <c:v>Lanson</c:v>
                </c:pt>
                <c:pt idx="27">
                  <c:v>Vesselle</c:v>
                </c:pt>
                <c:pt idx="28">
                  <c:v>Besserat De</c:v>
                </c:pt>
                <c:pt idx="29">
                  <c:v>De Venoge</c:v>
                </c:pt>
                <c:pt idx="30">
                  <c:v>Delamotte</c:v>
                </c:pt>
                <c:pt idx="31">
                  <c:v>All Others</c:v>
                </c:pt>
              </c:strCache>
            </c:strRef>
          </c:cat>
          <c:val>
            <c:numRef>
              <c:f>Sheet1!$B$2:$B$33</c:f>
              <c:numCache>
                <c:formatCode>General</c:formatCode>
                <c:ptCount val="32"/>
                <c:pt idx="0">
                  <c:v>0.88</c:v>
                </c:pt>
                <c:pt idx="1">
                  <c:v>0.65</c:v>
                </c:pt>
                <c:pt idx="2">
                  <c:v>0.85</c:v>
                </c:pt>
                <c:pt idx="3">
                  <c:v>0.31</c:v>
                </c:pt>
                <c:pt idx="4">
                  <c:v>0.63</c:v>
                </c:pt>
                <c:pt idx="5">
                  <c:v>0.7</c:v>
                </c:pt>
                <c:pt idx="6">
                  <c:v>0.48</c:v>
                </c:pt>
                <c:pt idx="7">
                  <c:v>0.31</c:v>
                </c:pt>
                <c:pt idx="8">
                  <c:v>0.32</c:v>
                </c:pt>
                <c:pt idx="9">
                  <c:v>0.46</c:v>
                </c:pt>
                <c:pt idx="10">
                  <c:v>0.31</c:v>
                </c:pt>
                <c:pt idx="11">
                  <c:v>0.23</c:v>
                </c:pt>
                <c:pt idx="12">
                  <c:v>0.25</c:v>
                </c:pt>
                <c:pt idx="13">
                  <c:v>0.11</c:v>
                </c:pt>
                <c:pt idx="14">
                  <c:v>0.23</c:v>
                </c:pt>
                <c:pt idx="15">
                  <c:v>0.26</c:v>
                </c:pt>
                <c:pt idx="16">
                  <c:v>0.23</c:v>
                </c:pt>
                <c:pt idx="17">
                  <c:v>0.18</c:v>
                </c:pt>
                <c:pt idx="18">
                  <c:v>0.31</c:v>
                </c:pt>
                <c:pt idx="19">
                  <c:v>0.15</c:v>
                </c:pt>
                <c:pt idx="20">
                  <c:v>0.2</c:v>
                </c:pt>
                <c:pt idx="21">
                  <c:v>0.11</c:v>
                </c:pt>
                <c:pt idx="22">
                  <c:v>0.18</c:v>
                </c:pt>
                <c:pt idx="23">
                  <c:v>0.12</c:v>
                </c:pt>
                <c:pt idx="24">
                  <c:v>0.12</c:v>
                </c:pt>
                <c:pt idx="25">
                  <c:v>0.13</c:v>
                </c:pt>
                <c:pt idx="26">
                  <c:v>0.08</c:v>
                </c:pt>
                <c:pt idx="27">
                  <c:v>0.14000000000000001</c:v>
                </c:pt>
                <c:pt idx="28">
                  <c:v>0.19</c:v>
                </c:pt>
                <c:pt idx="29">
                  <c:v>0.06</c:v>
                </c:pt>
                <c:pt idx="30">
                  <c:v>0.05</c:v>
                </c:pt>
                <c:pt idx="31">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3</c:f>
              <c:strCache>
                <c:ptCount val="32"/>
                <c:pt idx="0">
                  <c:v>Ruinart</c:v>
                </c:pt>
                <c:pt idx="1">
                  <c:v>Ruinart</c:v>
                </c:pt>
                <c:pt idx="2">
                  <c:v>Malard</c:v>
                </c:pt>
                <c:pt idx="3">
                  <c:v>Ruinart</c:v>
                </c:pt>
                <c:pt idx="4">
                  <c:v>Nicolas</c:v>
                </c:pt>
                <c:pt idx="5">
                  <c:v>De Bligny</c:v>
                </c:pt>
                <c:pt idx="6">
                  <c:v>Besserat De</c:v>
                </c:pt>
                <c:pt idx="7">
                  <c:v>De Venoge</c:v>
                </c:pt>
                <c:pt idx="8">
                  <c:v>Delamotte</c:v>
                </c:pt>
                <c:pt idx="9">
                  <c:v>Henriot</c:v>
                </c:pt>
                <c:pt idx="10">
                  <c:v>Henriot</c:v>
                </c:pt>
                <c:pt idx="11">
                  <c:v>Deutz</c:v>
                </c:pt>
                <c:pt idx="12">
                  <c:v>Nicolas</c:v>
                </c:pt>
                <c:pt idx="13">
                  <c:v>Taittinger</c:v>
                </c:pt>
                <c:pt idx="14">
                  <c:v>Ruinart</c:v>
                </c:pt>
                <c:pt idx="15">
                  <c:v>Nicolas</c:v>
                </c:pt>
                <c:pt idx="16">
                  <c:v>Perrier Jou</c:v>
                </c:pt>
                <c:pt idx="17">
                  <c:v>Nicolas</c:v>
                </c:pt>
                <c:pt idx="18">
                  <c:v>Ayala</c:v>
                </c:pt>
                <c:pt idx="19">
                  <c:v>Ruinart</c:v>
                </c:pt>
                <c:pt idx="20">
                  <c:v>Ayala</c:v>
                </c:pt>
                <c:pt idx="21">
                  <c:v>Taittinger</c:v>
                </c:pt>
                <c:pt idx="22">
                  <c:v>Ruinart</c:v>
                </c:pt>
                <c:pt idx="23">
                  <c:v>Taittinger</c:v>
                </c:pt>
                <c:pt idx="24">
                  <c:v>All Others</c:v>
                </c:pt>
                <c:pt idx="25">
                  <c:v>Deutz</c:v>
                </c:pt>
                <c:pt idx="26">
                  <c:v>Lanson</c:v>
                </c:pt>
                <c:pt idx="27">
                  <c:v>Vesselle</c:v>
                </c:pt>
                <c:pt idx="28">
                  <c:v>Besserat De</c:v>
                </c:pt>
                <c:pt idx="29">
                  <c:v>De Venoge</c:v>
                </c:pt>
                <c:pt idx="30">
                  <c:v>Delamotte</c:v>
                </c:pt>
                <c:pt idx="31">
                  <c:v>All Others</c:v>
                </c:pt>
              </c:strCache>
            </c:strRef>
          </c:cat>
          <c:val>
            <c:numRef>
              <c:f>Sheet1!$C$2:$C$33</c:f>
              <c:numCache>
                <c:formatCode>General</c:formatCode>
                <c:ptCount val="32"/>
                <c:pt idx="0">
                  <c:v>0.40298016615639998</c:v>
                </c:pt>
                <c:pt idx="1">
                  <c:v>0.53231906413699681</c:v>
                </c:pt>
                <c:pt idx="2">
                  <c:v>0.6181221664539468</c:v>
                </c:pt>
                <c:pt idx="3">
                  <c:v>0.68221218219260671</c:v>
                </c:pt>
                <c:pt idx="4">
                  <c:v>0.74412540814808437</c:v>
                </c:pt>
                <c:pt idx="5">
                  <c:v>0.79262553734603913</c:v>
                </c:pt>
                <c:pt idx="6">
                  <c:v>0.82934124703431966</c:v>
                </c:pt>
                <c:pt idx="7">
                  <c:v>0.85096037146369541</c:v>
                </c:pt>
                <c:pt idx="8">
                  <c:v>0.86587686260384777</c:v>
                </c:pt>
                <c:pt idx="9">
                  <c:v>0.87956401562903741</c:v>
                </c:pt>
                <c:pt idx="10">
                  <c:v>0.89162249140637839</c:v>
                </c:pt>
                <c:pt idx="11">
                  <c:v>0.90215408226386129</c:v>
                </c:pt>
                <c:pt idx="12">
                  <c:v>0.91223935291400104</c:v>
                </c:pt>
                <c:pt idx="13">
                  <c:v>0.92128320974700684</c:v>
                </c:pt>
                <c:pt idx="14">
                  <c:v>0.93005301031234577</c:v>
                </c:pt>
                <c:pt idx="15">
                  <c:v>0.93792234028392218</c:v>
                </c:pt>
                <c:pt idx="16">
                  <c:v>0.94540016130168891</c:v>
                </c:pt>
                <c:pt idx="17">
                  <c:v>0.95280751070776981</c:v>
                </c:pt>
                <c:pt idx="18">
                  <c:v>0.95994863402526009</c:v>
                </c:pt>
                <c:pt idx="19">
                  <c:v>0.96653381462834054</c:v>
                </c:pt>
                <c:pt idx="20">
                  <c:v>0.97289975021728747</c:v>
                </c:pt>
                <c:pt idx="21">
                  <c:v>0.97722200906734735</c:v>
                </c:pt>
                <c:pt idx="22">
                  <c:v>0.9811214382472927</c:v>
                </c:pt>
                <c:pt idx="23">
                  <c:v>0.98473898098049506</c:v>
                </c:pt>
                <c:pt idx="24">
                  <c:v>0.98780841117836371</c:v>
                </c:pt>
                <c:pt idx="25">
                  <c:v>0.99078387922731803</c:v>
                </c:pt>
                <c:pt idx="26">
                  <c:v>0.99336000814338632</c:v>
                </c:pt>
                <c:pt idx="27">
                  <c:v>0.99592830688037848</c:v>
                </c:pt>
                <c:pt idx="28">
                  <c:v>0.99789368182850358</c:v>
                </c:pt>
                <c:pt idx="29">
                  <c:v>0.99891160510840904</c:v>
                </c:pt>
                <c:pt idx="30">
                  <c:v>0.99977292480679059</c:v>
                </c:pt>
                <c:pt idx="3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c:f>
              <c:strCache>
                <c:ptCount val="34"/>
                <c:pt idx="0">
                  <c:v>Ruinart</c:v>
                </c:pt>
                <c:pt idx="1">
                  <c:v>Ruinart</c:v>
                </c:pt>
                <c:pt idx="2">
                  <c:v>Malard</c:v>
                </c:pt>
                <c:pt idx="3">
                  <c:v>Ruinart</c:v>
                </c:pt>
                <c:pt idx="4">
                  <c:v>Besserat De</c:v>
                </c:pt>
                <c:pt idx="5">
                  <c:v>Nicolas</c:v>
                </c:pt>
                <c:pt idx="6">
                  <c:v>Ruinart</c:v>
                </c:pt>
                <c:pt idx="7">
                  <c:v>Delamotte</c:v>
                </c:pt>
                <c:pt idx="8">
                  <c:v>De Bligny</c:v>
                </c:pt>
                <c:pt idx="9">
                  <c:v>Henriot</c:v>
                </c:pt>
                <c:pt idx="10">
                  <c:v>Ayala</c:v>
                </c:pt>
                <c:pt idx="11">
                  <c:v>Ayala</c:v>
                </c:pt>
                <c:pt idx="12">
                  <c:v>Nicolas</c:v>
                </c:pt>
                <c:pt idx="13">
                  <c:v>De Venoge</c:v>
                </c:pt>
                <c:pt idx="14">
                  <c:v>Henriot</c:v>
                </c:pt>
                <c:pt idx="15">
                  <c:v>Taittinger</c:v>
                </c:pt>
                <c:pt idx="16">
                  <c:v>Deutz</c:v>
                </c:pt>
                <c:pt idx="17">
                  <c:v>Taittinger</c:v>
                </c:pt>
                <c:pt idx="18">
                  <c:v>Besserat De</c:v>
                </c:pt>
                <c:pt idx="19">
                  <c:v>Nicolas</c:v>
                </c:pt>
                <c:pt idx="20">
                  <c:v>Nicolas</c:v>
                </c:pt>
                <c:pt idx="21">
                  <c:v>Nicolas</c:v>
                </c:pt>
                <c:pt idx="22">
                  <c:v>Ruinart</c:v>
                </c:pt>
                <c:pt idx="23">
                  <c:v>Taittinger</c:v>
                </c:pt>
                <c:pt idx="24">
                  <c:v>All Others</c:v>
                </c:pt>
                <c:pt idx="25">
                  <c:v>Ruinart</c:v>
                </c:pt>
                <c:pt idx="26">
                  <c:v>Deutz</c:v>
                </c:pt>
                <c:pt idx="27">
                  <c:v>Vesselle</c:v>
                </c:pt>
                <c:pt idx="28">
                  <c:v>De Venoge</c:v>
                </c:pt>
                <c:pt idx="29">
                  <c:v>Lanson</c:v>
                </c:pt>
                <c:pt idx="30">
                  <c:v>Ayala</c:v>
                </c:pt>
                <c:pt idx="31">
                  <c:v>Delamotte</c:v>
                </c:pt>
                <c:pt idx="32">
                  <c:v>Ayala</c:v>
                </c:pt>
                <c:pt idx="33">
                  <c:v>Besserat De</c:v>
                </c:pt>
              </c:strCache>
            </c:strRef>
          </c:cat>
          <c:val>
            <c:numRef>
              <c:f>Sheet1!$B$2:$B$35</c:f>
              <c:numCache>
                <c:formatCode>General</c:formatCode>
                <c:ptCount val="34"/>
                <c:pt idx="0">
                  <c:v>0.82</c:v>
                </c:pt>
                <c:pt idx="1">
                  <c:v>0.56000000000000005</c:v>
                </c:pt>
                <c:pt idx="2">
                  <c:v>0.85</c:v>
                </c:pt>
                <c:pt idx="3">
                  <c:v>0.35</c:v>
                </c:pt>
                <c:pt idx="4">
                  <c:v>0.62</c:v>
                </c:pt>
                <c:pt idx="5">
                  <c:v>0.51</c:v>
                </c:pt>
                <c:pt idx="6">
                  <c:v>0.55000000000000004</c:v>
                </c:pt>
                <c:pt idx="7">
                  <c:v>0.55000000000000004</c:v>
                </c:pt>
                <c:pt idx="8">
                  <c:v>0.38</c:v>
                </c:pt>
                <c:pt idx="9">
                  <c:v>0.47</c:v>
                </c:pt>
                <c:pt idx="10">
                  <c:v>0.36</c:v>
                </c:pt>
                <c:pt idx="11">
                  <c:v>0.31</c:v>
                </c:pt>
                <c:pt idx="12">
                  <c:v>0.62</c:v>
                </c:pt>
                <c:pt idx="13">
                  <c:v>0.22</c:v>
                </c:pt>
                <c:pt idx="14">
                  <c:v>0.27</c:v>
                </c:pt>
                <c:pt idx="15">
                  <c:v>0.25</c:v>
                </c:pt>
                <c:pt idx="16">
                  <c:v>0.22</c:v>
                </c:pt>
                <c:pt idx="17">
                  <c:v>0.06</c:v>
                </c:pt>
                <c:pt idx="18">
                  <c:v>0.32</c:v>
                </c:pt>
                <c:pt idx="19">
                  <c:v>0.11</c:v>
                </c:pt>
                <c:pt idx="20">
                  <c:v>0.1</c:v>
                </c:pt>
                <c:pt idx="21">
                  <c:v>0.35</c:v>
                </c:pt>
                <c:pt idx="22">
                  <c:v>0.16</c:v>
                </c:pt>
                <c:pt idx="23">
                  <c:v>0.32</c:v>
                </c:pt>
                <c:pt idx="24">
                  <c:v>7.0000000000000007E-2</c:v>
                </c:pt>
                <c:pt idx="25">
                  <c:v>0.04</c:v>
                </c:pt>
                <c:pt idx="26">
                  <c:v>0.11</c:v>
                </c:pt>
                <c:pt idx="27">
                  <c:v>0.34</c:v>
                </c:pt>
                <c:pt idx="28">
                  <c:v>0.12</c:v>
                </c:pt>
                <c:pt idx="29">
                  <c:v>0.22</c:v>
                </c:pt>
                <c:pt idx="30">
                  <c:v>0.08</c:v>
                </c:pt>
                <c:pt idx="31">
                  <c:v>0.06</c:v>
                </c:pt>
                <c:pt idx="32">
                  <c:v>0.06</c:v>
                </c:pt>
                <c:pt idx="33">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5</c:f>
              <c:strCache>
                <c:ptCount val="34"/>
                <c:pt idx="0">
                  <c:v>Ruinart</c:v>
                </c:pt>
                <c:pt idx="1">
                  <c:v>Ruinart</c:v>
                </c:pt>
                <c:pt idx="2">
                  <c:v>Malard</c:v>
                </c:pt>
                <c:pt idx="3">
                  <c:v>Ruinart</c:v>
                </c:pt>
                <c:pt idx="4">
                  <c:v>Besserat De</c:v>
                </c:pt>
                <c:pt idx="5">
                  <c:v>Nicolas</c:v>
                </c:pt>
                <c:pt idx="6">
                  <c:v>Ruinart</c:v>
                </c:pt>
                <c:pt idx="7">
                  <c:v>Delamotte</c:v>
                </c:pt>
                <c:pt idx="8">
                  <c:v>De Bligny</c:v>
                </c:pt>
                <c:pt idx="9">
                  <c:v>Henriot</c:v>
                </c:pt>
                <c:pt idx="10">
                  <c:v>Ayala</c:v>
                </c:pt>
                <c:pt idx="11">
                  <c:v>Ayala</c:v>
                </c:pt>
                <c:pt idx="12">
                  <c:v>Nicolas</c:v>
                </c:pt>
                <c:pt idx="13">
                  <c:v>De Venoge</c:v>
                </c:pt>
                <c:pt idx="14">
                  <c:v>Henriot</c:v>
                </c:pt>
                <c:pt idx="15">
                  <c:v>Taittinger</c:v>
                </c:pt>
                <c:pt idx="16">
                  <c:v>Deutz</c:v>
                </c:pt>
                <c:pt idx="17">
                  <c:v>Taittinger</c:v>
                </c:pt>
                <c:pt idx="18">
                  <c:v>Besserat De</c:v>
                </c:pt>
                <c:pt idx="19">
                  <c:v>Nicolas</c:v>
                </c:pt>
                <c:pt idx="20">
                  <c:v>Nicolas</c:v>
                </c:pt>
                <c:pt idx="21">
                  <c:v>Nicolas</c:v>
                </c:pt>
                <c:pt idx="22">
                  <c:v>Ruinart</c:v>
                </c:pt>
                <c:pt idx="23">
                  <c:v>Taittinger</c:v>
                </c:pt>
                <c:pt idx="24">
                  <c:v>All Others</c:v>
                </c:pt>
                <c:pt idx="25">
                  <c:v>Ruinart</c:v>
                </c:pt>
                <c:pt idx="26">
                  <c:v>Deutz</c:v>
                </c:pt>
                <c:pt idx="27">
                  <c:v>Vesselle</c:v>
                </c:pt>
                <c:pt idx="28">
                  <c:v>De Venoge</c:v>
                </c:pt>
                <c:pt idx="29">
                  <c:v>Lanson</c:v>
                </c:pt>
                <c:pt idx="30">
                  <c:v>Ayala</c:v>
                </c:pt>
                <c:pt idx="31">
                  <c:v>Delamotte</c:v>
                </c:pt>
                <c:pt idx="32">
                  <c:v>Ayala</c:v>
                </c:pt>
                <c:pt idx="33">
                  <c:v>Besserat De</c:v>
                </c:pt>
              </c:strCache>
            </c:strRef>
          </c:cat>
          <c:val>
            <c:numRef>
              <c:f>Sheet1!$C$2:$C$35</c:f>
              <c:numCache>
                <c:formatCode>General</c:formatCode>
                <c:ptCount val="34"/>
                <c:pt idx="0">
                  <c:v>0.38474395783627857</c:v>
                </c:pt>
                <c:pt idx="1">
                  <c:v>0.52704651758394327</c:v>
                </c:pt>
                <c:pt idx="2">
                  <c:v>0.63268497176055105</c:v>
                </c:pt>
                <c:pt idx="3">
                  <c:v>0.69823553991939291</c:v>
                </c:pt>
                <c:pt idx="4">
                  <c:v>0.74664024694353459</c:v>
                </c:pt>
                <c:pt idx="5">
                  <c:v>0.78542062625527387</c:v>
                </c:pt>
                <c:pt idx="6">
                  <c:v>0.82100637578012325</c:v>
                </c:pt>
                <c:pt idx="7">
                  <c:v>0.85009503012657206</c:v>
                </c:pt>
                <c:pt idx="8">
                  <c:v>0.87561163006995835</c:v>
                </c:pt>
                <c:pt idx="9">
                  <c:v>0.90111475056276702</c:v>
                </c:pt>
                <c:pt idx="10">
                  <c:v>0.91343496839068838</c:v>
                </c:pt>
                <c:pt idx="11">
                  <c:v>0.92167091269359858</c:v>
                </c:pt>
                <c:pt idx="12">
                  <c:v>0.92944855567687057</c:v>
                </c:pt>
                <c:pt idx="13">
                  <c:v>0.93709140415436665</c:v>
                </c:pt>
                <c:pt idx="14">
                  <c:v>0.94373677328912076</c:v>
                </c:pt>
                <c:pt idx="15">
                  <c:v>0.9499642794559694</c:v>
                </c:pt>
                <c:pt idx="16">
                  <c:v>0.95520778573065368</c:v>
                </c:pt>
                <c:pt idx="17">
                  <c:v>0.96016822354320841</c:v>
                </c:pt>
                <c:pt idx="18">
                  <c:v>0.96500734630056484</c:v>
                </c:pt>
                <c:pt idx="19">
                  <c:v>0.96973863345330047</c:v>
                </c:pt>
                <c:pt idx="20">
                  <c:v>0.9737824686265788</c:v>
                </c:pt>
                <c:pt idx="21">
                  <c:v>0.97726016687559814</c:v>
                </c:pt>
                <c:pt idx="22">
                  <c:v>0.98061655006941917</c:v>
                </c:pt>
                <c:pt idx="23">
                  <c:v>0.98373030315284349</c:v>
                </c:pt>
                <c:pt idx="24">
                  <c:v>0.98669578227991428</c:v>
                </c:pt>
                <c:pt idx="25">
                  <c:v>0.98959386415409711</c:v>
                </c:pt>
                <c:pt idx="26">
                  <c:v>0.99215495976384005</c:v>
                </c:pt>
                <c:pt idx="27">
                  <c:v>0.99468909647242776</c:v>
                </c:pt>
                <c:pt idx="28">
                  <c:v>0.9964549044980926</c:v>
                </c:pt>
                <c:pt idx="29">
                  <c:v>0.99733106878563627</c:v>
                </c:pt>
                <c:pt idx="30">
                  <c:v>0.99811287691913675</c:v>
                </c:pt>
                <c:pt idx="31">
                  <c:v>0.99885424670090439</c:v>
                </c:pt>
                <c:pt idx="32">
                  <c:v>0.99952821922978408</c:v>
                </c:pt>
                <c:pt idx="3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8</c:f>
              <c:strCache>
                <c:ptCount val="27"/>
                <c:pt idx="0">
                  <c:v>Ruinart</c:v>
                </c:pt>
                <c:pt idx="1">
                  <c:v>Ruinart</c:v>
                </c:pt>
                <c:pt idx="2">
                  <c:v>Malard</c:v>
                </c:pt>
                <c:pt idx="3">
                  <c:v>Besserat De</c:v>
                </c:pt>
                <c:pt idx="4">
                  <c:v>Ruinart</c:v>
                </c:pt>
                <c:pt idx="5">
                  <c:v>Nicolas</c:v>
                </c:pt>
                <c:pt idx="6">
                  <c:v>De Bligny</c:v>
                </c:pt>
                <c:pt idx="7">
                  <c:v>Henriot</c:v>
                </c:pt>
                <c:pt idx="8">
                  <c:v>Delamotte</c:v>
                </c:pt>
                <c:pt idx="9">
                  <c:v>Henriot</c:v>
                </c:pt>
                <c:pt idx="10">
                  <c:v>Nicolas</c:v>
                </c:pt>
                <c:pt idx="11">
                  <c:v>Deutz</c:v>
                </c:pt>
                <c:pt idx="12">
                  <c:v>Ayala</c:v>
                </c:pt>
                <c:pt idx="13">
                  <c:v>Ruinart</c:v>
                </c:pt>
                <c:pt idx="14">
                  <c:v>Ayala</c:v>
                </c:pt>
                <c:pt idx="15">
                  <c:v>Nicolas</c:v>
                </c:pt>
                <c:pt idx="16">
                  <c:v>Ruinart</c:v>
                </c:pt>
                <c:pt idx="17">
                  <c:v>De Venoge</c:v>
                </c:pt>
                <c:pt idx="18">
                  <c:v>Besserat De</c:v>
                </c:pt>
                <c:pt idx="19">
                  <c:v>Vesselle</c:v>
                </c:pt>
                <c:pt idx="20">
                  <c:v>Taittinger</c:v>
                </c:pt>
                <c:pt idx="21">
                  <c:v>All Others</c:v>
                </c:pt>
                <c:pt idx="22">
                  <c:v>Lanson</c:v>
                </c:pt>
                <c:pt idx="23">
                  <c:v>Delamotte</c:v>
                </c:pt>
                <c:pt idx="24">
                  <c:v>Perrier Jou</c:v>
                </c:pt>
                <c:pt idx="25">
                  <c:v>De Venoge</c:v>
                </c:pt>
                <c:pt idx="26">
                  <c:v>Besserat De</c:v>
                </c:pt>
              </c:strCache>
            </c:strRef>
          </c:cat>
          <c:val>
            <c:numRef>
              <c:f>Sheet1!$B$2:$B$28</c:f>
              <c:numCache>
                <c:formatCode>General</c:formatCode>
                <c:ptCount val="27"/>
                <c:pt idx="0">
                  <c:v>0.88</c:v>
                </c:pt>
                <c:pt idx="1">
                  <c:v>0.61</c:v>
                </c:pt>
                <c:pt idx="2">
                  <c:v>0.82</c:v>
                </c:pt>
                <c:pt idx="3">
                  <c:v>0.49</c:v>
                </c:pt>
                <c:pt idx="4">
                  <c:v>0.38</c:v>
                </c:pt>
                <c:pt idx="5">
                  <c:v>0.69</c:v>
                </c:pt>
                <c:pt idx="6">
                  <c:v>0.72</c:v>
                </c:pt>
                <c:pt idx="7">
                  <c:v>0.52</c:v>
                </c:pt>
                <c:pt idx="8">
                  <c:v>0.69</c:v>
                </c:pt>
                <c:pt idx="9">
                  <c:v>0.41</c:v>
                </c:pt>
                <c:pt idx="10">
                  <c:v>0.35</c:v>
                </c:pt>
                <c:pt idx="11">
                  <c:v>0.26</c:v>
                </c:pt>
                <c:pt idx="12">
                  <c:v>0.3</c:v>
                </c:pt>
                <c:pt idx="13">
                  <c:v>0.4</c:v>
                </c:pt>
                <c:pt idx="14">
                  <c:v>0.26</c:v>
                </c:pt>
                <c:pt idx="15">
                  <c:v>0.41</c:v>
                </c:pt>
                <c:pt idx="16">
                  <c:v>0.35</c:v>
                </c:pt>
                <c:pt idx="17">
                  <c:v>0.44</c:v>
                </c:pt>
                <c:pt idx="18">
                  <c:v>0.37</c:v>
                </c:pt>
                <c:pt idx="19">
                  <c:v>0.26</c:v>
                </c:pt>
                <c:pt idx="20">
                  <c:v>0.11</c:v>
                </c:pt>
                <c:pt idx="21">
                  <c:v>0.18</c:v>
                </c:pt>
                <c:pt idx="22">
                  <c:v>0.35</c:v>
                </c:pt>
                <c:pt idx="23">
                  <c:v>0.09</c:v>
                </c:pt>
                <c:pt idx="24">
                  <c:v>0.25</c:v>
                </c:pt>
                <c:pt idx="25">
                  <c:v>0.05</c:v>
                </c:pt>
                <c:pt idx="26">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8</c:f>
              <c:strCache>
                <c:ptCount val="27"/>
                <c:pt idx="0">
                  <c:v>Ruinart</c:v>
                </c:pt>
                <c:pt idx="1">
                  <c:v>Ruinart</c:v>
                </c:pt>
                <c:pt idx="2">
                  <c:v>Malard</c:v>
                </c:pt>
                <c:pt idx="3">
                  <c:v>Besserat De</c:v>
                </c:pt>
                <c:pt idx="4">
                  <c:v>Ruinart</c:v>
                </c:pt>
                <c:pt idx="5">
                  <c:v>Nicolas</c:v>
                </c:pt>
                <c:pt idx="6">
                  <c:v>De Bligny</c:v>
                </c:pt>
                <c:pt idx="7">
                  <c:v>Henriot</c:v>
                </c:pt>
                <c:pt idx="8">
                  <c:v>Delamotte</c:v>
                </c:pt>
                <c:pt idx="9">
                  <c:v>Henriot</c:v>
                </c:pt>
                <c:pt idx="10">
                  <c:v>Nicolas</c:v>
                </c:pt>
                <c:pt idx="11">
                  <c:v>Deutz</c:v>
                </c:pt>
                <c:pt idx="12">
                  <c:v>Ayala</c:v>
                </c:pt>
                <c:pt idx="13">
                  <c:v>Ruinart</c:v>
                </c:pt>
                <c:pt idx="14">
                  <c:v>Ayala</c:v>
                </c:pt>
                <c:pt idx="15">
                  <c:v>Nicolas</c:v>
                </c:pt>
                <c:pt idx="16">
                  <c:v>Ruinart</c:v>
                </c:pt>
                <c:pt idx="17">
                  <c:v>De Venoge</c:v>
                </c:pt>
                <c:pt idx="18">
                  <c:v>Besserat De</c:v>
                </c:pt>
                <c:pt idx="19">
                  <c:v>Vesselle</c:v>
                </c:pt>
                <c:pt idx="20">
                  <c:v>Taittinger</c:v>
                </c:pt>
                <c:pt idx="21">
                  <c:v>All Others</c:v>
                </c:pt>
                <c:pt idx="22">
                  <c:v>Lanson</c:v>
                </c:pt>
                <c:pt idx="23">
                  <c:v>Delamotte</c:v>
                </c:pt>
                <c:pt idx="24">
                  <c:v>Perrier Jou</c:v>
                </c:pt>
                <c:pt idx="25">
                  <c:v>De Venoge</c:v>
                </c:pt>
                <c:pt idx="26">
                  <c:v>Besserat De</c:v>
                </c:pt>
              </c:strCache>
            </c:strRef>
          </c:cat>
          <c:val>
            <c:numRef>
              <c:f>Sheet1!$C$2:$C$28</c:f>
              <c:numCache>
                <c:formatCode>General</c:formatCode>
                <c:ptCount val="27"/>
                <c:pt idx="0">
                  <c:v>0.38496262958007271</c:v>
                </c:pt>
                <c:pt idx="1">
                  <c:v>0.50725107786292556</c:v>
                </c:pt>
                <c:pt idx="2">
                  <c:v>0.60340050548054436</c:v>
                </c:pt>
                <c:pt idx="3">
                  <c:v>0.68515590155293349</c:v>
                </c:pt>
                <c:pt idx="4">
                  <c:v>0.75419319087972525</c:v>
                </c:pt>
                <c:pt idx="5">
                  <c:v>0.80960683344821516</c:v>
                </c:pt>
                <c:pt idx="6">
                  <c:v>0.84554460798226749</c:v>
                </c:pt>
                <c:pt idx="7">
                  <c:v>0.88086066847774658</c:v>
                </c:pt>
                <c:pt idx="8">
                  <c:v>0.90321534282123006</c:v>
                </c:pt>
                <c:pt idx="9">
                  <c:v>0.91850139885658666</c:v>
                </c:pt>
                <c:pt idx="10">
                  <c:v>0.93012474827339187</c:v>
                </c:pt>
                <c:pt idx="11">
                  <c:v>0.94039654543242901</c:v>
                </c:pt>
                <c:pt idx="12">
                  <c:v>0.95043857870764559</c:v>
                </c:pt>
                <c:pt idx="13">
                  <c:v>0.96026436362161927</c:v>
                </c:pt>
                <c:pt idx="14">
                  <c:v>0.96953601210990803</c:v>
                </c:pt>
                <c:pt idx="15">
                  <c:v>0.97763181013393863</c:v>
                </c:pt>
                <c:pt idx="16">
                  <c:v>0.9813891254105338</c:v>
                </c:pt>
                <c:pt idx="17">
                  <c:v>0.98499776993877453</c:v>
                </c:pt>
                <c:pt idx="18">
                  <c:v>0.98791712281555355</c:v>
                </c:pt>
                <c:pt idx="19">
                  <c:v>0.99044452553757978</c:v>
                </c:pt>
                <c:pt idx="20">
                  <c:v>0.99243130735649876</c:v>
                </c:pt>
                <c:pt idx="21">
                  <c:v>0.99422887185933029</c:v>
                </c:pt>
                <c:pt idx="22">
                  <c:v>0.99599940531700648</c:v>
                </c:pt>
                <c:pt idx="23">
                  <c:v>0.99748611280055133</c:v>
                </c:pt>
                <c:pt idx="24">
                  <c:v>0.99856735460676571</c:v>
                </c:pt>
                <c:pt idx="25">
                  <c:v>0.99952695670978098</c:v>
                </c:pt>
                <c:pt idx="26">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Ruinart</c:v>
                </c:pt>
                <c:pt idx="1">
                  <c:v>Ruinart</c:v>
                </c:pt>
                <c:pt idx="2">
                  <c:v>Malard</c:v>
                </c:pt>
                <c:pt idx="3">
                  <c:v>Nicolas</c:v>
                </c:pt>
                <c:pt idx="4">
                  <c:v>Henriot</c:v>
                </c:pt>
                <c:pt idx="5">
                  <c:v>Delamotte</c:v>
                </c:pt>
                <c:pt idx="6">
                  <c:v>Ruinart</c:v>
                </c:pt>
                <c:pt idx="7">
                  <c:v>Ruinart</c:v>
                </c:pt>
                <c:pt idx="8">
                  <c:v>Ayala</c:v>
                </c:pt>
                <c:pt idx="9">
                  <c:v>Besserat De</c:v>
                </c:pt>
                <c:pt idx="10">
                  <c:v>Henriot</c:v>
                </c:pt>
                <c:pt idx="11">
                  <c:v>De Bligny</c:v>
                </c:pt>
                <c:pt idx="12">
                  <c:v>Nicolas</c:v>
                </c:pt>
                <c:pt idx="13">
                  <c:v>De Venoge</c:v>
                </c:pt>
                <c:pt idx="14">
                  <c:v>Deutz</c:v>
                </c:pt>
                <c:pt idx="15">
                  <c:v>Ayala</c:v>
                </c:pt>
                <c:pt idx="16">
                  <c:v>Vesselle</c:v>
                </c:pt>
                <c:pt idx="17">
                  <c:v>Nicolas</c:v>
                </c:pt>
                <c:pt idx="18">
                  <c:v>All Others</c:v>
                </c:pt>
                <c:pt idx="19">
                  <c:v>Besserat De</c:v>
                </c:pt>
                <c:pt idx="20">
                  <c:v>Nicolas</c:v>
                </c:pt>
                <c:pt idx="21">
                  <c:v>Delamotte</c:v>
                </c:pt>
              </c:strCache>
            </c:strRef>
          </c:cat>
          <c:val>
            <c:numRef>
              <c:f>Sheet1!$B$2:$B$23</c:f>
              <c:numCache>
                <c:formatCode>General</c:formatCode>
                <c:ptCount val="22"/>
                <c:pt idx="0">
                  <c:v>0.64</c:v>
                </c:pt>
                <c:pt idx="1">
                  <c:v>0.53</c:v>
                </c:pt>
                <c:pt idx="2">
                  <c:v>0.8</c:v>
                </c:pt>
                <c:pt idx="3">
                  <c:v>0.8</c:v>
                </c:pt>
                <c:pt idx="4">
                  <c:v>0.85</c:v>
                </c:pt>
                <c:pt idx="5">
                  <c:v>0.72</c:v>
                </c:pt>
                <c:pt idx="6">
                  <c:v>0.79</c:v>
                </c:pt>
                <c:pt idx="7">
                  <c:v>0.33</c:v>
                </c:pt>
                <c:pt idx="8">
                  <c:v>0.45</c:v>
                </c:pt>
                <c:pt idx="9">
                  <c:v>0.76</c:v>
                </c:pt>
                <c:pt idx="10">
                  <c:v>0.47</c:v>
                </c:pt>
                <c:pt idx="11">
                  <c:v>0.43</c:v>
                </c:pt>
                <c:pt idx="12">
                  <c:v>0.64</c:v>
                </c:pt>
                <c:pt idx="13">
                  <c:v>0.43</c:v>
                </c:pt>
                <c:pt idx="14">
                  <c:v>0.38</c:v>
                </c:pt>
                <c:pt idx="15">
                  <c:v>0.45</c:v>
                </c:pt>
                <c:pt idx="16">
                  <c:v>0.35</c:v>
                </c:pt>
                <c:pt idx="17">
                  <c:v>0.44</c:v>
                </c:pt>
                <c:pt idx="18">
                  <c:v>0.27</c:v>
                </c:pt>
                <c:pt idx="19">
                  <c:v>0.27</c:v>
                </c:pt>
                <c:pt idx="20">
                  <c:v>0.11</c:v>
                </c:pt>
                <c:pt idx="21">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Ruinart</c:v>
                </c:pt>
                <c:pt idx="1">
                  <c:v>Ruinart</c:v>
                </c:pt>
                <c:pt idx="2">
                  <c:v>Malard</c:v>
                </c:pt>
                <c:pt idx="3">
                  <c:v>Nicolas</c:v>
                </c:pt>
                <c:pt idx="4">
                  <c:v>Henriot</c:v>
                </c:pt>
                <c:pt idx="5">
                  <c:v>Delamotte</c:v>
                </c:pt>
                <c:pt idx="6">
                  <c:v>Ruinart</c:v>
                </c:pt>
                <c:pt idx="7">
                  <c:v>Ruinart</c:v>
                </c:pt>
                <c:pt idx="8">
                  <c:v>Ayala</c:v>
                </c:pt>
                <c:pt idx="9">
                  <c:v>Besserat De</c:v>
                </c:pt>
                <c:pt idx="10">
                  <c:v>Henriot</c:v>
                </c:pt>
                <c:pt idx="11">
                  <c:v>De Bligny</c:v>
                </c:pt>
                <c:pt idx="12">
                  <c:v>Nicolas</c:v>
                </c:pt>
                <c:pt idx="13">
                  <c:v>De Venoge</c:v>
                </c:pt>
                <c:pt idx="14">
                  <c:v>Deutz</c:v>
                </c:pt>
                <c:pt idx="15">
                  <c:v>Ayala</c:v>
                </c:pt>
                <c:pt idx="16">
                  <c:v>Vesselle</c:v>
                </c:pt>
                <c:pt idx="17">
                  <c:v>Nicolas</c:v>
                </c:pt>
                <c:pt idx="18">
                  <c:v>All Others</c:v>
                </c:pt>
                <c:pt idx="19">
                  <c:v>Besserat De</c:v>
                </c:pt>
                <c:pt idx="20">
                  <c:v>Nicolas</c:v>
                </c:pt>
                <c:pt idx="21">
                  <c:v>Delamotte</c:v>
                </c:pt>
              </c:strCache>
            </c:strRef>
          </c:cat>
          <c:val>
            <c:numRef>
              <c:f>Sheet1!$C$2:$C$23</c:f>
              <c:numCache>
                <c:formatCode>General</c:formatCode>
                <c:ptCount val="22"/>
                <c:pt idx="0">
                  <c:v>0.28333616443010023</c:v>
                </c:pt>
                <c:pt idx="1">
                  <c:v>0.48827925938508576</c:v>
                </c:pt>
                <c:pt idx="2">
                  <c:v>0.59368099201630709</c:v>
                </c:pt>
                <c:pt idx="3">
                  <c:v>0.67009229375460055</c:v>
                </c:pt>
                <c:pt idx="4">
                  <c:v>0.74208708453654948</c:v>
                </c:pt>
                <c:pt idx="5">
                  <c:v>0.78064662250155714</c:v>
                </c:pt>
                <c:pt idx="6">
                  <c:v>0.81402525338316067</c:v>
                </c:pt>
                <c:pt idx="7">
                  <c:v>0.84559198233395616</c:v>
                </c:pt>
                <c:pt idx="8">
                  <c:v>0.87571485193363907</c:v>
                </c:pt>
                <c:pt idx="9">
                  <c:v>0.89674990091161311</c:v>
                </c:pt>
                <c:pt idx="10">
                  <c:v>0.91135836022875261</c:v>
                </c:pt>
                <c:pt idx="11">
                  <c:v>0.92562708793386561</c:v>
                </c:pt>
                <c:pt idx="12">
                  <c:v>0.93915973047958778</c:v>
                </c:pt>
                <c:pt idx="13">
                  <c:v>0.95266406205764109</c:v>
                </c:pt>
                <c:pt idx="14">
                  <c:v>0.96342222977181358</c:v>
                </c:pt>
                <c:pt idx="15">
                  <c:v>0.97296302587622441</c:v>
                </c:pt>
                <c:pt idx="16">
                  <c:v>0.98091840779117823</c:v>
                </c:pt>
                <c:pt idx="17">
                  <c:v>0.98703357680765524</c:v>
                </c:pt>
                <c:pt idx="18">
                  <c:v>0.99195968518203947</c:v>
                </c:pt>
                <c:pt idx="19">
                  <c:v>0.99600815355868855</c:v>
                </c:pt>
                <c:pt idx="20">
                  <c:v>0.99844289677821174</c:v>
                </c:pt>
                <c:pt idx="2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Taittinger</c:v>
                </c:pt>
                <c:pt idx="6">
                  <c:v>Laurent Perrier</c:v>
                </c:pt>
                <c:pt idx="7">
                  <c:v>Ayala</c:v>
                </c:pt>
                <c:pt idx="8">
                  <c:v>De Bligny</c:v>
                </c:pt>
                <c:pt idx="9">
                  <c:v>Others</c:v>
                </c:pt>
              </c:strCache>
            </c:strRef>
          </c:cat>
          <c:val>
            <c:numRef>
              <c:f>Sheet1!$B$2:$B$11</c:f>
              <c:numCache>
                <c:formatCode>General</c:formatCode>
                <c:ptCount val="10"/>
                <c:pt idx="0">
                  <c:v>0.32460861192891849</c:v>
                </c:pt>
                <c:pt idx="1">
                  <c:v>8.3297621896583393E-2</c:v>
                </c:pt>
                <c:pt idx="2">
                  <c:v>6.4291716987327538E-2</c:v>
                </c:pt>
                <c:pt idx="3">
                  <c:v>5.5690362364412486E-2</c:v>
                </c:pt>
                <c:pt idx="4">
                  <c:v>4.3065210011075182E-2</c:v>
                </c:pt>
                <c:pt idx="5">
                  <c:v>3.3873921004446771E-2</c:v>
                </c:pt>
                <c:pt idx="6">
                  <c:v>3.3117024059305104E-2</c:v>
                </c:pt>
                <c:pt idx="7">
                  <c:v>2.7946750073741797E-2</c:v>
                </c:pt>
                <c:pt idx="8">
                  <c:v>2.7495951157885362E-2</c:v>
                </c:pt>
                <c:pt idx="9">
                  <c:v>0.3066128305163038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Taittinger</c:v>
                </c:pt>
                <c:pt idx="6">
                  <c:v>Laurent Perrier</c:v>
                </c:pt>
                <c:pt idx="7">
                  <c:v>Ayala</c:v>
                </c:pt>
                <c:pt idx="8">
                  <c:v>De Bligny</c:v>
                </c:pt>
                <c:pt idx="9">
                  <c:v>Others</c:v>
                </c:pt>
              </c:strCache>
            </c:strRef>
          </c:cat>
          <c:val>
            <c:numRef>
              <c:f>Sheet1!$C$2:$C$11</c:f>
              <c:numCache>
                <c:formatCode>General</c:formatCode>
                <c:ptCount val="10"/>
                <c:pt idx="0">
                  <c:v>0.11497262556534156</c:v>
                </c:pt>
                <c:pt idx="1">
                  <c:v>0.10021423470602232</c:v>
                </c:pt>
                <c:pt idx="2">
                  <c:v>4.9869078790764083E-2</c:v>
                </c:pt>
                <c:pt idx="3">
                  <c:v>5.4748869316829298E-2</c:v>
                </c:pt>
                <c:pt idx="4">
                  <c:v>5.9033563437276809E-2</c:v>
                </c:pt>
                <c:pt idx="5">
                  <c:v>2.0233277791002136E-2</c:v>
                </c:pt>
                <c:pt idx="6">
                  <c:v>4.6655558200428444E-2</c:v>
                </c:pt>
                <c:pt idx="7">
                  <c:v>2.6065222566055687E-2</c:v>
                </c:pt>
                <c:pt idx="8">
                  <c:v>1.7376815044037125E-2</c:v>
                </c:pt>
                <c:pt idx="9">
                  <c:v>0.510830754582242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Taittinger</c:v>
                </c:pt>
                <c:pt idx="6">
                  <c:v>Laurent Perrier</c:v>
                </c:pt>
                <c:pt idx="7">
                  <c:v>Ayala</c:v>
                </c:pt>
                <c:pt idx="8">
                  <c:v>De Bligny</c:v>
                </c:pt>
                <c:pt idx="9">
                  <c:v>Others</c:v>
                </c:pt>
              </c:strCache>
            </c:strRef>
          </c:cat>
          <c:val>
            <c:numRef>
              <c:f>Sheet1!$D$2:$D$11</c:f>
              <c:numCache>
                <c:formatCode>General</c:formatCode>
                <c:ptCount val="10"/>
                <c:pt idx="0">
                  <c:v>35.418846370754267</c:v>
                </c:pt>
                <c:pt idx="1">
                  <c:v>120.30863837918619</c:v>
                </c:pt>
                <c:pt idx="2">
                  <c:v>77.566879728214005</c:v>
                </c:pt>
                <c:pt idx="3">
                  <c:v>98.309414757579631</c:v>
                </c:pt>
                <c:pt idx="4">
                  <c:v>137.07947417902992</c:v>
                </c:pt>
                <c:pt idx="5">
                  <c:v>59.73113590347581</c:v>
                </c:pt>
                <c:pt idx="6">
                  <c:v>140.88088989179369</c:v>
                </c:pt>
                <c:pt idx="7">
                  <c:v>93.267455061066457</c:v>
                </c:pt>
                <c:pt idx="8">
                  <c:v>63.197722982038961</c:v>
                </c:pt>
                <c:pt idx="9">
                  <c:v>166.604493922206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Ruinart</c:v>
                </c:pt>
                <c:pt idx="1">
                  <c:v>Ruinart</c:v>
                </c:pt>
                <c:pt idx="2">
                  <c:v>Ruinart</c:v>
                </c:pt>
                <c:pt idx="3">
                  <c:v>Malard</c:v>
                </c:pt>
                <c:pt idx="4">
                  <c:v>Ayala</c:v>
                </c:pt>
                <c:pt idx="5">
                  <c:v>De Bligny</c:v>
                </c:pt>
                <c:pt idx="6">
                  <c:v>Besserat De</c:v>
                </c:pt>
                <c:pt idx="7">
                  <c:v>Henriot</c:v>
                </c:pt>
                <c:pt idx="8">
                  <c:v>Delamotte</c:v>
                </c:pt>
                <c:pt idx="9">
                  <c:v>Nicolas</c:v>
                </c:pt>
                <c:pt idx="10">
                  <c:v>Ruinart</c:v>
                </c:pt>
                <c:pt idx="11">
                  <c:v>Perrier Jou</c:v>
                </c:pt>
                <c:pt idx="12">
                  <c:v>De Venoge</c:v>
                </c:pt>
                <c:pt idx="13">
                  <c:v>Deutz</c:v>
                </c:pt>
                <c:pt idx="14">
                  <c:v>Nicolas</c:v>
                </c:pt>
                <c:pt idx="15">
                  <c:v>Deutz</c:v>
                </c:pt>
                <c:pt idx="16">
                  <c:v>Vesselle</c:v>
                </c:pt>
                <c:pt idx="17">
                  <c:v>Ruinart</c:v>
                </c:pt>
                <c:pt idx="18">
                  <c:v>Lanson</c:v>
                </c:pt>
                <c:pt idx="19">
                  <c:v>Nicolas</c:v>
                </c:pt>
                <c:pt idx="20">
                  <c:v>Taittinger</c:v>
                </c:pt>
                <c:pt idx="21">
                  <c:v>All Others</c:v>
                </c:pt>
                <c:pt idx="22">
                  <c:v>Ayala</c:v>
                </c:pt>
                <c:pt idx="23">
                  <c:v>Ayala</c:v>
                </c:pt>
                <c:pt idx="24">
                  <c:v>Nicolas</c:v>
                </c:pt>
                <c:pt idx="25">
                  <c:v>Delamotte</c:v>
                </c:pt>
                <c:pt idx="26">
                  <c:v>Nicolas</c:v>
                </c:pt>
                <c:pt idx="27">
                  <c:v>Besserat De</c:v>
                </c:pt>
                <c:pt idx="28">
                  <c:v>De Venoge</c:v>
                </c:pt>
                <c:pt idx="29">
                  <c:v>Henriot</c:v>
                </c:pt>
              </c:strCache>
            </c:strRef>
          </c:cat>
          <c:val>
            <c:numRef>
              <c:f>Sheet1!$B$2:$B$31</c:f>
              <c:numCache>
                <c:formatCode>General</c:formatCode>
                <c:ptCount val="30"/>
                <c:pt idx="0">
                  <c:v>0.88</c:v>
                </c:pt>
                <c:pt idx="1">
                  <c:v>0.85</c:v>
                </c:pt>
                <c:pt idx="2">
                  <c:v>0.88</c:v>
                </c:pt>
                <c:pt idx="3">
                  <c:v>0.85</c:v>
                </c:pt>
                <c:pt idx="4">
                  <c:v>0.73</c:v>
                </c:pt>
                <c:pt idx="5">
                  <c:v>0.54</c:v>
                </c:pt>
                <c:pt idx="6">
                  <c:v>0.61</c:v>
                </c:pt>
                <c:pt idx="7">
                  <c:v>0.8</c:v>
                </c:pt>
                <c:pt idx="8">
                  <c:v>0.35</c:v>
                </c:pt>
                <c:pt idx="9">
                  <c:v>0.59</c:v>
                </c:pt>
                <c:pt idx="10">
                  <c:v>0.22</c:v>
                </c:pt>
                <c:pt idx="11">
                  <c:v>0.8</c:v>
                </c:pt>
                <c:pt idx="12">
                  <c:v>0.26</c:v>
                </c:pt>
                <c:pt idx="13">
                  <c:v>0.22</c:v>
                </c:pt>
                <c:pt idx="14">
                  <c:v>0.27</c:v>
                </c:pt>
                <c:pt idx="15">
                  <c:v>0.32</c:v>
                </c:pt>
                <c:pt idx="16">
                  <c:v>0.33</c:v>
                </c:pt>
                <c:pt idx="17">
                  <c:v>0.35</c:v>
                </c:pt>
                <c:pt idx="18">
                  <c:v>0.25</c:v>
                </c:pt>
                <c:pt idx="19">
                  <c:v>0.5</c:v>
                </c:pt>
                <c:pt idx="20">
                  <c:v>0.19</c:v>
                </c:pt>
                <c:pt idx="21">
                  <c:v>0.21</c:v>
                </c:pt>
                <c:pt idx="22">
                  <c:v>0.24</c:v>
                </c:pt>
                <c:pt idx="23">
                  <c:v>0.33</c:v>
                </c:pt>
                <c:pt idx="24">
                  <c:v>0.18</c:v>
                </c:pt>
                <c:pt idx="25">
                  <c:v>0.16</c:v>
                </c:pt>
                <c:pt idx="26">
                  <c:v>0.15</c:v>
                </c:pt>
                <c:pt idx="27">
                  <c:v>0.16</c:v>
                </c:pt>
                <c:pt idx="28">
                  <c:v>0.17</c:v>
                </c:pt>
                <c:pt idx="29">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Ruinart</c:v>
                </c:pt>
                <c:pt idx="1">
                  <c:v>Ruinart</c:v>
                </c:pt>
                <c:pt idx="2">
                  <c:v>Ruinart</c:v>
                </c:pt>
                <c:pt idx="3">
                  <c:v>Malard</c:v>
                </c:pt>
                <c:pt idx="4">
                  <c:v>Ayala</c:v>
                </c:pt>
                <c:pt idx="5">
                  <c:v>De Bligny</c:v>
                </c:pt>
                <c:pt idx="6">
                  <c:v>Besserat De</c:v>
                </c:pt>
                <c:pt idx="7">
                  <c:v>Henriot</c:v>
                </c:pt>
                <c:pt idx="8">
                  <c:v>Delamotte</c:v>
                </c:pt>
                <c:pt idx="9">
                  <c:v>Nicolas</c:v>
                </c:pt>
                <c:pt idx="10">
                  <c:v>Ruinart</c:v>
                </c:pt>
                <c:pt idx="11">
                  <c:v>Perrier Jou</c:v>
                </c:pt>
                <c:pt idx="12">
                  <c:v>De Venoge</c:v>
                </c:pt>
                <c:pt idx="13">
                  <c:v>Deutz</c:v>
                </c:pt>
                <c:pt idx="14">
                  <c:v>Nicolas</c:v>
                </c:pt>
                <c:pt idx="15">
                  <c:v>Deutz</c:v>
                </c:pt>
                <c:pt idx="16">
                  <c:v>Vesselle</c:v>
                </c:pt>
                <c:pt idx="17">
                  <c:v>Ruinart</c:v>
                </c:pt>
                <c:pt idx="18">
                  <c:v>Lanson</c:v>
                </c:pt>
                <c:pt idx="19">
                  <c:v>Nicolas</c:v>
                </c:pt>
                <c:pt idx="20">
                  <c:v>Taittinger</c:v>
                </c:pt>
                <c:pt idx="21">
                  <c:v>All Others</c:v>
                </c:pt>
                <c:pt idx="22">
                  <c:v>Ayala</c:v>
                </c:pt>
                <c:pt idx="23">
                  <c:v>Ayala</c:v>
                </c:pt>
                <c:pt idx="24">
                  <c:v>Nicolas</c:v>
                </c:pt>
                <c:pt idx="25">
                  <c:v>Delamotte</c:v>
                </c:pt>
                <c:pt idx="26">
                  <c:v>Nicolas</c:v>
                </c:pt>
                <c:pt idx="27">
                  <c:v>Besserat De</c:v>
                </c:pt>
                <c:pt idx="28">
                  <c:v>De Venoge</c:v>
                </c:pt>
                <c:pt idx="29">
                  <c:v>Henriot</c:v>
                </c:pt>
              </c:strCache>
            </c:strRef>
          </c:cat>
          <c:val>
            <c:numRef>
              <c:f>Sheet1!$C$2:$C$31</c:f>
              <c:numCache>
                <c:formatCode>General</c:formatCode>
                <c:ptCount val="30"/>
                <c:pt idx="0">
                  <c:v>0.64085302593659943</c:v>
                </c:pt>
                <c:pt idx="1">
                  <c:v>0.74617867435158503</c:v>
                </c:pt>
                <c:pt idx="2">
                  <c:v>0.78968299711815559</c:v>
                </c:pt>
                <c:pt idx="3">
                  <c:v>0.8321498559077809</c:v>
                </c:pt>
                <c:pt idx="4">
                  <c:v>0.8541095100864553</c:v>
                </c:pt>
                <c:pt idx="5">
                  <c:v>0.87331412103746398</c:v>
                </c:pt>
                <c:pt idx="6">
                  <c:v>0.89021325648414984</c:v>
                </c:pt>
                <c:pt idx="7">
                  <c:v>0.90615561959654178</c:v>
                </c:pt>
                <c:pt idx="8">
                  <c:v>0.92130259365994238</c:v>
                </c:pt>
                <c:pt idx="9">
                  <c:v>0.93073198847262251</c:v>
                </c:pt>
                <c:pt idx="10">
                  <c:v>0.93979250720461094</c:v>
                </c:pt>
                <c:pt idx="11">
                  <c:v>0.94802305475504323</c:v>
                </c:pt>
                <c:pt idx="12">
                  <c:v>0.95519308357348698</c:v>
                </c:pt>
                <c:pt idx="13">
                  <c:v>0.96175216138328523</c:v>
                </c:pt>
                <c:pt idx="14">
                  <c:v>0.96768876080691635</c:v>
                </c:pt>
                <c:pt idx="15">
                  <c:v>0.97205763688760805</c:v>
                </c:pt>
                <c:pt idx="16">
                  <c:v>0.97582708933717577</c:v>
                </c:pt>
                <c:pt idx="17">
                  <c:v>0.97903170028818443</c:v>
                </c:pt>
                <c:pt idx="18">
                  <c:v>0.98206340057636887</c:v>
                </c:pt>
                <c:pt idx="19">
                  <c:v>0.9848184438040346</c:v>
                </c:pt>
                <c:pt idx="20">
                  <c:v>0.98748126801152736</c:v>
                </c:pt>
                <c:pt idx="21">
                  <c:v>0.99002881844380397</c:v>
                </c:pt>
                <c:pt idx="22">
                  <c:v>0.99204610951008643</c:v>
                </c:pt>
                <c:pt idx="23">
                  <c:v>0.99361383285302596</c:v>
                </c:pt>
                <c:pt idx="24">
                  <c:v>0.99496253602305473</c:v>
                </c:pt>
                <c:pt idx="25">
                  <c:v>0.99623054755043228</c:v>
                </c:pt>
                <c:pt idx="26">
                  <c:v>0.99747550432276655</c:v>
                </c:pt>
                <c:pt idx="27">
                  <c:v>0.99870893371757918</c:v>
                </c:pt>
                <c:pt idx="28">
                  <c:v>0.99940057636887603</c:v>
                </c:pt>
                <c:pt idx="2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0</c:f>
              <c:strCache>
                <c:ptCount val="109"/>
                <c:pt idx="0">
                  <c:v>Ruinart</c:v>
                </c:pt>
                <c:pt idx="1">
                  <c:v>Nicolas</c:v>
                </c:pt>
                <c:pt idx="2">
                  <c:v>Deutz</c:v>
                </c:pt>
                <c:pt idx="3">
                  <c:v>Heidsieck &amp;</c:v>
                </c:pt>
                <c:pt idx="4">
                  <c:v>Ayala</c:v>
                </c:pt>
                <c:pt idx="5">
                  <c:v>De Bligny</c:v>
                </c:pt>
                <c:pt idx="6">
                  <c:v>Ruinart</c:v>
                </c:pt>
                <c:pt idx="7">
                  <c:v>Laurent Per</c:v>
                </c:pt>
                <c:pt idx="8">
                  <c:v>Bollinger</c:v>
                </c:pt>
                <c:pt idx="9">
                  <c:v>Deutz</c:v>
                </c:pt>
                <c:pt idx="10">
                  <c:v>Besserat De</c:v>
                </c:pt>
                <c:pt idx="11">
                  <c:v>Canard Duch</c:v>
                </c:pt>
                <c:pt idx="12">
                  <c:v>Ruinart</c:v>
                </c:pt>
                <c:pt idx="13">
                  <c:v>Taittinger</c:v>
                </c:pt>
                <c:pt idx="14">
                  <c:v>Campari: Al</c:v>
                </c:pt>
                <c:pt idx="15">
                  <c:v>Demoiselle</c:v>
                </c:pt>
                <c:pt idx="16">
                  <c:v>Pommery</c:v>
                </c:pt>
                <c:pt idx="17">
                  <c:v>Perrier Jou</c:v>
                </c:pt>
                <c:pt idx="18">
                  <c:v>Laurent Per</c:v>
                </c:pt>
                <c:pt idx="19">
                  <c:v>Savian</c:v>
                </c:pt>
                <c:pt idx="20">
                  <c:v>Roederer</c:v>
                </c:pt>
                <c:pt idx="21">
                  <c:v>All Others</c:v>
                </c:pt>
                <c:pt idx="22">
                  <c:v>Moët &amp; Chan</c:v>
                </c:pt>
                <c:pt idx="23">
                  <c:v>Roederer</c:v>
                </c:pt>
                <c:pt idx="24">
                  <c:v>Veuve Clicq</c:v>
                </c:pt>
                <c:pt idx="25">
                  <c:v>Taittinger</c:v>
                </c:pt>
                <c:pt idx="26">
                  <c:v>Veuve Clicq</c:v>
                </c:pt>
                <c:pt idx="27">
                  <c:v>Henriot</c:v>
                </c:pt>
                <c:pt idx="28">
                  <c:v>Campari: Al</c:v>
                </c:pt>
                <c:pt idx="29">
                  <c:v>Krug</c:v>
                </c:pt>
                <c:pt idx="30">
                  <c:v>Nicolas</c:v>
                </c:pt>
                <c:pt idx="31">
                  <c:v>Ruinart</c:v>
                </c:pt>
                <c:pt idx="32">
                  <c:v>Deutz</c:v>
                </c:pt>
                <c:pt idx="33">
                  <c:v>All Others</c:v>
                </c:pt>
                <c:pt idx="34">
                  <c:v>All Others</c:v>
                </c:pt>
                <c:pt idx="35">
                  <c:v>Canard Duch</c:v>
                </c:pt>
                <c:pt idx="36">
                  <c:v>Lanson</c:v>
                </c:pt>
                <c:pt idx="37">
                  <c:v>Bollinger</c:v>
                </c:pt>
                <c:pt idx="38">
                  <c:v>Veuve Clicq</c:v>
                </c:pt>
                <c:pt idx="39">
                  <c:v>Henriot</c:v>
                </c:pt>
                <c:pt idx="40">
                  <c:v>Roederer</c:v>
                </c:pt>
                <c:pt idx="41">
                  <c:v>Canard Duch</c:v>
                </c:pt>
                <c:pt idx="42">
                  <c:v>Nicolas Feu</c:v>
                </c:pt>
                <c:pt idx="43">
                  <c:v>Piper Heids</c:v>
                </c:pt>
                <c:pt idx="44">
                  <c:v>De Venoge</c:v>
                </c:pt>
                <c:pt idx="45">
                  <c:v>Nicolas</c:v>
                </c:pt>
                <c:pt idx="46">
                  <c:v>Nicolas</c:v>
                </c:pt>
                <c:pt idx="47">
                  <c:v>Roederer</c:v>
                </c:pt>
                <c:pt idx="48">
                  <c:v>Moët &amp; Chan</c:v>
                </c:pt>
                <c:pt idx="49">
                  <c:v>Roederer</c:v>
                </c:pt>
                <c:pt idx="50">
                  <c:v>Laurent Per</c:v>
                </c:pt>
                <c:pt idx="51">
                  <c:v>Canard Duch</c:v>
                </c:pt>
                <c:pt idx="52">
                  <c:v>De Venoge</c:v>
                </c:pt>
                <c:pt idx="53">
                  <c:v>Canard Duch</c:v>
                </c:pt>
                <c:pt idx="54">
                  <c:v>De Venoge</c:v>
                </c:pt>
                <c:pt idx="55">
                  <c:v>Laurent Per</c:v>
                </c:pt>
                <c:pt idx="56">
                  <c:v>Nicolas</c:v>
                </c:pt>
                <c:pt idx="57">
                  <c:v>Veuve Clicq</c:v>
                </c:pt>
                <c:pt idx="58">
                  <c:v>Vranken</c:v>
                </c:pt>
                <c:pt idx="59">
                  <c:v>Nicolas</c:v>
                </c:pt>
                <c:pt idx="60">
                  <c:v>Moët &amp; Chan</c:v>
                </c:pt>
                <c:pt idx="61">
                  <c:v>Moët &amp; Chan</c:v>
                </c:pt>
                <c:pt idx="62">
                  <c:v>Nicolas Feu</c:v>
                </c:pt>
                <c:pt idx="63">
                  <c:v>Roederer</c:v>
                </c:pt>
                <c:pt idx="64">
                  <c:v>All Others</c:v>
                </c:pt>
                <c:pt idx="65">
                  <c:v>All Others</c:v>
                </c:pt>
                <c:pt idx="66">
                  <c:v>Pommery</c:v>
                </c:pt>
                <c:pt idx="67">
                  <c:v>Roederer</c:v>
                </c:pt>
                <c:pt idx="68">
                  <c:v>Canard Duch</c:v>
                </c:pt>
                <c:pt idx="69">
                  <c:v>Laurent Per</c:v>
                </c:pt>
                <c:pt idx="70">
                  <c:v>Nicolas</c:v>
                </c:pt>
                <c:pt idx="71">
                  <c:v>Ruinart</c:v>
                </c:pt>
                <c:pt idx="72">
                  <c:v>Ruinart</c:v>
                </c:pt>
                <c:pt idx="73">
                  <c:v>Roederer</c:v>
                </c:pt>
                <c:pt idx="74">
                  <c:v>Demoiselle</c:v>
                </c:pt>
                <c:pt idx="75">
                  <c:v>Ruinart</c:v>
                </c:pt>
                <c:pt idx="76">
                  <c:v>Deutz</c:v>
                </c:pt>
                <c:pt idx="77">
                  <c:v>Vranken</c:v>
                </c:pt>
                <c:pt idx="78">
                  <c:v>Roederer</c:v>
                </c:pt>
                <c:pt idx="79">
                  <c:v>Piper Heids</c:v>
                </c:pt>
                <c:pt idx="80">
                  <c:v>Pommery</c:v>
                </c:pt>
                <c:pt idx="81">
                  <c:v>Ruinart</c:v>
                </c:pt>
                <c:pt idx="82">
                  <c:v>Moët &amp; Chan</c:v>
                </c:pt>
                <c:pt idx="83">
                  <c:v>Henriot</c:v>
                </c:pt>
                <c:pt idx="84">
                  <c:v>All Others</c:v>
                </c:pt>
                <c:pt idx="85">
                  <c:v>All Others</c:v>
                </c:pt>
                <c:pt idx="86">
                  <c:v>Roederer</c:v>
                </c:pt>
                <c:pt idx="87">
                  <c:v>Veuve Clicq</c:v>
                </c:pt>
                <c:pt idx="88">
                  <c:v>Demoiselle</c:v>
                </c:pt>
                <c:pt idx="89">
                  <c:v>Pommery</c:v>
                </c:pt>
                <c:pt idx="90">
                  <c:v>Roederer</c:v>
                </c:pt>
                <c:pt idx="91">
                  <c:v>Bollinger</c:v>
                </c:pt>
                <c:pt idx="92">
                  <c:v>All Others</c:v>
                </c:pt>
                <c:pt idx="93">
                  <c:v>De Venoge</c:v>
                </c:pt>
                <c:pt idx="94">
                  <c:v>Veuve Clicq</c:v>
                </c:pt>
                <c:pt idx="95">
                  <c:v>Nicolas Feu</c:v>
                </c:pt>
                <c:pt idx="96">
                  <c:v>Moët &amp; Chan</c:v>
                </c:pt>
                <c:pt idx="97">
                  <c:v>Roederer</c:v>
                </c:pt>
                <c:pt idx="98">
                  <c:v>Bollinger</c:v>
                </c:pt>
                <c:pt idx="99">
                  <c:v>De Venoge</c:v>
                </c:pt>
                <c:pt idx="100">
                  <c:v>Lanson</c:v>
                </c:pt>
                <c:pt idx="101">
                  <c:v>All Others</c:v>
                </c:pt>
                <c:pt idx="102">
                  <c:v>All Others</c:v>
                </c:pt>
                <c:pt idx="103">
                  <c:v>All Others</c:v>
                </c:pt>
                <c:pt idx="104">
                  <c:v>Demoiselle</c:v>
                </c:pt>
                <c:pt idx="105">
                  <c:v>Ayala</c:v>
                </c:pt>
                <c:pt idx="106">
                  <c:v>Veuve Clicq</c:v>
                </c:pt>
                <c:pt idx="107">
                  <c:v>Besserat De</c:v>
                </c:pt>
                <c:pt idx="108">
                  <c:v>Martel</c:v>
                </c:pt>
              </c:strCache>
            </c:strRef>
          </c:cat>
          <c:val>
            <c:numRef>
              <c:f>Sheet1!$B$2:$B$110</c:f>
              <c:numCache>
                <c:formatCode>General</c:formatCode>
                <c:ptCount val="109"/>
                <c:pt idx="0">
                  <c:v>1</c:v>
                </c:pt>
                <c:pt idx="1">
                  <c:v>0.99</c:v>
                </c:pt>
                <c:pt idx="2">
                  <c:v>1</c:v>
                </c:pt>
                <c:pt idx="3">
                  <c:v>0.95</c:v>
                </c:pt>
                <c:pt idx="4">
                  <c:v>0.97</c:v>
                </c:pt>
                <c:pt idx="5">
                  <c:v>0.94</c:v>
                </c:pt>
                <c:pt idx="6">
                  <c:v>0.85</c:v>
                </c:pt>
                <c:pt idx="7">
                  <c:v>0.92</c:v>
                </c:pt>
                <c:pt idx="8">
                  <c:v>0.98</c:v>
                </c:pt>
                <c:pt idx="9">
                  <c:v>0.82</c:v>
                </c:pt>
                <c:pt idx="10">
                  <c:v>0.83</c:v>
                </c:pt>
                <c:pt idx="11">
                  <c:v>1</c:v>
                </c:pt>
                <c:pt idx="12">
                  <c:v>0.79</c:v>
                </c:pt>
                <c:pt idx="13">
                  <c:v>0.9</c:v>
                </c:pt>
                <c:pt idx="14">
                  <c:v>0.64</c:v>
                </c:pt>
                <c:pt idx="15">
                  <c:v>0.85</c:v>
                </c:pt>
                <c:pt idx="16">
                  <c:v>0.86</c:v>
                </c:pt>
                <c:pt idx="17">
                  <c:v>0.77</c:v>
                </c:pt>
                <c:pt idx="18">
                  <c:v>0.72</c:v>
                </c:pt>
                <c:pt idx="19">
                  <c:v>0.75</c:v>
                </c:pt>
                <c:pt idx="20">
                  <c:v>0.76</c:v>
                </c:pt>
                <c:pt idx="21">
                  <c:v>0.81</c:v>
                </c:pt>
                <c:pt idx="22">
                  <c:v>0.85</c:v>
                </c:pt>
                <c:pt idx="23">
                  <c:v>0.75</c:v>
                </c:pt>
                <c:pt idx="24">
                  <c:v>0.77</c:v>
                </c:pt>
                <c:pt idx="25">
                  <c:v>0.42</c:v>
                </c:pt>
                <c:pt idx="26">
                  <c:v>0.8</c:v>
                </c:pt>
                <c:pt idx="27">
                  <c:v>0.52</c:v>
                </c:pt>
                <c:pt idx="28">
                  <c:v>0.56000000000000005</c:v>
                </c:pt>
                <c:pt idx="29">
                  <c:v>0.47</c:v>
                </c:pt>
                <c:pt idx="30">
                  <c:v>0.75</c:v>
                </c:pt>
                <c:pt idx="31">
                  <c:v>0.59</c:v>
                </c:pt>
                <c:pt idx="32">
                  <c:v>0.77</c:v>
                </c:pt>
                <c:pt idx="33">
                  <c:v>0.64</c:v>
                </c:pt>
                <c:pt idx="34">
                  <c:v>0.6</c:v>
                </c:pt>
                <c:pt idx="35">
                  <c:v>0.9</c:v>
                </c:pt>
                <c:pt idx="36">
                  <c:v>0.7</c:v>
                </c:pt>
                <c:pt idx="37">
                  <c:v>0.44</c:v>
                </c:pt>
                <c:pt idx="38">
                  <c:v>0.6</c:v>
                </c:pt>
                <c:pt idx="39">
                  <c:v>0.73</c:v>
                </c:pt>
                <c:pt idx="40">
                  <c:v>0.35</c:v>
                </c:pt>
                <c:pt idx="41">
                  <c:v>0.47</c:v>
                </c:pt>
                <c:pt idx="42">
                  <c:v>0.48</c:v>
                </c:pt>
                <c:pt idx="43">
                  <c:v>0.43</c:v>
                </c:pt>
                <c:pt idx="44">
                  <c:v>0.48</c:v>
                </c:pt>
                <c:pt idx="45">
                  <c:v>0.49</c:v>
                </c:pt>
                <c:pt idx="46">
                  <c:v>0.48</c:v>
                </c:pt>
                <c:pt idx="47">
                  <c:v>0.38</c:v>
                </c:pt>
                <c:pt idx="48">
                  <c:v>0.53</c:v>
                </c:pt>
                <c:pt idx="49">
                  <c:v>0.49</c:v>
                </c:pt>
                <c:pt idx="50">
                  <c:v>0.39</c:v>
                </c:pt>
                <c:pt idx="51">
                  <c:v>0.17</c:v>
                </c:pt>
                <c:pt idx="52">
                  <c:v>0.48</c:v>
                </c:pt>
                <c:pt idx="53">
                  <c:v>0.34</c:v>
                </c:pt>
                <c:pt idx="54">
                  <c:v>0.34</c:v>
                </c:pt>
                <c:pt idx="55">
                  <c:v>0.39</c:v>
                </c:pt>
                <c:pt idx="56">
                  <c:v>0.23</c:v>
                </c:pt>
                <c:pt idx="57">
                  <c:v>0.15</c:v>
                </c:pt>
                <c:pt idx="58">
                  <c:v>0.22</c:v>
                </c:pt>
                <c:pt idx="59">
                  <c:v>0.32</c:v>
                </c:pt>
                <c:pt idx="60">
                  <c:v>0.36</c:v>
                </c:pt>
                <c:pt idx="61">
                  <c:v>0.34</c:v>
                </c:pt>
                <c:pt idx="62">
                  <c:v>0.25</c:v>
                </c:pt>
                <c:pt idx="63">
                  <c:v>0.44</c:v>
                </c:pt>
                <c:pt idx="64">
                  <c:v>0.34</c:v>
                </c:pt>
                <c:pt idx="65">
                  <c:v>0.21</c:v>
                </c:pt>
                <c:pt idx="66">
                  <c:v>0.36</c:v>
                </c:pt>
                <c:pt idx="67">
                  <c:v>0.5</c:v>
                </c:pt>
                <c:pt idx="68">
                  <c:v>0.14000000000000001</c:v>
                </c:pt>
                <c:pt idx="69">
                  <c:v>0.34</c:v>
                </c:pt>
                <c:pt idx="70">
                  <c:v>0.16</c:v>
                </c:pt>
                <c:pt idx="71">
                  <c:v>0.13</c:v>
                </c:pt>
                <c:pt idx="72">
                  <c:v>0.14000000000000001</c:v>
                </c:pt>
                <c:pt idx="73">
                  <c:v>0.05</c:v>
                </c:pt>
                <c:pt idx="74">
                  <c:v>0.3</c:v>
                </c:pt>
                <c:pt idx="75">
                  <c:v>0.03</c:v>
                </c:pt>
                <c:pt idx="76">
                  <c:v>0.02</c:v>
                </c:pt>
                <c:pt idx="77">
                  <c:v>0.13</c:v>
                </c:pt>
                <c:pt idx="78">
                  <c:v>0.08</c:v>
                </c:pt>
                <c:pt idx="79">
                  <c:v>0.18</c:v>
                </c:pt>
                <c:pt idx="80">
                  <c:v>0.37</c:v>
                </c:pt>
                <c:pt idx="81">
                  <c:v>0.15</c:v>
                </c:pt>
                <c:pt idx="82">
                  <c:v>0.04</c:v>
                </c:pt>
                <c:pt idx="83">
                  <c:v>0.08</c:v>
                </c:pt>
                <c:pt idx="84">
                  <c:v>0.39</c:v>
                </c:pt>
                <c:pt idx="85">
                  <c:v>0.05</c:v>
                </c:pt>
                <c:pt idx="86">
                  <c:v>0.06</c:v>
                </c:pt>
                <c:pt idx="87">
                  <c:v>0.14000000000000001</c:v>
                </c:pt>
                <c:pt idx="88">
                  <c:v>0.34</c:v>
                </c:pt>
                <c:pt idx="89">
                  <c:v>0.16</c:v>
                </c:pt>
                <c:pt idx="90">
                  <c:v>0.02</c:v>
                </c:pt>
                <c:pt idx="91">
                  <c:v>0.08</c:v>
                </c:pt>
                <c:pt idx="92">
                  <c:v>0.04</c:v>
                </c:pt>
                <c:pt idx="93">
                  <c:v>7.0000000000000007E-2</c:v>
                </c:pt>
                <c:pt idx="94">
                  <c:v>0.39</c:v>
                </c:pt>
                <c:pt idx="95">
                  <c:v>0.09</c:v>
                </c:pt>
                <c:pt idx="96">
                  <c:v>0.21</c:v>
                </c:pt>
                <c:pt idx="97">
                  <c:v>0.02</c:v>
                </c:pt>
                <c:pt idx="98">
                  <c:v>0.03</c:v>
                </c:pt>
                <c:pt idx="99">
                  <c:v>0.01</c:v>
                </c:pt>
                <c:pt idx="100">
                  <c:v>0.03</c:v>
                </c:pt>
                <c:pt idx="101">
                  <c:v>0.02</c:v>
                </c:pt>
                <c:pt idx="102">
                  <c:v>0.15</c:v>
                </c:pt>
                <c:pt idx="103">
                  <c:v>0.03</c:v>
                </c:pt>
                <c:pt idx="104">
                  <c:v>0.16</c:v>
                </c:pt>
                <c:pt idx="105">
                  <c:v>7.0000000000000007E-2</c:v>
                </c:pt>
                <c:pt idx="106">
                  <c:v>0.04</c:v>
                </c:pt>
                <c:pt idx="107">
                  <c:v>0.04</c:v>
                </c:pt>
                <c:pt idx="10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0</c:f>
              <c:strCache>
                <c:ptCount val="109"/>
                <c:pt idx="0">
                  <c:v>Ruinart</c:v>
                </c:pt>
                <c:pt idx="1">
                  <c:v>Nicolas</c:v>
                </c:pt>
                <c:pt idx="2">
                  <c:v>Deutz</c:v>
                </c:pt>
                <c:pt idx="3">
                  <c:v>Heidsieck &amp;</c:v>
                </c:pt>
                <c:pt idx="4">
                  <c:v>Ayala</c:v>
                </c:pt>
                <c:pt idx="5">
                  <c:v>De Bligny</c:v>
                </c:pt>
                <c:pt idx="6">
                  <c:v>Ruinart</c:v>
                </c:pt>
                <c:pt idx="7">
                  <c:v>Laurent Per</c:v>
                </c:pt>
                <c:pt idx="8">
                  <c:v>Bollinger</c:v>
                </c:pt>
                <c:pt idx="9">
                  <c:v>Deutz</c:v>
                </c:pt>
                <c:pt idx="10">
                  <c:v>Besserat De</c:v>
                </c:pt>
                <c:pt idx="11">
                  <c:v>Canard Duch</c:v>
                </c:pt>
                <c:pt idx="12">
                  <c:v>Ruinart</c:v>
                </c:pt>
                <c:pt idx="13">
                  <c:v>Taittinger</c:v>
                </c:pt>
                <c:pt idx="14">
                  <c:v>Campari: Al</c:v>
                </c:pt>
                <c:pt idx="15">
                  <c:v>Demoiselle</c:v>
                </c:pt>
                <c:pt idx="16">
                  <c:v>Pommery</c:v>
                </c:pt>
                <c:pt idx="17">
                  <c:v>Perrier Jou</c:v>
                </c:pt>
                <c:pt idx="18">
                  <c:v>Laurent Per</c:v>
                </c:pt>
                <c:pt idx="19">
                  <c:v>Savian</c:v>
                </c:pt>
                <c:pt idx="20">
                  <c:v>Roederer</c:v>
                </c:pt>
                <c:pt idx="21">
                  <c:v>All Others</c:v>
                </c:pt>
                <c:pt idx="22">
                  <c:v>Moët &amp; Chan</c:v>
                </c:pt>
                <c:pt idx="23">
                  <c:v>Roederer</c:v>
                </c:pt>
                <c:pt idx="24">
                  <c:v>Veuve Clicq</c:v>
                </c:pt>
                <c:pt idx="25">
                  <c:v>Taittinger</c:v>
                </c:pt>
                <c:pt idx="26">
                  <c:v>Veuve Clicq</c:v>
                </c:pt>
                <c:pt idx="27">
                  <c:v>Henriot</c:v>
                </c:pt>
                <c:pt idx="28">
                  <c:v>Campari: Al</c:v>
                </c:pt>
                <c:pt idx="29">
                  <c:v>Krug</c:v>
                </c:pt>
                <c:pt idx="30">
                  <c:v>Nicolas</c:v>
                </c:pt>
                <c:pt idx="31">
                  <c:v>Ruinart</c:v>
                </c:pt>
                <c:pt idx="32">
                  <c:v>Deutz</c:v>
                </c:pt>
                <c:pt idx="33">
                  <c:v>All Others</c:v>
                </c:pt>
                <c:pt idx="34">
                  <c:v>All Others</c:v>
                </c:pt>
                <c:pt idx="35">
                  <c:v>Canard Duch</c:v>
                </c:pt>
                <c:pt idx="36">
                  <c:v>Lanson</c:v>
                </c:pt>
                <c:pt idx="37">
                  <c:v>Bollinger</c:v>
                </c:pt>
                <c:pt idx="38">
                  <c:v>Veuve Clicq</c:v>
                </c:pt>
                <c:pt idx="39">
                  <c:v>Henriot</c:v>
                </c:pt>
                <c:pt idx="40">
                  <c:v>Roederer</c:v>
                </c:pt>
                <c:pt idx="41">
                  <c:v>Canard Duch</c:v>
                </c:pt>
                <c:pt idx="42">
                  <c:v>Nicolas Feu</c:v>
                </c:pt>
                <c:pt idx="43">
                  <c:v>Piper Heids</c:v>
                </c:pt>
                <c:pt idx="44">
                  <c:v>De Venoge</c:v>
                </c:pt>
                <c:pt idx="45">
                  <c:v>Nicolas</c:v>
                </c:pt>
                <c:pt idx="46">
                  <c:v>Nicolas</c:v>
                </c:pt>
                <c:pt idx="47">
                  <c:v>Roederer</c:v>
                </c:pt>
                <c:pt idx="48">
                  <c:v>Moët &amp; Chan</c:v>
                </c:pt>
                <c:pt idx="49">
                  <c:v>Roederer</c:v>
                </c:pt>
                <c:pt idx="50">
                  <c:v>Laurent Per</c:v>
                </c:pt>
                <c:pt idx="51">
                  <c:v>Canard Duch</c:v>
                </c:pt>
                <c:pt idx="52">
                  <c:v>De Venoge</c:v>
                </c:pt>
                <c:pt idx="53">
                  <c:v>Canard Duch</c:v>
                </c:pt>
                <c:pt idx="54">
                  <c:v>De Venoge</c:v>
                </c:pt>
                <c:pt idx="55">
                  <c:v>Laurent Per</c:v>
                </c:pt>
                <c:pt idx="56">
                  <c:v>Nicolas</c:v>
                </c:pt>
                <c:pt idx="57">
                  <c:v>Veuve Clicq</c:v>
                </c:pt>
                <c:pt idx="58">
                  <c:v>Vranken</c:v>
                </c:pt>
                <c:pt idx="59">
                  <c:v>Nicolas</c:v>
                </c:pt>
                <c:pt idx="60">
                  <c:v>Moët &amp; Chan</c:v>
                </c:pt>
                <c:pt idx="61">
                  <c:v>Moët &amp; Chan</c:v>
                </c:pt>
                <c:pt idx="62">
                  <c:v>Nicolas Feu</c:v>
                </c:pt>
                <c:pt idx="63">
                  <c:v>Roederer</c:v>
                </c:pt>
                <c:pt idx="64">
                  <c:v>All Others</c:v>
                </c:pt>
                <c:pt idx="65">
                  <c:v>All Others</c:v>
                </c:pt>
                <c:pt idx="66">
                  <c:v>Pommery</c:v>
                </c:pt>
                <c:pt idx="67">
                  <c:v>Roederer</c:v>
                </c:pt>
                <c:pt idx="68">
                  <c:v>Canard Duch</c:v>
                </c:pt>
                <c:pt idx="69">
                  <c:v>Laurent Per</c:v>
                </c:pt>
                <c:pt idx="70">
                  <c:v>Nicolas</c:v>
                </c:pt>
                <c:pt idx="71">
                  <c:v>Ruinart</c:v>
                </c:pt>
                <c:pt idx="72">
                  <c:v>Ruinart</c:v>
                </c:pt>
                <c:pt idx="73">
                  <c:v>Roederer</c:v>
                </c:pt>
                <c:pt idx="74">
                  <c:v>Demoiselle</c:v>
                </c:pt>
                <c:pt idx="75">
                  <c:v>Ruinart</c:v>
                </c:pt>
                <c:pt idx="76">
                  <c:v>Deutz</c:v>
                </c:pt>
                <c:pt idx="77">
                  <c:v>Vranken</c:v>
                </c:pt>
                <c:pt idx="78">
                  <c:v>Roederer</c:v>
                </c:pt>
                <c:pt idx="79">
                  <c:v>Piper Heids</c:v>
                </c:pt>
                <c:pt idx="80">
                  <c:v>Pommery</c:v>
                </c:pt>
                <c:pt idx="81">
                  <c:v>Ruinart</c:v>
                </c:pt>
                <c:pt idx="82">
                  <c:v>Moët &amp; Chan</c:v>
                </c:pt>
                <c:pt idx="83">
                  <c:v>Henriot</c:v>
                </c:pt>
                <c:pt idx="84">
                  <c:v>All Others</c:v>
                </c:pt>
                <c:pt idx="85">
                  <c:v>All Others</c:v>
                </c:pt>
                <c:pt idx="86">
                  <c:v>Roederer</c:v>
                </c:pt>
                <c:pt idx="87">
                  <c:v>Veuve Clicq</c:v>
                </c:pt>
                <c:pt idx="88">
                  <c:v>Demoiselle</c:v>
                </c:pt>
                <c:pt idx="89">
                  <c:v>Pommery</c:v>
                </c:pt>
                <c:pt idx="90">
                  <c:v>Roederer</c:v>
                </c:pt>
                <c:pt idx="91">
                  <c:v>Bollinger</c:v>
                </c:pt>
                <c:pt idx="92">
                  <c:v>All Others</c:v>
                </c:pt>
                <c:pt idx="93">
                  <c:v>De Venoge</c:v>
                </c:pt>
                <c:pt idx="94">
                  <c:v>Veuve Clicq</c:v>
                </c:pt>
                <c:pt idx="95">
                  <c:v>Nicolas Feu</c:v>
                </c:pt>
                <c:pt idx="96">
                  <c:v>Moët &amp; Chan</c:v>
                </c:pt>
                <c:pt idx="97">
                  <c:v>Roederer</c:v>
                </c:pt>
                <c:pt idx="98">
                  <c:v>Bollinger</c:v>
                </c:pt>
                <c:pt idx="99">
                  <c:v>De Venoge</c:v>
                </c:pt>
                <c:pt idx="100">
                  <c:v>Lanson</c:v>
                </c:pt>
                <c:pt idx="101">
                  <c:v>All Others</c:v>
                </c:pt>
                <c:pt idx="102">
                  <c:v>All Others</c:v>
                </c:pt>
                <c:pt idx="103">
                  <c:v>All Others</c:v>
                </c:pt>
                <c:pt idx="104">
                  <c:v>Demoiselle</c:v>
                </c:pt>
                <c:pt idx="105">
                  <c:v>Ayala</c:v>
                </c:pt>
                <c:pt idx="106">
                  <c:v>Veuve Clicq</c:v>
                </c:pt>
                <c:pt idx="107">
                  <c:v>Besserat De</c:v>
                </c:pt>
                <c:pt idx="108">
                  <c:v>Martel</c:v>
                </c:pt>
              </c:strCache>
            </c:strRef>
          </c:cat>
          <c:val>
            <c:numRef>
              <c:f>Sheet1!$C$2:$C$110</c:f>
              <c:numCache>
                <c:formatCode>General</c:formatCode>
                <c:ptCount val="109"/>
                <c:pt idx="0">
                  <c:v>0.1446644260996981</c:v>
                </c:pt>
                <c:pt idx="1">
                  <c:v>0.26144863686007969</c:v>
                </c:pt>
                <c:pt idx="2">
                  <c:v>0.34045028118749665</c:v>
                </c:pt>
                <c:pt idx="3">
                  <c:v>0.39723877747981845</c:v>
                </c:pt>
                <c:pt idx="4">
                  <c:v>0.44142596166008341</c:v>
                </c:pt>
                <c:pt idx="5">
                  <c:v>0.48497204874417166</c:v>
                </c:pt>
                <c:pt idx="6">
                  <c:v>0.51566558296229603</c:v>
                </c:pt>
                <c:pt idx="7">
                  <c:v>0.54467667047667023</c:v>
                </c:pt>
                <c:pt idx="8">
                  <c:v>0.57321242203595124</c:v>
                </c:pt>
                <c:pt idx="9">
                  <c:v>0.59907116004498084</c:v>
                </c:pt>
                <c:pt idx="10">
                  <c:v>0.62365983272563885</c:v>
                </c:pt>
                <c:pt idx="11">
                  <c:v>0.64816360335842482</c:v>
                </c:pt>
                <c:pt idx="12">
                  <c:v>0.67178023422569055</c:v>
                </c:pt>
                <c:pt idx="13">
                  <c:v>0.69453744844510867</c:v>
                </c:pt>
                <c:pt idx="14">
                  <c:v>0.71265854879875168</c:v>
                </c:pt>
                <c:pt idx="15">
                  <c:v>0.72994160240775297</c:v>
                </c:pt>
                <c:pt idx="16">
                  <c:v>0.7440301442699494</c:v>
                </c:pt>
                <c:pt idx="17">
                  <c:v>0.75779813758405756</c:v>
                </c:pt>
                <c:pt idx="18">
                  <c:v>0.77116472325686591</c:v>
                </c:pt>
                <c:pt idx="19">
                  <c:v>0.78426331879217337</c:v>
                </c:pt>
                <c:pt idx="20">
                  <c:v>0.79723485003814842</c:v>
                </c:pt>
                <c:pt idx="21">
                  <c:v>0.80985984231321717</c:v>
                </c:pt>
                <c:pt idx="22">
                  <c:v>0.82185297853133343</c:v>
                </c:pt>
                <c:pt idx="23">
                  <c:v>0.83329165239599956</c:v>
                </c:pt>
                <c:pt idx="24">
                  <c:v>0.84220116933800104</c:v>
                </c:pt>
                <c:pt idx="25">
                  <c:v>0.8509830444257187</c:v>
                </c:pt>
                <c:pt idx="26">
                  <c:v>0.85922893923843457</c:v>
                </c:pt>
                <c:pt idx="27">
                  <c:v>0.86719355991976488</c:v>
                </c:pt>
                <c:pt idx="28">
                  <c:v>0.87477583260319514</c:v>
                </c:pt>
                <c:pt idx="29">
                  <c:v>0.88233095973390441</c:v>
                </c:pt>
                <c:pt idx="30">
                  <c:v>0.88905439333443859</c:v>
                </c:pt>
                <c:pt idx="31">
                  <c:v>0.8952326056207468</c:v>
                </c:pt>
                <c:pt idx="32">
                  <c:v>0.90109777770333632</c:v>
                </c:pt>
                <c:pt idx="33">
                  <c:v>0.90678274952105453</c:v>
                </c:pt>
                <c:pt idx="34">
                  <c:v>0.91217489590835688</c:v>
                </c:pt>
                <c:pt idx="35">
                  <c:v>0.91747116651370852</c:v>
                </c:pt>
                <c:pt idx="36">
                  <c:v>0.9225312130538923</c:v>
                </c:pt>
                <c:pt idx="37">
                  <c:v>0.9274861427729012</c:v>
                </c:pt>
                <c:pt idx="38">
                  <c:v>0.93229494855917794</c:v>
                </c:pt>
                <c:pt idx="39">
                  <c:v>0.93681208404494187</c:v>
                </c:pt>
                <c:pt idx="40">
                  <c:v>0.94105025565912614</c:v>
                </c:pt>
                <c:pt idx="41">
                  <c:v>0.9450042653171673</c:v>
                </c:pt>
                <c:pt idx="42">
                  <c:v>0.94889127744083324</c:v>
                </c:pt>
                <c:pt idx="43">
                  <c:v>0.95260213225428847</c:v>
                </c:pt>
                <c:pt idx="44">
                  <c:v>0.95594392306372844</c:v>
                </c:pt>
                <c:pt idx="45">
                  <c:v>0.95899808652731611</c:v>
                </c:pt>
                <c:pt idx="46">
                  <c:v>0.96178888037301502</c:v>
                </c:pt>
                <c:pt idx="47">
                  <c:v>0.96448668626152068</c:v>
                </c:pt>
                <c:pt idx="48">
                  <c:v>0.96709554714749379</c:v>
                </c:pt>
                <c:pt idx="49">
                  <c:v>0.96948089039723229</c:v>
                </c:pt>
                <c:pt idx="50">
                  <c:v>0.9716121050683062</c:v>
                </c:pt>
                <c:pt idx="51">
                  <c:v>0.97370231262782281</c:v>
                </c:pt>
                <c:pt idx="52">
                  <c:v>0.97552972813440209</c:v>
                </c:pt>
                <c:pt idx="53">
                  <c:v>0.9772012011040736</c:v>
                </c:pt>
                <c:pt idx="54">
                  <c:v>0.97877506559693983</c:v>
                </c:pt>
                <c:pt idx="55">
                  <c:v>0.98027557934096421</c:v>
                </c:pt>
                <c:pt idx="56">
                  <c:v>0.98171256094032244</c:v>
                </c:pt>
                <c:pt idx="57">
                  <c:v>0.98307965718054791</c:v>
                </c:pt>
                <c:pt idx="58">
                  <c:v>0.98422092552473273</c:v>
                </c:pt>
                <c:pt idx="59">
                  <c:v>0.98527209373648195</c:v>
                </c:pt>
                <c:pt idx="60">
                  <c:v>0.9862516438942438</c:v>
                </c:pt>
                <c:pt idx="61">
                  <c:v>0.98715784330316381</c:v>
                </c:pt>
                <c:pt idx="62">
                  <c:v>0.98803862985421742</c:v>
                </c:pt>
                <c:pt idx="63">
                  <c:v>0.98875076743942991</c:v>
                </c:pt>
                <c:pt idx="64">
                  <c:v>0.98943287164716387</c:v>
                </c:pt>
                <c:pt idx="65">
                  <c:v>0.99007050335363145</c:v>
                </c:pt>
                <c:pt idx="66">
                  <c:v>0.99066655038359031</c:v>
                </c:pt>
                <c:pt idx="67">
                  <c:v>0.99126086471869468</c:v>
                </c:pt>
                <c:pt idx="68">
                  <c:v>0.99181879246185389</c:v>
                </c:pt>
                <c:pt idx="69">
                  <c:v>0.9923669016008374</c:v>
                </c:pt>
                <c:pt idx="70">
                  <c:v>0.9929109677851603</c:v>
                </c:pt>
                <c:pt idx="71">
                  <c:v>0.99343077624151976</c:v>
                </c:pt>
                <c:pt idx="72">
                  <c:v>0.99394307635350965</c:v>
                </c:pt>
                <c:pt idx="73">
                  <c:v>0.99443169630248751</c:v>
                </c:pt>
                <c:pt idx="74">
                  <c:v>0.99480942378077541</c:v>
                </c:pt>
                <c:pt idx="75">
                  <c:v>0.99516751405071191</c:v>
                </c:pt>
                <c:pt idx="76">
                  <c:v>0.99552502675569698</c:v>
                </c:pt>
                <c:pt idx="77">
                  <c:v>0.99584210991407629</c:v>
                </c:pt>
                <c:pt idx="78">
                  <c:v>0.99615283985798897</c:v>
                </c:pt>
                <c:pt idx="79">
                  <c:v>0.99646241467199859</c:v>
                </c:pt>
                <c:pt idx="80">
                  <c:v>0.99676159331688108</c:v>
                </c:pt>
                <c:pt idx="81">
                  <c:v>0.99703016101933351</c:v>
                </c:pt>
                <c:pt idx="82">
                  <c:v>0.99729006524751329</c:v>
                </c:pt>
                <c:pt idx="83">
                  <c:v>0.99753264252714768</c:v>
                </c:pt>
                <c:pt idx="84">
                  <c:v>0.99773479026017642</c:v>
                </c:pt>
                <c:pt idx="85">
                  <c:v>0.99793636042825362</c:v>
                </c:pt>
                <c:pt idx="86">
                  <c:v>0.99812753442720359</c:v>
                </c:pt>
                <c:pt idx="87">
                  <c:v>0.99831813086120202</c:v>
                </c:pt>
                <c:pt idx="88">
                  <c:v>0.99850121895083088</c:v>
                </c:pt>
                <c:pt idx="89">
                  <c:v>0.99866062687744783</c:v>
                </c:pt>
                <c:pt idx="90">
                  <c:v>0.99881310402464663</c:v>
                </c:pt>
                <c:pt idx="91">
                  <c:v>0.99896269334708787</c:v>
                </c:pt>
                <c:pt idx="92">
                  <c:v>0.99911112753962605</c:v>
                </c:pt>
                <c:pt idx="93">
                  <c:v>0.99925840660226128</c:v>
                </c:pt>
                <c:pt idx="94">
                  <c:v>0.99938778115139959</c:v>
                </c:pt>
                <c:pt idx="95">
                  <c:v>0.99948943258286549</c:v>
                </c:pt>
                <c:pt idx="96">
                  <c:v>0.99957895515034967</c:v>
                </c:pt>
                <c:pt idx="97">
                  <c:v>0.99964710781462796</c:v>
                </c:pt>
                <c:pt idx="98">
                  <c:v>0.99970139892006993</c:v>
                </c:pt>
                <c:pt idx="99">
                  <c:v>0.99975337976570589</c:v>
                </c:pt>
                <c:pt idx="100">
                  <c:v>0.99979496444221461</c:v>
                </c:pt>
                <c:pt idx="101">
                  <c:v>0.99983366129396578</c:v>
                </c:pt>
                <c:pt idx="102">
                  <c:v>0.99986658249620186</c:v>
                </c:pt>
                <c:pt idx="103">
                  <c:v>0.99989892613348641</c:v>
                </c:pt>
                <c:pt idx="104">
                  <c:v>0.99992433899135291</c:v>
                </c:pt>
                <c:pt idx="105">
                  <c:v>0.99994801915436482</c:v>
                </c:pt>
                <c:pt idx="106">
                  <c:v>0.99996881149261918</c:v>
                </c:pt>
                <c:pt idx="107">
                  <c:v>0.99998556087621293</c:v>
                </c:pt>
                <c:pt idx="108">
                  <c:v>1.0000000000000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9</c:f>
              <c:strCache>
                <c:ptCount val="108"/>
                <c:pt idx="0">
                  <c:v>Ruinart</c:v>
                </c:pt>
                <c:pt idx="1">
                  <c:v>Nicolas</c:v>
                </c:pt>
                <c:pt idx="2">
                  <c:v>Deutz</c:v>
                </c:pt>
                <c:pt idx="3">
                  <c:v>Heidsieck &amp;</c:v>
                </c:pt>
                <c:pt idx="4">
                  <c:v>De Bligny</c:v>
                </c:pt>
                <c:pt idx="5">
                  <c:v>Laurent Per</c:v>
                </c:pt>
                <c:pt idx="6">
                  <c:v>Ayala</c:v>
                </c:pt>
                <c:pt idx="7">
                  <c:v>Canard Duch</c:v>
                </c:pt>
                <c:pt idx="8">
                  <c:v>Bollinger</c:v>
                </c:pt>
                <c:pt idx="9">
                  <c:v>Besserat De</c:v>
                </c:pt>
                <c:pt idx="10">
                  <c:v>Taittinger</c:v>
                </c:pt>
                <c:pt idx="11">
                  <c:v>Ruinart</c:v>
                </c:pt>
                <c:pt idx="12">
                  <c:v>Ruinart</c:v>
                </c:pt>
                <c:pt idx="13">
                  <c:v>Deutz</c:v>
                </c:pt>
                <c:pt idx="14">
                  <c:v>Demoiselle</c:v>
                </c:pt>
                <c:pt idx="15">
                  <c:v>All Others</c:v>
                </c:pt>
                <c:pt idx="16">
                  <c:v>Perrier Jou</c:v>
                </c:pt>
                <c:pt idx="17">
                  <c:v>Savian</c:v>
                </c:pt>
                <c:pt idx="18">
                  <c:v>Laurent Per</c:v>
                </c:pt>
                <c:pt idx="19">
                  <c:v>Moët &amp; Chan</c:v>
                </c:pt>
                <c:pt idx="20">
                  <c:v>Taittinger</c:v>
                </c:pt>
                <c:pt idx="21">
                  <c:v>Roederer</c:v>
                </c:pt>
                <c:pt idx="22">
                  <c:v>Campari: Al</c:v>
                </c:pt>
                <c:pt idx="23">
                  <c:v>Roederer</c:v>
                </c:pt>
                <c:pt idx="24">
                  <c:v>Pommery</c:v>
                </c:pt>
                <c:pt idx="25">
                  <c:v>Veuve Clicq</c:v>
                </c:pt>
                <c:pt idx="26">
                  <c:v>Nicolas</c:v>
                </c:pt>
                <c:pt idx="27">
                  <c:v>Veuve Clicq</c:v>
                </c:pt>
                <c:pt idx="28">
                  <c:v>All Others</c:v>
                </c:pt>
                <c:pt idx="29">
                  <c:v>Henriot</c:v>
                </c:pt>
                <c:pt idx="30">
                  <c:v>Bollinger</c:v>
                </c:pt>
                <c:pt idx="31">
                  <c:v>Nicolas</c:v>
                </c:pt>
                <c:pt idx="32">
                  <c:v>Campari: Al</c:v>
                </c:pt>
                <c:pt idx="33">
                  <c:v>Roederer</c:v>
                </c:pt>
                <c:pt idx="34">
                  <c:v>Nicolas Feu</c:v>
                </c:pt>
                <c:pt idx="35">
                  <c:v>Lanson</c:v>
                </c:pt>
                <c:pt idx="36">
                  <c:v>Krug</c:v>
                </c:pt>
                <c:pt idx="37">
                  <c:v>Ruinart</c:v>
                </c:pt>
                <c:pt idx="38">
                  <c:v>Roederer</c:v>
                </c:pt>
                <c:pt idx="39">
                  <c:v>Veuve Clicq</c:v>
                </c:pt>
                <c:pt idx="40">
                  <c:v>Canard Duch</c:v>
                </c:pt>
                <c:pt idx="41">
                  <c:v>Piper Heids</c:v>
                </c:pt>
                <c:pt idx="42">
                  <c:v>Deutz</c:v>
                </c:pt>
                <c:pt idx="43">
                  <c:v>Canard Duch</c:v>
                </c:pt>
                <c:pt idx="44">
                  <c:v>De Venoge</c:v>
                </c:pt>
                <c:pt idx="45">
                  <c:v>Vranken</c:v>
                </c:pt>
                <c:pt idx="46">
                  <c:v>Canard Duch</c:v>
                </c:pt>
                <c:pt idx="47">
                  <c:v>De Venoge</c:v>
                </c:pt>
                <c:pt idx="48">
                  <c:v>Ruinart</c:v>
                </c:pt>
                <c:pt idx="49">
                  <c:v>Canard Duch</c:v>
                </c:pt>
                <c:pt idx="50">
                  <c:v>Ruinart</c:v>
                </c:pt>
                <c:pt idx="51">
                  <c:v>Nicolas</c:v>
                </c:pt>
                <c:pt idx="52">
                  <c:v>All Others</c:v>
                </c:pt>
                <c:pt idx="53">
                  <c:v>All Others</c:v>
                </c:pt>
                <c:pt idx="54">
                  <c:v>Veuve Clicq</c:v>
                </c:pt>
                <c:pt idx="55">
                  <c:v>Henriot</c:v>
                </c:pt>
                <c:pt idx="56">
                  <c:v>Laurent Per</c:v>
                </c:pt>
                <c:pt idx="57">
                  <c:v>Nicolas</c:v>
                </c:pt>
                <c:pt idx="58">
                  <c:v>Canard Duch</c:v>
                </c:pt>
                <c:pt idx="59">
                  <c:v>Moët &amp; Chan</c:v>
                </c:pt>
                <c:pt idx="60">
                  <c:v>Moët &amp; Chan</c:v>
                </c:pt>
                <c:pt idx="61">
                  <c:v>All Others</c:v>
                </c:pt>
                <c:pt idx="62">
                  <c:v>Laurent Per</c:v>
                </c:pt>
                <c:pt idx="63">
                  <c:v>Roederer</c:v>
                </c:pt>
                <c:pt idx="64">
                  <c:v>Ruinart</c:v>
                </c:pt>
                <c:pt idx="65">
                  <c:v>Nicolas</c:v>
                </c:pt>
                <c:pt idx="66">
                  <c:v>Ruinart</c:v>
                </c:pt>
                <c:pt idx="67">
                  <c:v>Demoiselle</c:v>
                </c:pt>
                <c:pt idx="68">
                  <c:v>De Venoge</c:v>
                </c:pt>
                <c:pt idx="69">
                  <c:v>Roederer</c:v>
                </c:pt>
                <c:pt idx="70">
                  <c:v>Moët &amp; Chan</c:v>
                </c:pt>
                <c:pt idx="71">
                  <c:v>Demoiselle</c:v>
                </c:pt>
                <c:pt idx="72">
                  <c:v>All Others</c:v>
                </c:pt>
                <c:pt idx="73">
                  <c:v>Pommery</c:v>
                </c:pt>
                <c:pt idx="74">
                  <c:v>Pommery</c:v>
                </c:pt>
                <c:pt idx="75">
                  <c:v>Bollinger</c:v>
                </c:pt>
                <c:pt idx="76">
                  <c:v>All Others</c:v>
                </c:pt>
                <c:pt idx="77">
                  <c:v>Vranken</c:v>
                </c:pt>
                <c:pt idx="78">
                  <c:v>Pommery</c:v>
                </c:pt>
                <c:pt idx="79">
                  <c:v>De Venoge</c:v>
                </c:pt>
                <c:pt idx="80">
                  <c:v>Deutz</c:v>
                </c:pt>
                <c:pt idx="81">
                  <c:v>Deutz</c:v>
                </c:pt>
                <c:pt idx="82">
                  <c:v>Pommery</c:v>
                </c:pt>
                <c:pt idx="83">
                  <c:v>Roederer</c:v>
                </c:pt>
                <c:pt idx="84">
                  <c:v>Laurent Per</c:v>
                </c:pt>
                <c:pt idx="85">
                  <c:v>Roederer</c:v>
                </c:pt>
                <c:pt idx="86">
                  <c:v>Roederer</c:v>
                </c:pt>
                <c:pt idx="87">
                  <c:v>Moët &amp; Chan</c:v>
                </c:pt>
                <c:pt idx="88">
                  <c:v>All Others</c:v>
                </c:pt>
                <c:pt idx="89">
                  <c:v>Henriot</c:v>
                </c:pt>
                <c:pt idx="90">
                  <c:v>Piper Heids</c:v>
                </c:pt>
                <c:pt idx="91">
                  <c:v>Pommery</c:v>
                </c:pt>
                <c:pt idx="92">
                  <c:v>Nicolas</c:v>
                </c:pt>
                <c:pt idx="93">
                  <c:v>Martel</c:v>
                </c:pt>
                <c:pt idx="94">
                  <c:v>Canard Duch</c:v>
                </c:pt>
                <c:pt idx="95">
                  <c:v>Nicolas Feu</c:v>
                </c:pt>
                <c:pt idx="96">
                  <c:v>All Others</c:v>
                </c:pt>
                <c:pt idx="97">
                  <c:v>Nicolas Feu</c:v>
                </c:pt>
                <c:pt idx="98">
                  <c:v>Bollinger</c:v>
                </c:pt>
                <c:pt idx="99">
                  <c:v>Demoiselle</c:v>
                </c:pt>
                <c:pt idx="100">
                  <c:v>Nicolas Feu</c:v>
                </c:pt>
                <c:pt idx="101">
                  <c:v>Roederer</c:v>
                </c:pt>
                <c:pt idx="102">
                  <c:v>Laurent Per</c:v>
                </c:pt>
                <c:pt idx="103">
                  <c:v>Roederer</c:v>
                </c:pt>
                <c:pt idx="104">
                  <c:v>Roederer</c:v>
                </c:pt>
                <c:pt idx="105">
                  <c:v>Roederer</c:v>
                </c:pt>
                <c:pt idx="106">
                  <c:v>Pommery</c:v>
                </c:pt>
                <c:pt idx="107">
                  <c:v>Besserat De</c:v>
                </c:pt>
              </c:strCache>
            </c:strRef>
          </c:cat>
          <c:val>
            <c:numRef>
              <c:f>Sheet1!$B$2:$B$109</c:f>
              <c:numCache>
                <c:formatCode>General</c:formatCode>
                <c:ptCount val="108"/>
                <c:pt idx="0">
                  <c:v>1</c:v>
                </c:pt>
                <c:pt idx="1">
                  <c:v>1</c:v>
                </c:pt>
                <c:pt idx="2">
                  <c:v>1</c:v>
                </c:pt>
                <c:pt idx="3">
                  <c:v>0.89</c:v>
                </c:pt>
                <c:pt idx="4">
                  <c:v>0.98</c:v>
                </c:pt>
                <c:pt idx="5">
                  <c:v>0.96</c:v>
                </c:pt>
                <c:pt idx="6">
                  <c:v>0.84</c:v>
                </c:pt>
                <c:pt idx="7">
                  <c:v>1</c:v>
                </c:pt>
                <c:pt idx="8">
                  <c:v>0.91</c:v>
                </c:pt>
                <c:pt idx="9">
                  <c:v>0.92</c:v>
                </c:pt>
                <c:pt idx="10">
                  <c:v>0.87</c:v>
                </c:pt>
                <c:pt idx="11">
                  <c:v>0.77</c:v>
                </c:pt>
                <c:pt idx="12">
                  <c:v>0.75</c:v>
                </c:pt>
                <c:pt idx="13">
                  <c:v>0.7</c:v>
                </c:pt>
                <c:pt idx="14">
                  <c:v>0.8</c:v>
                </c:pt>
                <c:pt idx="15">
                  <c:v>0.8</c:v>
                </c:pt>
                <c:pt idx="16">
                  <c:v>0.77</c:v>
                </c:pt>
                <c:pt idx="17">
                  <c:v>0.76</c:v>
                </c:pt>
                <c:pt idx="18">
                  <c:v>0.73</c:v>
                </c:pt>
                <c:pt idx="19">
                  <c:v>0.71</c:v>
                </c:pt>
                <c:pt idx="20">
                  <c:v>0.51</c:v>
                </c:pt>
                <c:pt idx="21">
                  <c:v>0.5</c:v>
                </c:pt>
                <c:pt idx="22">
                  <c:v>0.54</c:v>
                </c:pt>
                <c:pt idx="23">
                  <c:v>0.6</c:v>
                </c:pt>
                <c:pt idx="24">
                  <c:v>0.7</c:v>
                </c:pt>
                <c:pt idx="25">
                  <c:v>0.49</c:v>
                </c:pt>
                <c:pt idx="26">
                  <c:v>0.52</c:v>
                </c:pt>
                <c:pt idx="27">
                  <c:v>0.63</c:v>
                </c:pt>
                <c:pt idx="28">
                  <c:v>0.55000000000000004</c:v>
                </c:pt>
                <c:pt idx="29">
                  <c:v>0.53</c:v>
                </c:pt>
                <c:pt idx="30">
                  <c:v>0.4</c:v>
                </c:pt>
                <c:pt idx="31">
                  <c:v>0.49</c:v>
                </c:pt>
                <c:pt idx="32">
                  <c:v>0.36</c:v>
                </c:pt>
                <c:pt idx="33">
                  <c:v>0.31</c:v>
                </c:pt>
                <c:pt idx="34">
                  <c:v>0.51</c:v>
                </c:pt>
                <c:pt idx="35">
                  <c:v>0.56000000000000005</c:v>
                </c:pt>
                <c:pt idx="36">
                  <c:v>0.18</c:v>
                </c:pt>
                <c:pt idx="37">
                  <c:v>0.44</c:v>
                </c:pt>
                <c:pt idx="38">
                  <c:v>0.59</c:v>
                </c:pt>
                <c:pt idx="39">
                  <c:v>0.3</c:v>
                </c:pt>
                <c:pt idx="40">
                  <c:v>0.36</c:v>
                </c:pt>
                <c:pt idx="41">
                  <c:v>0.4</c:v>
                </c:pt>
                <c:pt idx="42">
                  <c:v>0.62</c:v>
                </c:pt>
                <c:pt idx="43">
                  <c:v>0.32</c:v>
                </c:pt>
                <c:pt idx="44">
                  <c:v>0.34</c:v>
                </c:pt>
                <c:pt idx="45">
                  <c:v>0.22</c:v>
                </c:pt>
                <c:pt idx="46">
                  <c:v>0.14000000000000001</c:v>
                </c:pt>
                <c:pt idx="47">
                  <c:v>0.28000000000000003</c:v>
                </c:pt>
                <c:pt idx="48">
                  <c:v>0.59</c:v>
                </c:pt>
                <c:pt idx="49">
                  <c:v>0.53</c:v>
                </c:pt>
                <c:pt idx="50">
                  <c:v>0.27</c:v>
                </c:pt>
                <c:pt idx="51">
                  <c:v>0.37</c:v>
                </c:pt>
                <c:pt idx="52">
                  <c:v>0.24</c:v>
                </c:pt>
                <c:pt idx="53">
                  <c:v>0.17</c:v>
                </c:pt>
                <c:pt idx="54">
                  <c:v>0.13</c:v>
                </c:pt>
                <c:pt idx="55">
                  <c:v>0.28000000000000003</c:v>
                </c:pt>
                <c:pt idx="56">
                  <c:v>0.15</c:v>
                </c:pt>
                <c:pt idx="57">
                  <c:v>0.32</c:v>
                </c:pt>
                <c:pt idx="58">
                  <c:v>0.35</c:v>
                </c:pt>
                <c:pt idx="59">
                  <c:v>0.18</c:v>
                </c:pt>
                <c:pt idx="60">
                  <c:v>0.39</c:v>
                </c:pt>
                <c:pt idx="61">
                  <c:v>0.26</c:v>
                </c:pt>
                <c:pt idx="62">
                  <c:v>0.14000000000000001</c:v>
                </c:pt>
                <c:pt idx="63">
                  <c:v>0.31</c:v>
                </c:pt>
                <c:pt idx="64">
                  <c:v>0.15</c:v>
                </c:pt>
                <c:pt idx="65">
                  <c:v>0.43</c:v>
                </c:pt>
                <c:pt idx="66">
                  <c:v>0.17</c:v>
                </c:pt>
                <c:pt idx="67">
                  <c:v>0.21</c:v>
                </c:pt>
                <c:pt idx="68">
                  <c:v>0.17</c:v>
                </c:pt>
                <c:pt idx="69">
                  <c:v>0.15</c:v>
                </c:pt>
                <c:pt idx="70">
                  <c:v>0.22</c:v>
                </c:pt>
                <c:pt idx="71">
                  <c:v>0.18</c:v>
                </c:pt>
                <c:pt idx="72">
                  <c:v>0.13</c:v>
                </c:pt>
                <c:pt idx="73">
                  <c:v>0.19</c:v>
                </c:pt>
                <c:pt idx="74">
                  <c:v>0.21</c:v>
                </c:pt>
                <c:pt idx="75">
                  <c:v>0.12</c:v>
                </c:pt>
                <c:pt idx="76">
                  <c:v>0.15</c:v>
                </c:pt>
                <c:pt idx="77">
                  <c:v>0.12</c:v>
                </c:pt>
                <c:pt idx="78">
                  <c:v>0.15</c:v>
                </c:pt>
                <c:pt idx="79">
                  <c:v>7.0000000000000007E-2</c:v>
                </c:pt>
                <c:pt idx="80">
                  <c:v>0.18</c:v>
                </c:pt>
                <c:pt idx="81">
                  <c:v>0.03</c:v>
                </c:pt>
                <c:pt idx="82">
                  <c:v>0.18</c:v>
                </c:pt>
                <c:pt idx="83">
                  <c:v>0.11</c:v>
                </c:pt>
                <c:pt idx="84">
                  <c:v>0.21</c:v>
                </c:pt>
                <c:pt idx="85">
                  <c:v>7.0000000000000007E-2</c:v>
                </c:pt>
                <c:pt idx="86">
                  <c:v>0.17</c:v>
                </c:pt>
                <c:pt idx="87">
                  <c:v>0.17</c:v>
                </c:pt>
                <c:pt idx="88">
                  <c:v>0.05</c:v>
                </c:pt>
                <c:pt idx="89">
                  <c:v>7.0000000000000007E-2</c:v>
                </c:pt>
                <c:pt idx="90">
                  <c:v>0.1</c:v>
                </c:pt>
                <c:pt idx="91">
                  <c:v>0.15</c:v>
                </c:pt>
                <c:pt idx="92">
                  <c:v>0.11</c:v>
                </c:pt>
                <c:pt idx="93">
                  <c:v>0.14000000000000001</c:v>
                </c:pt>
                <c:pt idx="94">
                  <c:v>0.09</c:v>
                </c:pt>
                <c:pt idx="95">
                  <c:v>0.06</c:v>
                </c:pt>
                <c:pt idx="96">
                  <c:v>0.06</c:v>
                </c:pt>
                <c:pt idx="97">
                  <c:v>0.16</c:v>
                </c:pt>
                <c:pt idx="98">
                  <c:v>0.12</c:v>
                </c:pt>
                <c:pt idx="99">
                  <c:v>0.13</c:v>
                </c:pt>
                <c:pt idx="100">
                  <c:v>0.02</c:v>
                </c:pt>
                <c:pt idx="101">
                  <c:v>0.05</c:v>
                </c:pt>
                <c:pt idx="102">
                  <c:v>0.03</c:v>
                </c:pt>
                <c:pt idx="103">
                  <c:v>0.03</c:v>
                </c:pt>
                <c:pt idx="104">
                  <c:v>0.09</c:v>
                </c:pt>
                <c:pt idx="105">
                  <c:v>0.02</c:v>
                </c:pt>
                <c:pt idx="106">
                  <c:v>0.03</c:v>
                </c:pt>
                <c:pt idx="107">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9</c:f>
              <c:strCache>
                <c:ptCount val="108"/>
                <c:pt idx="0">
                  <c:v>Ruinart</c:v>
                </c:pt>
                <c:pt idx="1">
                  <c:v>Nicolas</c:v>
                </c:pt>
                <c:pt idx="2">
                  <c:v>Deutz</c:v>
                </c:pt>
                <c:pt idx="3">
                  <c:v>Heidsieck &amp;</c:v>
                </c:pt>
                <c:pt idx="4">
                  <c:v>De Bligny</c:v>
                </c:pt>
                <c:pt idx="5">
                  <c:v>Laurent Per</c:v>
                </c:pt>
                <c:pt idx="6">
                  <c:v>Ayala</c:v>
                </c:pt>
                <c:pt idx="7">
                  <c:v>Canard Duch</c:v>
                </c:pt>
                <c:pt idx="8">
                  <c:v>Bollinger</c:v>
                </c:pt>
                <c:pt idx="9">
                  <c:v>Besserat De</c:v>
                </c:pt>
                <c:pt idx="10">
                  <c:v>Taittinger</c:v>
                </c:pt>
                <c:pt idx="11">
                  <c:v>Ruinart</c:v>
                </c:pt>
                <c:pt idx="12">
                  <c:v>Ruinart</c:v>
                </c:pt>
                <c:pt idx="13">
                  <c:v>Deutz</c:v>
                </c:pt>
                <c:pt idx="14">
                  <c:v>Demoiselle</c:v>
                </c:pt>
                <c:pt idx="15">
                  <c:v>All Others</c:v>
                </c:pt>
                <c:pt idx="16">
                  <c:v>Perrier Jou</c:v>
                </c:pt>
                <c:pt idx="17">
                  <c:v>Savian</c:v>
                </c:pt>
                <c:pt idx="18">
                  <c:v>Laurent Per</c:v>
                </c:pt>
                <c:pt idx="19">
                  <c:v>Moët &amp; Chan</c:v>
                </c:pt>
                <c:pt idx="20">
                  <c:v>Taittinger</c:v>
                </c:pt>
                <c:pt idx="21">
                  <c:v>Roederer</c:v>
                </c:pt>
                <c:pt idx="22">
                  <c:v>Campari: Al</c:v>
                </c:pt>
                <c:pt idx="23">
                  <c:v>Roederer</c:v>
                </c:pt>
                <c:pt idx="24">
                  <c:v>Pommery</c:v>
                </c:pt>
                <c:pt idx="25">
                  <c:v>Veuve Clicq</c:v>
                </c:pt>
                <c:pt idx="26">
                  <c:v>Nicolas</c:v>
                </c:pt>
                <c:pt idx="27">
                  <c:v>Veuve Clicq</c:v>
                </c:pt>
                <c:pt idx="28">
                  <c:v>All Others</c:v>
                </c:pt>
                <c:pt idx="29">
                  <c:v>Henriot</c:v>
                </c:pt>
                <c:pt idx="30">
                  <c:v>Bollinger</c:v>
                </c:pt>
                <c:pt idx="31">
                  <c:v>Nicolas</c:v>
                </c:pt>
                <c:pt idx="32">
                  <c:v>Campari: Al</c:v>
                </c:pt>
                <c:pt idx="33">
                  <c:v>Roederer</c:v>
                </c:pt>
                <c:pt idx="34">
                  <c:v>Nicolas Feu</c:v>
                </c:pt>
                <c:pt idx="35">
                  <c:v>Lanson</c:v>
                </c:pt>
                <c:pt idx="36">
                  <c:v>Krug</c:v>
                </c:pt>
                <c:pt idx="37">
                  <c:v>Ruinart</c:v>
                </c:pt>
                <c:pt idx="38">
                  <c:v>Roederer</c:v>
                </c:pt>
                <c:pt idx="39">
                  <c:v>Veuve Clicq</c:v>
                </c:pt>
                <c:pt idx="40">
                  <c:v>Canard Duch</c:v>
                </c:pt>
                <c:pt idx="41">
                  <c:v>Piper Heids</c:v>
                </c:pt>
                <c:pt idx="42">
                  <c:v>Deutz</c:v>
                </c:pt>
                <c:pt idx="43">
                  <c:v>Canard Duch</c:v>
                </c:pt>
                <c:pt idx="44">
                  <c:v>De Venoge</c:v>
                </c:pt>
                <c:pt idx="45">
                  <c:v>Vranken</c:v>
                </c:pt>
                <c:pt idx="46">
                  <c:v>Canard Duch</c:v>
                </c:pt>
                <c:pt idx="47">
                  <c:v>De Venoge</c:v>
                </c:pt>
                <c:pt idx="48">
                  <c:v>Ruinart</c:v>
                </c:pt>
                <c:pt idx="49">
                  <c:v>Canard Duch</c:v>
                </c:pt>
                <c:pt idx="50">
                  <c:v>Ruinart</c:v>
                </c:pt>
                <c:pt idx="51">
                  <c:v>Nicolas</c:v>
                </c:pt>
                <c:pt idx="52">
                  <c:v>All Others</c:v>
                </c:pt>
                <c:pt idx="53">
                  <c:v>All Others</c:v>
                </c:pt>
                <c:pt idx="54">
                  <c:v>Veuve Clicq</c:v>
                </c:pt>
                <c:pt idx="55">
                  <c:v>Henriot</c:v>
                </c:pt>
                <c:pt idx="56">
                  <c:v>Laurent Per</c:v>
                </c:pt>
                <c:pt idx="57">
                  <c:v>Nicolas</c:v>
                </c:pt>
                <c:pt idx="58">
                  <c:v>Canard Duch</c:v>
                </c:pt>
                <c:pt idx="59">
                  <c:v>Moët &amp; Chan</c:v>
                </c:pt>
                <c:pt idx="60">
                  <c:v>Moët &amp; Chan</c:v>
                </c:pt>
                <c:pt idx="61">
                  <c:v>All Others</c:v>
                </c:pt>
                <c:pt idx="62">
                  <c:v>Laurent Per</c:v>
                </c:pt>
                <c:pt idx="63">
                  <c:v>Roederer</c:v>
                </c:pt>
                <c:pt idx="64">
                  <c:v>Ruinart</c:v>
                </c:pt>
                <c:pt idx="65">
                  <c:v>Nicolas</c:v>
                </c:pt>
                <c:pt idx="66">
                  <c:v>Ruinart</c:v>
                </c:pt>
                <c:pt idx="67">
                  <c:v>Demoiselle</c:v>
                </c:pt>
                <c:pt idx="68">
                  <c:v>De Venoge</c:v>
                </c:pt>
                <c:pt idx="69">
                  <c:v>Roederer</c:v>
                </c:pt>
                <c:pt idx="70">
                  <c:v>Moët &amp; Chan</c:v>
                </c:pt>
                <c:pt idx="71">
                  <c:v>Demoiselle</c:v>
                </c:pt>
                <c:pt idx="72">
                  <c:v>All Others</c:v>
                </c:pt>
                <c:pt idx="73">
                  <c:v>Pommery</c:v>
                </c:pt>
                <c:pt idx="74">
                  <c:v>Pommery</c:v>
                </c:pt>
                <c:pt idx="75">
                  <c:v>Bollinger</c:v>
                </c:pt>
                <c:pt idx="76">
                  <c:v>All Others</c:v>
                </c:pt>
                <c:pt idx="77">
                  <c:v>Vranken</c:v>
                </c:pt>
                <c:pt idx="78">
                  <c:v>Pommery</c:v>
                </c:pt>
                <c:pt idx="79">
                  <c:v>De Venoge</c:v>
                </c:pt>
                <c:pt idx="80">
                  <c:v>Deutz</c:v>
                </c:pt>
                <c:pt idx="81">
                  <c:v>Deutz</c:v>
                </c:pt>
                <c:pt idx="82">
                  <c:v>Pommery</c:v>
                </c:pt>
                <c:pt idx="83">
                  <c:v>Roederer</c:v>
                </c:pt>
                <c:pt idx="84">
                  <c:v>Laurent Per</c:v>
                </c:pt>
                <c:pt idx="85">
                  <c:v>Roederer</c:v>
                </c:pt>
                <c:pt idx="86">
                  <c:v>Roederer</c:v>
                </c:pt>
                <c:pt idx="87">
                  <c:v>Moët &amp; Chan</c:v>
                </c:pt>
                <c:pt idx="88">
                  <c:v>All Others</c:v>
                </c:pt>
                <c:pt idx="89">
                  <c:v>Henriot</c:v>
                </c:pt>
                <c:pt idx="90">
                  <c:v>Piper Heids</c:v>
                </c:pt>
                <c:pt idx="91">
                  <c:v>Pommery</c:v>
                </c:pt>
                <c:pt idx="92">
                  <c:v>Nicolas</c:v>
                </c:pt>
                <c:pt idx="93">
                  <c:v>Martel</c:v>
                </c:pt>
                <c:pt idx="94">
                  <c:v>Canard Duch</c:v>
                </c:pt>
                <c:pt idx="95">
                  <c:v>Nicolas Feu</c:v>
                </c:pt>
                <c:pt idx="96">
                  <c:v>All Others</c:v>
                </c:pt>
                <c:pt idx="97">
                  <c:v>Nicolas Feu</c:v>
                </c:pt>
                <c:pt idx="98">
                  <c:v>Bollinger</c:v>
                </c:pt>
                <c:pt idx="99">
                  <c:v>Demoiselle</c:v>
                </c:pt>
                <c:pt idx="100">
                  <c:v>Nicolas Feu</c:v>
                </c:pt>
                <c:pt idx="101">
                  <c:v>Roederer</c:v>
                </c:pt>
                <c:pt idx="102">
                  <c:v>Laurent Per</c:v>
                </c:pt>
                <c:pt idx="103">
                  <c:v>Roederer</c:v>
                </c:pt>
                <c:pt idx="104">
                  <c:v>Roederer</c:v>
                </c:pt>
                <c:pt idx="105">
                  <c:v>Roederer</c:v>
                </c:pt>
                <c:pt idx="106">
                  <c:v>Pommery</c:v>
                </c:pt>
                <c:pt idx="107">
                  <c:v>Besserat De</c:v>
                </c:pt>
              </c:strCache>
            </c:strRef>
          </c:cat>
          <c:val>
            <c:numRef>
              <c:f>Sheet1!$C$2:$C$109</c:f>
              <c:numCache>
                <c:formatCode>General</c:formatCode>
                <c:ptCount val="108"/>
                <c:pt idx="0">
                  <c:v>0.1802487518124346</c:v>
                </c:pt>
                <c:pt idx="1">
                  <c:v>0.29354906440901779</c:v>
                </c:pt>
                <c:pt idx="2">
                  <c:v>0.38224733840763414</c:v>
                </c:pt>
                <c:pt idx="3">
                  <c:v>0.44082064190379805</c:v>
                </c:pt>
                <c:pt idx="4">
                  <c:v>0.47822693880180189</c:v>
                </c:pt>
                <c:pt idx="5">
                  <c:v>0.51225023087056942</c:v>
                </c:pt>
                <c:pt idx="6">
                  <c:v>0.54565105500572608</c:v>
                </c:pt>
                <c:pt idx="7">
                  <c:v>0.57835075108033795</c:v>
                </c:pt>
                <c:pt idx="8">
                  <c:v>0.60489575675068019</c:v>
                </c:pt>
                <c:pt idx="9">
                  <c:v>0.63069194278745477</c:v>
                </c:pt>
                <c:pt idx="10">
                  <c:v>0.65608429888122999</c:v>
                </c:pt>
                <c:pt idx="11">
                  <c:v>0.68069500867429189</c:v>
                </c:pt>
                <c:pt idx="12">
                  <c:v>0.70327542007294941</c:v>
                </c:pt>
                <c:pt idx="13">
                  <c:v>0.72583477285494746</c:v>
                </c:pt>
                <c:pt idx="14">
                  <c:v>0.7470104506482026</c:v>
                </c:pt>
                <c:pt idx="15">
                  <c:v>0.76275548282762695</c:v>
                </c:pt>
                <c:pt idx="16">
                  <c:v>0.77758942015099008</c:v>
                </c:pt>
                <c:pt idx="17">
                  <c:v>0.79123416500417132</c:v>
                </c:pt>
                <c:pt idx="18">
                  <c:v>0.8042217571433613</c:v>
                </c:pt>
                <c:pt idx="19">
                  <c:v>0.81562066246691767</c:v>
                </c:pt>
                <c:pt idx="20">
                  <c:v>0.82682942086946054</c:v>
                </c:pt>
                <c:pt idx="21">
                  <c:v>0.83746959662219767</c:v>
                </c:pt>
                <c:pt idx="22">
                  <c:v>0.84773443350153366</c:v>
                </c:pt>
                <c:pt idx="23">
                  <c:v>0.85735512445952111</c:v>
                </c:pt>
                <c:pt idx="24">
                  <c:v>0.86607277238546421</c:v>
                </c:pt>
                <c:pt idx="25">
                  <c:v>0.87336276997611073</c:v>
                </c:pt>
                <c:pt idx="26">
                  <c:v>0.88042298089673776</c:v>
                </c:pt>
                <c:pt idx="27">
                  <c:v>0.88738161496053669</c:v>
                </c:pt>
                <c:pt idx="28">
                  <c:v>0.89340190184083268</c:v>
                </c:pt>
                <c:pt idx="29">
                  <c:v>0.89918806645356164</c:v>
                </c:pt>
                <c:pt idx="30">
                  <c:v>0.90459641470857655</c:v>
                </c:pt>
                <c:pt idx="31">
                  <c:v>0.90993539340283081</c:v>
                </c:pt>
                <c:pt idx="32">
                  <c:v>0.91466862718258612</c:v>
                </c:pt>
                <c:pt idx="33">
                  <c:v>0.91930276158982638</c:v>
                </c:pt>
                <c:pt idx="34">
                  <c:v>0.9238576164990544</c:v>
                </c:pt>
                <c:pt idx="35">
                  <c:v>0.9279875828486237</c:v>
                </c:pt>
                <c:pt idx="36">
                  <c:v>0.9316170973669915</c:v>
                </c:pt>
                <c:pt idx="37">
                  <c:v>0.9351072533927598</c:v>
                </c:pt>
                <c:pt idx="38">
                  <c:v>0.93858254451265088</c:v>
                </c:pt>
                <c:pt idx="39">
                  <c:v>0.94202500896539632</c:v>
                </c:pt>
                <c:pt idx="40">
                  <c:v>0.94544393731716936</c:v>
                </c:pt>
                <c:pt idx="41">
                  <c:v>0.94834816830294177</c:v>
                </c:pt>
                <c:pt idx="42">
                  <c:v>0.95106782670740475</c:v>
                </c:pt>
                <c:pt idx="43">
                  <c:v>0.9537329804569844</c:v>
                </c:pt>
                <c:pt idx="44">
                  <c:v>0.95627921495954582</c:v>
                </c:pt>
                <c:pt idx="45">
                  <c:v>0.95863096694354621</c:v>
                </c:pt>
                <c:pt idx="46">
                  <c:v>0.96094617603393162</c:v>
                </c:pt>
                <c:pt idx="47">
                  <c:v>0.96307247694546005</c:v>
                </c:pt>
                <c:pt idx="48">
                  <c:v>0.96519258414620623</c:v>
                </c:pt>
                <c:pt idx="49">
                  <c:v>0.96720615952149869</c:v>
                </c:pt>
                <c:pt idx="50">
                  <c:v>0.9692147799281654</c:v>
                </c:pt>
                <c:pt idx="51">
                  <c:v>0.97110943605643962</c:v>
                </c:pt>
                <c:pt idx="52">
                  <c:v>0.97284243633329848</c:v>
                </c:pt>
                <c:pt idx="53">
                  <c:v>0.97439519962639543</c:v>
                </c:pt>
                <c:pt idx="54">
                  <c:v>0.97593247864253685</c:v>
                </c:pt>
                <c:pt idx="55">
                  <c:v>0.97744374407339307</c:v>
                </c:pt>
                <c:pt idx="56">
                  <c:v>0.97889493050966192</c:v>
                </c:pt>
                <c:pt idx="57">
                  <c:v>0.98020675845333138</c:v>
                </c:pt>
                <c:pt idx="58">
                  <c:v>0.98144116501222334</c:v>
                </c:pt>
                <c:pt idx="59">
                  <c:v>0.98259443395986856</c:v>
                </c:pt>
                <c:pt idx="60">
                  <c:v>0.98370682441635127</c:v>
                </c:pt>
                <c:pt idx="61">
                  <c:v>0.98481797613067745</c:v>
                </c:pt>
                <c:pt idx="62">
                  <c:v>0.98585542268669557</c:v>
                </c:pt>
                <c:pt idx="63">
                  <c:v>0.98683402899028283</c:v>
                </c:pt>
                <c:pt idx="64">
                  <c:v>0.98779405416152344</c:v>
                </c:pt>
                <c:pt idx="65">
                  <c:v>0.98873302071610458</c:v>
                </c:pt>
                <c:pt idx="66">
                  <c:v>0.98962491506874106</c:v>
                </c:pt>
                <c:pt idx="67">
                  <c:v>0.990281448411654</c:v>
                </c:pt>
                <c:pt idx="68">
                  <c:v>0.99090577445849948</c:v>
                </c:pt>
                <c:pt idx="69">
                  <c:v>0.99149355761172997</c:v>
                </c:pt>
                <c:pt idx="70">
                  <c:v>0.99201259057527813</c:v>
                </c:pt>
                <c:pt idx="71">
                  <c:v>0.99252233297265302</c:v>
                </c:pt>
                <c:pt idx="72">
                  <c:v>0.99299057750778719</c:v>
                </c:pt>
                <c:pt idx="73">
                  <c:v>0.99341856292283703</c:v>
                </c:pt>
                <c:pt idx="74">
                  <c:v>0.99382239286583629</c:v>
                </c:pt>
                <c:pt idx="75">
                  <c:v>0.99422374532452273</c:v>
                </c:pt>
                <c:pt idx="76">
                  <c:v>0.99462323966997446</c:v>
                </c:pt>
                <c:pt idx="77">
                  <c:v>0.99502149527326977</c:v>
                </c:pt>
                <c:pt idx="78">
                  <c:v>0.99541169905254823</c:v>
                </c:pt>
                <c:pt idx="79">
                  <c:v>0.99580004471859196</c:v>
                </c:pt>
                <c:pt idx="80">
                  <c:v>0.99618405478708816</c:v>
                </c:pt>
                <c:pt idx="81">
                  <c:v>0.99656806485558436</c:v>
                </c:pt>
                <c:pt idx="82">
                  <c:v>0.99688951844518037</c:v>
                </c:pt>
                <c:pt idx="83">
                  <c:v>0.99712859568137324</c:v>
                </c:pt>
                <c:pt idx="84">
                  <c:v>0.99735652423815813</c:v>
                </c:pt>
                <c:pt idx="85">
                  <c:v>0.99758197531063009</c:v>
                </c:pt>
                <c:pt idx="86">
                  <c:v>0.9978012326723199</c:v>
                </c:pt>
                <c:pt idx="87">
                  <c:v>0.99801305758107106</c:v>
                </c:pt>
                <c:pt idx="88">
                  <c:v>0.99822426311874402</c:v>
                </c:pt>
                <c:pt idx="89">
                  <c:v>0.99843237180102584</c:v>
                </c:pt>
                <c:pt idx="90">
                  <c:v>0.99862809306174327</c:v>
                </c:pt>
                <c:pt idx="91">
                  <c:v>0.9988231949513825</c:v>
                </c:pt>
                <c:pt idx="92">
                  <c:v>0.99901458061455239</c:v>
                </c:pt>
                <c:pt idx="93">
                  <c:v>0.99919853382478363</c:v>
                </c:pt>
                <c:pt idx="94">
                  <c:v>0.99934408602816527</c:v>
                </c:pt>
                <c:pt idx="95">
                  <c:v>0.99946857961488744</c:v>
                </c:pt>
                <c:pt idx="96">
                  <c:v>0.9995521947104471</c:v>
                </c:pt>
                <c:pt idx="97">
                  <c:v>0.99963333232169393</c:v>
                </c:pt>
                <c:pt idx="98">
                  <c:v>0.99971137307754965</c:v>
                </c:pt>
                <c:pt idx="99">
                  <c:v>0.99978322012262311</c:v>
                </c:pt>
                <c:pt idx="100">
                  <c:v>0.99981852427408158</c:v>
                </c:pt>
                <c:pt idx="101">
                  <c:v>0.99985320905446184</c:v>
                </c:pt>
                <c:pt idx="102">
                  <c:v>0.99988417760837278</c:v>
                </c:pt>
                <c:pt idx="103">
                  <c:v>0.99991266867797091</c:v>
                </c:pt>
                <c:pt idx="104">
                  <c:v>0.99994115974756903</c:v>
                </c:pt>
                <c:pt idx="105">
                  <c:v>0.9999628377353067</c:v>
                </c:pt>
                <c:pt idx="106">
                  <c:v>0.99998141886765324</c:v>
                </c:pt>
                <c:pt idx="107">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Ruinart</c:v>
                </c:pt>
                <c:pt idx="1">
                  <c:v>Nicolas</c:v>
                </c:pt>
                <c:pt idx="2">
                  <c:v>Deutz</c:v>
                </c:pt>
                <c:pt idx="3">
                  <c:v>Heidsieck &amp;</c:v>
                </c:pt>
                <c:pt idx="4">
                  <c:v>De Bligny</c:v>
                </c:pt>
                <c:pt idx="5">
                  <c:v>Laurent Per</c:v>
                </c:pt>
                <c:pt idx="6">
                  <c:v>Ayala</c:v>
                </c:pt>
                <c:pt idx="7">
                  <c:v>Canard Duch</c:v>
                </c:pt>
                <c:pt idx="8">
                  <c:v>Bollinger</c:v>
                </c:pt>
                <c:pt idx="9">
                  <c:v>Taittinger</c:v>
                </c:pt>
                <c:pt idx="10">
                  <c:v>Ruinart</c:v>
                </c:pt>
                <c:pt idx="11">
                  <c:v>Ruinart</c:v>
                </c:pt>
                <c:pt idx="12">
                  <c:v>Besserat De</c:v>
                </c:pt>
                <c:pt idx="13">
                  <c:v>Demoiselle</c:v>
                </c:pt>
                <c:pt idx="14">
                  <c:v>Deutz</c:v>
                </c:pt>
                <c:pt idx="15">
                  <c:v>Laurent Per</c:v>
                </c:pt>
                <c:pt idx="16">
                  <c:v>Pommery</c:v>
                </c:pt>
                <c:pt idx="17">
                  <c:v>Savian</c:v>
                </c:pt>
                <c:pt idx="18">
                  <c:v>All Others</c:v>
                </c:pt>
                <c:pt idx="19">
                  <c:v>Roederer</c:v>
                </c:pt>
                <c:pt idx="20">
                  <c:v>Campari: Al</c:v>
                </c:pt>
                <c:pt idx="21">
                  <c:v>Perrier Jou</c:v>
                </c:pt>
                <c:pt idx="22">
                  <c:v>Taittinger</c:v>
                </c:pt>
                <c:pt idx="23">
                  <c:v>Veuve Clicq</c:v>
                </c:pt>
                <c:pt idx="24">
                  <c:v>Veuve Clicq</c:v>
                </c:pt>
                <c:pt idx="25">
                  <c:v>Henriot</c:v>
                </c:pt>
                <c:pt idx="26">
                  <c:v>Veuve Clicq</c:v>
                </c:pt>
                <c:pt idx="27">
                  <c:v>Moët &amp; Chan</c:v>
                </c:pt>
                <c:pt idx="28">
                  <c:v>Roederer</c:v>
                </c:pt>
                <c:pt idx="29">
                  <c:v>Ruinart</c:v>
                </c:pt>
                <c:pt idx="30">
                  <c:v>Nicolas</c:v>
                </c:pt>
                <c:pt idx="31">
                  <c:v>All Others</c:v>
                </c:pt>
                <c:pt idx="32">
                  <c:v>All Others</c:v>
                </c:pt>
                <c:pt idx="33">
                  <c:v>Deutz</c:v>
                </c:pt>
                <c:pt idx="34">
                  <c:v>Canard Duch</c:v>
                </c:pt>
                <c:pt idx="35">
                  <c:v>Roederer</c:v>
                </c:pt>
                <c:pt idx="36">
                  <c:v>Bollinger</c:v>
                </c:pt>
                <c:pt idx="37">
                  <c:v>Roederer</c:v>
                </c:pt>
                <c:pt idx="38">
                  <c:v>Nicolas Feu</c:v>
                </c:pt>
                <c:pt idx="39">
                  <c:v>Lanson</c:v>
                </c:pt>
                <c:pt idx="40">
                  <c:v>De Venoge</c:v>
                </c:pt>
                <c:pt idx="41">
                  <c:v>Piper Heids</c:v>
                </c:pt>
                <c:pt idx="42">
                  <c:v>Henriot</c:v>
                </c:pt>
                <c:pt idx="43">
                  <c:v>Canard Duch</c:v>
                </c:pt>
                <c:pt idx="44">
                  <c:v>Campari: Al</c:v>
                </c:pt>
                <c:pt idx="45">
                  <c:v>Nicolas</c:v>
                </c:pt>
                <c:pt idx="46">
                  <c:v>Canard Duch</c:v>
                </c:pt>
                <c:pt idx="47">
                  <c:v>Krug</c:v>
                </c:pt>
                <c:pt idx="48">
                  <c:v>Vranken</c:v>
                </c:pt>
                <c:pt idx="49">
                  <c:v>Moët &amp; Chan</c:v>
                </c:pt>
                <c:pt idx="50">
                  <c:v>De Venoge</c:v>
                </c:pt>
                <c:pt idx="51">
                  <c:v>All Others</c:v>
                </c:pt>
                <c:pt idx="52">
                  <c:v>Canard Duch</c:v>
                </c:pt>
                <c:pt idx="53">
                  <c:v>Nicolas</c:v>
                </c:pt>
                <c:pt idx="54">
                  <c:v>De Venoge</c:v>
                </c:pt>
                <c:pt idx="55">
                  <c:v>All Others</c:v>
                </c:pt>
                <c:pt idx="56">
                  <c:v>Roederer</c:v>
                </c:pt>
                <c:pt idx="57">
                  <c:v>Nicolas</c:v>
                </c:pt>
                <c:pt idx="58">
                  <c:v>Roederer</c:v>
                </c:pt>
                <c:pt idx="59">
                  <c:v>Pommery</c:v>
                </c:pt>
                <c:pt idx="60">
                  <c:v>Deutz</c:v>
                </c:pt>
                <c:pt idx="61">
                  <c:v>Roederer</c:v>
                </c:pt>
                <c:pt idx="62">
                  <c:v>Roederer</c:v>
                </c:pt>
                <c:pt idx="63">
                  <c:v>Laurent Per</c:v>
                </c:pt>
                <c:pt idx="64">
                  <c:v>Ruinart</c:v>
                </c:pt>
                <c:pt idx="65">
                  <c:v>Nicolas</c:v>
                </c:pt>
                <c:pt idx="66">
                  <c:v>Laurent Per</c:v>
                </c:pt>
                <c:pt idx="67">
                  <c:v>Canard Duch</c:v>
                </c:pt>
                <c:pt idx="68">
                  <c:v>Nicolas Feu</c:v>
                </c:pt>
                <c:pt idx="69">
                  <c:v>Veuve Clicq</c:v>
                </c:pt>
                <c:pt idx="70">
                  <c:v>Demoiselle</c:v>
                </c:pt>
                <c:pt idx="71">
                  <c:v>Moët &amp; Chan</c:v>
                </c:pt>
                <c:pt idx="72">
                  <c:v>All Others</c:v>
                </c:pt>
                <c:pt idx="73">
                  <c:v>Henriot</c:v>
                </c:pt>
                <c:pt idx="74">
                  <c:v>Pommery</c:v>
                </c:pt>
                <c:pt idx="75">
                  <c:v>Pommery</c:v>
                </c:pt>
                <c:pt idx="76">
                  <c:v>All Others</c:v>
                </c:pt>
                <c:pt idx="77">
                  <c:v>Nicolas</c:v>
                </c:pt>
                <c:pt idx="78">
                  <c:v>Ruinart</c:v>
                </c:pt>
                <c:pt idx="79">
                  <c:v>Martel</c:v>
                </c:pt>
                <c:pt idx="80">
                  <c:v>Lanson</c:v>
                </c:pt>
                <c:pt idx="81">
                  <c:v>Roederer</c:v>
                </c:pt>
                <c:pt idx="82">
                  <c:v>All Others</c:v>
                </c:pt>
                <c:pt idx="83">
                  <c:v>All Others</c:v>
                </c:pt>
                <c:pt idx="84">
                  <c:v>Laurent Per</c:v>
                </c:pt>
                <c:pt idx="85">
                  <c:v>Moët &amp; Chan</c:v>
                </c:pt>
                <c:pt idx="86">
                  <c:v>Vranken</c:v>
                </c:pt>
                <c:pt idx="87">
                  <c:v>Nicolas Feu</c:v>
                </c:pt>
                <c:pt idx="88">
                  <c:v>De Venoge</c:v>
                </c:pt>
                <c:pt idx="89">
                  <c:v>Laurent Per</c:v>
                </c:pt>
                <c:pt idx="90">
                  <c:v>Nicolas</c:v>
                </c:pt>
                <c:pt idx="91">
                  <c:v>Vranken</c:v>
                </c:pt>
                <c:pt idx="92">
                  <c:v>All Others</c:v>
                </c:pt>
                <c:pt idx="93">
                  <c:v>Bollinger</c:v>
                </c:pt>
              </c:strCache>
            </c:strRef>
          </c:cat>
          <c:val>
            <c:numRef>
              <c:f>Sheet1!$B$2:$B$95</c:f>
              <c:numCache>
                <c:formatCode>General</c:formatCode>
                <c:ptCount val="94"/>
                <c:pt idx="0">
                  <c:v>1</c:v>
                </c:pt>
                <c:pt idx="1">
                  <c:v>1</c:v>
                </c:pt>
                <c:pt idx="2">
                  <c:v>1</c:v>
                </c:pt>
                <c:pt idx="3">
                  <c:v>1</c:v>
                </c:pt>
                <c:pt idx="4">
                  <c:v>1</c:v>
                </c:pt>
                <c:pt idx="5">
                  <c:v>0.98</c:v>
                </c:pt>
                <c:pt idx="6">
                  <c:v>1</c:v>
                </c:pt>
                <c:pt idx="7">
                  <c:v>1</c:v>
                </c:pt>
                <c:pt idx="8">
                  <c:v>0.96</c:v>
                </c:pt>
                <c:pt idx="9">
                  <c:v>0.9</c:v>
                </c:pt>
                <c:pt idx="10">
                  <c:v>0.79</c:v>
                </c:pt>
                <c:pt idx="11">
                  <c:v>0.73</c:v>
                </c:pt>
                <c:pt idx="12">
                  <c:v>0.92</c:v>
                </c:pt>
                <c:pt idx="13">
                  <c:v>0.91</c:v>
                </c:pt>
                <c:pt idx="14">
                  <c:v>0.81</c:v>
                </c:pt>
                <c:pt idx="15">
                  <c:v>0.69</c:v>
                </c:pt>
                <c:pt idx="16">
                  <c:v>0.84</c:v>
                </c:pt>
                <c:pt idx="17">
                  <c:v>0.79</c:v>
                </c:pt>
                <c:pt idx="18">
                  <c:v>0.65</c:v>
                </c:pt>
                <c:pt idx="19">
                  <c:v>0.84</c:v>
                </c:pt>
                <c:pt idx="20">
                  <c:v>0.65</c:v>
                </c:pt>
                <c:pt idx="21">
                  <c:v>0.86</c:v>
                </c:pt>
                <c:pt idx="22">
                  <c:v>0.44</c:v>
                </c:pt>
                <c:pt idx="23">
                  <c:v>0.64</c:v>
                </c:pt>
                <c:pt idx="24">
                  <c:v>0.72</c:v>
                </c:pt>
                <c:pt idx="25">
                  <c:v>0.81</c:v>
                </c:pt>
                <c:pt idx="26">
                  <c:v>0.72</c:v>
                </c:pt>
                <c:pt idx="27">
                  <c:v>0.54</c:v>
                </c:pt>
                <c:pt idx="28">
                  <c:v>0.47</c:v>
                </c:pt>
                <c:pt idx="29">
                  <c:v>0.56999999999999995</c:v>
                </c:pt>
                <c:pt idx="30">
                  <c:v>0.9</c:v>
                </c:pt>
                <c:pt idx="31">
                  <c:v>0.75</c:v>
                </c:pt>
                <c:pt idx="32">
                  <c:v>0.52</c:v>
                </c:pt>
                <c:pt idx="33">
                  <c:v>0.83</c:v>
                </c:pt>
                <c:pt idx="34">
                  <c:v>0.66</c:v>
                </c:pt>
                <c:pt idx="35">
                  <c:v>0.37</c:v>
                </c:pt>
                <c:pt idx="36">
                  <c:v>0.3</c:v>
                </c:pt>
                <c:pt idx="37">
                  <c:v>0.4</c:v>
                </c:pt>
                <c:pt idx="38">
                  <c:v>0.51</c:v>
                </c:pt>
                <c:pt idx="39">
                  <c:v>0.61</c:v>
                </c:pt>
                <c:pt idx="40">
                  <c:v>0.55000000000000004</c:v>
                </c:pt>
                <c:pt idx="41">
                  <c:v>0.54</c:v>
                </c:pt>
                <c:pt idx="42">
                  <c:v>0.72</c:v>
                </c:pt>
                <c:pt idx="43">
                  <c:v>0.47</c:v>
                </c:pt>
                <c:pt idx="44">
                  <c:v>0.41</c:v>
                </c:pt>
                <c:pt idx="45">
                  <c:v>0.61</c:v>
                </c:pt>
                <c:pt idx="46">
                  <c:v>0.34</c:v>
                </c:pt>
                <c:pt idx="47">
                  <c:v>0.19</c:v>
                </c:pt>
                <c:pt idx="48">
                  <c:v>0.51</c:v>
                </c:pt>
                <c:pt idx="49">
                  <c:v>0.38</c:v>
                </c:pt>
                <c:pt idx="50">
                  <c:v>0.4</c:v>
                </c:pt>
                <c:pt idx="51">
                  <c:v>0.3</c:v>
                </c:pt>
                <c:pt idx="52">
                  <c:v>0.41</c:v>
                </c:pt>
                <c:pt idx="53">
                  <c:v>0.34</c:v>
                </c:pt>
                <c:pt idx="54">
                  <c:v>0.23</c:v>
                </c:pt>
                <c:pt idx="55">
                  <c:v>0.28000000000000003</c:v>
                </c:pt>
                <c:pt idx="56">
                  <c:v>0.3</c:v>
                </c:pt>
                <c:pt idx="57">
                  <c:v>0.3</c:v>
                </c:pt>
                <c:pt idx="58">
                  <c:v>0.33</c:v>
                </c:pt>
                <c:pt idx="59">
                  <c:v>0.38</c:v>
                </c:pt>
                <c:pt idx="60">
                  <c:v>0.1</c:v>
                </c:pt>
                <c:pt idx="61">
                  <c:v>0.25</c:v>
                </c:pt>
                <c:pt idx="62">
                  <c:v>0.18</c:v>
                </c:pt>
                <c:pt idx="63">
                  <c:v>0.18</c:v>
                </c:pt>
                <c:pt idx="64">
                  <c:v>0.19</c:v>
                </c:pt>
                <c:pt idx="65">
                  <c:v>0.28000000000000003</c:v>
                </c:pt>
                <c:pt idx="66">
                  <c:v>0.31</c:v>
                </c:pt>
                <c:pt idx="67">
                  <c:v>0.39</c:v>
                </c:pt>
                <c:pt idx="68">
                  <c:v>0.17</c:v>
                </c:pt>
                <c:pt idx="69">
                  <c:v>0.17</c:v>
                </c:pt>
                <c:pt idx="70">
                  <c:v>0.24</c:v>
                </c:pt>
                <c:pt idx="71">
                  <c:v>0.17</c:v>
                </c:pt>
                <c:pt idx="72">
                  <c:v>0.22</c:v>
                </c:pt>
                <c:pt idx="73">
                  <c:v>0.16</c:v>
                </c:pt>
                <c:pt idx="74">
                  <c:v>0.16</c:v>
                </c:pt>
                <c:pt idx="75">
                  <c:v>0.12</c:v>
                </c:pt>
                <c:pt idx="76">
                  <c:v>0.27</c:v>
                </c:pt>
                <c:pt idx="77">
                  <c:v>0.12</c:v>
                </c:pt>
                <c:pt idx="78">
                  <c:v>0.12</c:v>
                </c:pt>
                <c:pt idx="79">
                  <c:v>0.14000000000000001</c:v>
                </c:pt>
                <c:pt idx="80">
                  <c:v>0.12</c:v>
                </c:pt>
                <c:pt idx="81">
                  <c:v>0.05</c:v>
                </c:pt>
                <c:pt idx="82">
                  <c:v>0.21</c:v>
                </c:pt>
                <c:pt idx="83">
                  <c:v>0.14000000000000001</c:v>
                </c:pt>
                <c:pt idx="84">
                  <c:v>0.03</c:v>
                </c:pt>
                <c:pt idx="85">
                  <c:v>0.06</c:v>
                </c:pt>
                <c:pt idx="86">
                  <c:v>0.11</c:v>
                </c:pt>
                <c:pt idx="87">
                  <c:v>0.15</c:v>
                </c:pt>
                <c:pt idx="88">
                  <c:v>0.06</c:v>
                </c:pt>
                <c:pt idx="89">
                  <c:v>0.03</c:v>
                </c:pt>
                <c:pt idx="90">
                  <c:v>7.0000000000000007E-2</c:v>
                </c:pt>
                <c:pt idx="91">
                  <c:v>0.09</c:v>
                </c:pt>
                <c:pt idx="92">
                  <c:v>0.09</c:v>
                </c:pt>
                <c:pt idx="93">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Ruinart</c:v>
                </c:pt>
                <c:pt idx="1">
                  <c:v>Nicolas</c:v>
                </c:pt>
                <c:pt idx="2">
                  <c:v>Deutz</c:v>
                </c:pt>
                <c:pt idx="3">
                  <c:v>Heidsieck &amp;</c:v>
                </c:pt>
                <c:pt idx="4">
                  <c:v>De Bligny</c:v>
                </c:pt>
                <c:pt idx="5">
                  <c:v>Laurent Per</c:v>
                </c:pt>
                <c:pt idx="6">
                  <c:v>Ayala</c:v>
                </c:pt>
                <c:pt idx="7">
                  <c:v>Canard Duch</c:v>
                </c:pt>
                <c:pt idx="8">
                  <c:v>Bollinger</c:v>
                </c:pt>
                <c:pt idx="9">
                  <c:v>Taittinger</c:v>
                </c:pt>
                <c:pt idx="10">
                  <c:v>Ruinart</c:v>
                </c:pt>
                <c:pt idx="11">
                  <c:v>Ruinart</c:v>
                </c:pt>
                <c:pt idx="12">
                  <c:v>Besserat De</c:v>
                </c:pt>
                <c:pt idx="13">
                  <c:v>Demoiselle</c:v>
                </c:pt>
                <c:pt idx="14">
                  <c:v>Deutz</c:v>
                </c:pt>
                <c:pt idx="15">
                  <c:v>Laurent Per</c:v>
                </c:pt>
                <c:pt idx="16">
                  <c:v>Pommery</c:v>
                </c:pt>
                <c:pt idx="17">
                  <c:v>Savian</c:v>
                </c:pt>
                <c:pt idx="18">
                  <c:v>All Others</c:v>
                </c:pt>
                <c:pt idx="19">
                  <c:v>Roederer</c:v>
                </c:pt>
                <c:pt idx="20">
                  <c:v>Campari: Al</c:v>
                </c:pt>
                <c:pt idx="21">
                  <c:v>Perrier Jou</c:v>
                </c:pt>
                <c:pt idx="22">
                  <c:v>Taittinger</c:v>
                </c:pt>
                <c:pt idx="23">
                  <c:v>Veuve Clicq</c:v>
                </c:pt>
                <c:pt idx="24">
                  <c:v>Veuve Clicq</c:v>
                </c:pt>
                <c:pt idx="25">
                  <c:v>Henriot</c:v>
                </c:pt>
                <c:pt idx="26">
                  <c:v>Veuve Clicq</c:v>
                </c:pt>
                <c:pt idx="27">
                  <c:v>Moët &amp; Chan</c:v>
                </c:pt>
                <c:pt idx="28">
                  <c:v>Roederer</c:v>
                </c:pt>
                <c:pt idx="29">
                  <c:v>Ruinart</c:v>
                </c:pt>
                <c:pt idx="30">
                  <c:v>Nicolas</c:v>
                </c:pt>
                <c:pt idx="31">
                  <c:v>All Others</c:v>
                </c:pt>
                <c:pt idx="32">
                  <c:v>All Others</c:v>
                </c:pt>
                <c:pt idx="33">
                  <c:v>Deutz</c:v>
                </c:pt>
                <c:pt idx="34">
                  <c:v>Canard Duch</c:v>
                </c:pt>
                <c:pt idx="35">
                  <c:v>Roederer</c:v>
                </c:pt>
                <c:pt idx="36">
                  <c:v>Bollinger</c:v>
                </c:pt>
                <c:pt idx="37">
                  <c:v>Roederer</c:v>
                </c:pt>
                <c:pt idx="38">
                  <c:v>Nicolas Feu</c:v>
                </c:pt>
                <c:pt idx="39">
                  <c:v>Lanson</c:v>
                </c:pt>
                <c:pt idx="40">
                  <c:v>De Venoge</c:v>
                </c:pt>
                <c:pt idx="41">
                  <c:v>Piper Heids</c:v>
                </c:pt>
                <c:pt idx="42">
                  <c:v>Henriot</c:v>
                </c:pt>
                <c:pt idx="43">
                  <c:v>Canard Duch</c:v>
                </c:pt>
                <c:pt idx="44">
                  <c:v>Campari: Al</c:v>
                </c:pt>
                <c:pt idx="45">
                  <c:v>Nicolas</c:v>
                </c:pt>
                <c:pt idx="46">
                  <c:v>Canard Duch</c:v>
                </c:pt>
                <c:pt idx="47">
                  <c:v>Krug</c:v>
                </c:pt>
                <c:pt idx="48">
                  <c:v>Vranken</c:v>
                </c:pt>
                <c:pt idx="49">
                  <c:v>Moët &amp; Chan</c:v>
                </c:pt>
                <c:pt idx="50">
                  <c:v>De Venoge</c:v>
                </c:pt>
                <c:pt idx="51">
                  <c:v>All Others</c:v>
                </c:pt>
                <c:pt idx="52">
                  <c:v>Canard Duch</c:v>
                </c:pt>
                <c:pt idx="53">
                  <c:v>Nicolas</c:v>
                </c:pt>
                <c:pt idx="54">
                  <c:v>De Venoge</c:v>
                </c:pt>
                <c:pt idx="55">
                  <c:v>All Others</c:v>
                </c:pt>
                <c:pt idx="56">
                  <c:v>Roederer</c:v>
                </c:pt>
                <c:pt idx="57">
                  <c:v>Nicolas</c:v>
                </c:pt>
                <c:pt idx="58">
                  <c:v>Roederer</c:v>
                </c:pt>
                <c:pt idx="59">
                  <c:v>Pommery</c:v>
                </c:pt>
                <c:pt idx="60">
                  <c:v>Deutz</c:v>
                </c:pt>
                <c:pt idx="61">
                  <c:v>Roederer</c:v>
                </c:pt>
                <c:pt idx="62">
                  <c:v>Roederer</c:v>
                </c:pt>
                <c:pt idx="63">
                  <c:v>Laurent Per</c:v>
                </c:pt>
                <c:pt idx="64">
                  <c:v>Ruinart</c:v>
                </c:pt>
                <c:pt idx="65">
                  <c:v>Nicolas</c:v>
                </c:pt>
                <c:pt idx="66">
                  <c:v>Laurent Per</c:v>
                </c:pt>
                <c:pt idx="67">
                  <c:v>Canard Duch</c:v>
                </c:pt>
                <c:pt idx="68">
                  <c:v>Nicolas Feu</c:v>
                </c:pt>
                <c:pt idx="69">
                  <c:v>Veuve Clicq</c:v>
                </c:pt>
                <c:pt idx="70">
                  <c:v>Demoiselle</c:v>
                </c:pt>
                <c:pt idx="71">
                  <c:v>Moët &amp; Chan</c:v>
                </c:pt>
                <c:pt idx="72">
                  <c:v>All Others</c:v>
                </c:pt>
                <c:pt idx="73">
                  <c:v>Henriot</c:v>
                </c:pt>
                <c:pt idx="74">
                  <c:v>Pommery</c:v>
                </c:pt>
                <c:pt idx="75">
                  <c:v>Pommery</c:v>
                </c:pt>
                <c:pt idx="76">
                  <c:v>All Others</c:v>
                </c:pt>
                <c:pt idx="77">
                  <c:v>Nicolas</c:v>
                </c:pt>
                <c:pt idx="78">
                  <c:v>Ruinart</c:v>
                </c:pt>
                <c:pt idx="79">
                  <c:v>Martel</c:v>
                </c:pt>
                <c:pt idx="80">
                  <c:v>Lanson</c:v>
                </c:pt>
                <c:pt idx="81">
                  <c:v>Roederer</c:v>
                </c:pt>
                <c:pt idx="82">
                  <c:v>All Others</c:v>
                </c:pt>
                <c:pt idx="83">
                  <c:v>All Others</c:v>
                </c:pt>
                <c:pt idx="84">
                  <c:v>Laurent Per</c:v>
                </c:pt>
                <c:pt idx="85">
                  <c:v>Moët &amp; Chan</c:v>
                </c:pt>
                <c:pt idx="86">
                  <c:v>Vranken</c:v>
                </c:pt>
                <c:pt idx="87">
                  <c:v>Nicolas Feu</c:v>
                </c:pt>
                <c:pt idx="88">
                  <c:v>De Venoge</c:v>
                </c:pt>
                <c:pt idx="89">
                  <c:v>Laurent Per</c:v>
                </c:pt>
                <c:pt idx="90">
                  <c:v>Nicolas</c:v>
                </c:pt>
                <c:pt idx="91">
                  <c:v>Vranken</c:v>
                </c:pt>
                <c:pt idx="92">
                  <c:v>All Others</c:v>
                </c:pt>
                <c:pt idx="93">
                  <c:v>Bollinger</c:v>
                </c:pt>
              </c:strCache>
            </c:strRef>
          </c:cat>
          <c:val>
            <c:numRef>
              <c:f>Sheet1!$C$2:$C$95</c:f>
              <c:numCache>
                <c:formatCode>General</c:formatCode>
                <c:ptCount val="94"/>
                <c:pt idx="0">
                  <c:v>0.17069775992016598</c:v>
                </c:pt>
                <c:pt idx="1">
                  <c:v>0.27534752313173494</c:v>
                </c:pt>
                <c:pt idx="2">
                  <c:v>0.35196565035846533</c:v>
                </c:pt>
                <c:pt idx="3">
                  <c:v>0.41189041203813126</c:v>
                </c:pt>
                <c:pt idx="4">
                  <c:v>0.46204929226082619</c:v>
                </c:pt>
                <c:pt idx="5">
                  <c:v>0.50702158670133146</c:v>
                </c:pt>
                <c:pt idx="6">
                  <c:v>0.54222362281922676</c:v>
                </c:pt>
                <c:pt idx="7">
                  <c:v>0.57719915614030493</c:v>
                </c:pt>
                <c:pt idx="8">
                  <c:v>0.60476246750177276</c:v>
                </c:pt>
                <c:pt idx="9">
                  <c:v>0.63033430499750531</c:v>
                </c:pt>
                <c:pt idx="10">
                  <c:v>0.65587550443376497</c:v>
                </c:pt>
                <c:pt idx="11">
                  <c:v>0.67799727758957262</c:v>
                </c:pt>
                <c:pt idx="12">
                  <c:v>0.69944501343697763</c:v>
                </c:pt>
                <c:pt idx="13">
                  <c:v>0.71990904873202211</c:v>
                </c:pt>
                <c:pt idx="14">
                  <c:v>0.73961916892075252</c:v>
                </c:pt>
                <c:pt idx="15">
                  <c:v>0.75321590202823963</c:v>
                </c:pt>
                <c:pt idx="16">
                  <c:v>0.76604668364890538</c:v>
                </c:pt>
                <c:pt idx="17">
                  <c:v>0.77814981135709105</c:v>
                </c:pt>
                <c:pt idx="18">
                  <c:v>0.78995421798541632</c:v>
                </c:pt>
                <c:pt idx="19">
                  <c:v>0.80154306398102193</c:v>
                </c:pt>
                <c:pt idx="20">
                  <c:v>0.81205082416379981</c:v>
                </c:pt>
                <c:pt idx="21">
                  <c:v>0.82220405822982046</c:v>
                </c:pt>
                <c:pt idx="22">
                  <c:v>0.83155194901826901</c:v>
                </c:pt>
                <c:pt idx="23">
                  <c:v>0.8404151019372007</c:v>
                </c:pt>
                <c:pt idx="24">
                  <c:v>0.84909333228288553</c:v>
                </c:pt>
                <c:pt idx="25">
                  <c:v>0.85755053091380196</c:v>
                </c:pt>
                <c:pt idx="26">
                  <c:v>0.86596724353755783</c:v>
                </c:pt>
                <c:pt idx="27">
                  <c:v>0.87367818657702845</c:v>
                </c:pt>
                <c:pt idx="28">
                  <c:v>0.88105429939511715</c:v>
                </c:pt>
                <c:pt idx="29">
                  <c:v>0.88814482173026255</c:v>
                </c:pt>
                <c:pt idx="30">
                  <c:v>0.8947692078748567</c:v>
                </c:pt>
                <c:pt idx="31">
                  <c:v>0.90128417237847636</c:v>
                </c:pt>
                <c:pt idx="32">
                  <c:v>0.90709774416344968</c:v>
                </c:pt>
                <c:pt idx="33">
                  <c:v>0.91269466109929354</c:v>
                </c:pt>
                <c:pt idx="34">
                  <c:v>0.91790750807531707</c:v>
                </c:pt>
                <c:pt idx="35">
                  <c:v>0.92276035785253463</c:v>
                </c:pt>
                <c:pt idx="36">
                  <c:v>0.92750925707082643</c:v>
                </c:pt>
                <c:pt idx="37">
                  <c:v>0.93194521039593126</c:v>
                </c:pt>
                <c:pt idx="38">
                  <c:v>0.93632207603490991</c:v>
                </c:pt>
                <c:pt idx="39">
                  <c:v>0.94069128215902031</c:v>
                </c:pt>
                <c:pt idx="40">
                  <c:v>0.94493793604523935</c:v>
                </c:pt>
                <c:pt idx="41">
                  <c:v>0.94891541269466118</c:v>
                </c:pt>
                <c:pt idx="42">
                  <c:v>0.95257009550320837</c:v>
                </c:pt>
                <c:pt idx="43">
                  <c:v>0.95621055349842887</c:v>
                </c:pt>
                <c:pt idx="44">
                  <c:v>0.95984554041160064</c:v>
                </c:pt>
                <c:pt idx="45">
                  <c:v>0.96288636781428105</c:v>
                </c:pt>
                <c:pt idx="46">
                  <c:v>0.96570835193501248</c:v>
                </c:pt>
                <c:pt idx="47">
                  <c:v>0.96844936404142279</c:v>
                </c:pt>
                <c:pt idx="48">
                  <c:v>0.97062685469681464</c:v>
                </c:pt>
                <c:pt idx="49">
                  <c:v>0.97278793210606029</c:v>
                </c:pt>
                <c:pt idx="50">
                  <c:v>0.97475971007642015</c:v>
                </c:pt>
                <c:pt idx="51">
                  <c:v>0.97661659532375678</c:v>
                </c:pt>
                <c:pt idx="52">
                  <c:v>0.97827105053529073</c:v>
                </c:pt>
                <c:pt idx="53">
                  <c:v>0.97985438168019123</c:v>
                </c:pt>
                <c:pt idx="54">
                  <c:v>0.98138847308665322</c:v>
                </c:pt>
                <c:pt idx="55">
                  <c:v>0.98259429957019184</c:v>
                </c:pt>
                <c:pt idx="56">
                  <c:v>0.98370821187531188</c:v>
                </c:pt>
                <c:pt idx="57">
                  <c:v>0.98477069600917388</c:v>
                </c:pt>
                <c:pt idx="58">
                  <c:v>0.98582770906098727</c:v>
                </c:pt>
                <c:pt idx="59">
                  <c:v>0.98685189562050823</c:v>
                </c:pt>
                <c:pt idx="60">
                  <c:v>0.98786951688157076</c:v>
                </c:pt>
                <c:pt idx="61">
                  <c:v>0.98882039094163887</c:v>
                </c:pt>
                <c:pt idx="62">
                  <c:v>0.98970342358430285</c:v>
                </c:pt>
                <c:pt idx="63">
                  <c:v>0.99054815865262569</c:v>
                </c:pt>
                <c:pt idx="64">
                  <c:v>0.9913578787958367</c:v>
                </c:pt>
                <c:pt idx="65">
                  <c:v>0.99216212785699898</c:v>
                </c:pt>
                <c:pt idx="66">
                  <c:v>0.99296309426893203</c:v>
                </c:pt>
                <c:pt idx="67">
                  <c:v>0.99371153829319736</c:v>
                </c:pt>
                <c:pt idx="68">
                  <c:v>0.99439651776569749</c:v>
                </c:pt>
                <c:pt idx="69">
                  <c:v>0.99506617820846122</c:v>
                </c:pt>
                <c:pt idx="70">
                  <c:v>0.99561438062974328</c:v>
                </c:pt>
                <c:pt idx="71">
                  <c:v>0.99610677801412839</c:v>
                </c:pt>
                <c:pt idx="72">
                  <c:v>0.99648318845908057</c:v>
                </c:pt>
                <c:pt idx="73">
                  <c:v>0.9968519393891645</c:v>
                </c:pt>
                <c:pt idx="74">
                  <c:v>0.99716379106594177</c:v>
                </c:pt>
                <c:pt idx="75">
                  <c:v>0.99746470057862158</c:v>
                </c:pt>
                <c:pt idx="76">
                  <c:v>0.99774044311387722</c:v>
                </c:pt>
                <c:pt idx="77">
                  <c:v>0.99801290299990364</c:v>
                </c:pt>
                <c:pt idx="78">
                  <c:v>0.99827004385619367</c:v>
                </c:pt>
                <c:pt idx="79">
                  <c:v>0.99848560448891333</c:v>
                </c:pt>
                <c:pt idx="80">
                  <c:v>0.99868146922625767</c:v>
                </c:pt>
                <c:pt idx="81">
                  <c:v>0.99887405131437268</c:v>
                </c:pt>
                <c:pt idx="82">
                  <c:v>0.99906444496966829</c:v>
                </c:pt>
                <c:pt idx="83">
                  <c:v>0.99925046175932486</c:v>
                </c:pt>
                <c:pt idx="84">
                  <c:v>0.99939161567618195</c:v>
                </c:pt>
                <c:pt idx="85">
                  <c:v>0.99950103731715645</c:v>
                </c:pt>
                <c:pt idx="86">
                  <c:v>0.99960717630890172</c:v>
                </c:pt>
                <c:pt idx="87">
                  <c:v>0.99970346735295923</c:v>
                </c:pt>
                <c:pt idx="88">
                  <c:v>0.99978553358369004</c:v>
                </c:pt>
                <c:pt idx="89">
                  <c:v>0.99984024440417729</c:v>
                </c:pt>
                <c:pt idx="90">
                  <c:v>0.99988510727697677</c:v>
                </c:pt>
                <c:pt idx="91">
                  <c:v>0.99992778171695684</c:v>
                </c:pt>
                <c:pt idx="92">
                  <c:v>0.99996498507488818</c:v>
                </c:pt>
                <c:pt idx="9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Ruinart</c:v>
                </c:pt>
                <c:pt idx="1">
                  <c:v>Nicolas</c:v>
                </c:pt>
                <c:pt idx="2">
                  <c:v>Deutz</c:v>
                </c:pt>
                <c:pt idx="3">
                  <c:v>Heidsieck &amp;</c:v>
                </c:pt>
                <c:pt idx="4">
                  <c:v>De Bligny</c:v>
                </c:pt>
                <c:pt idx="5">
                  <c:v>Ayala</c:v>
                </c:pt>
                <c:pt idx="6">
                  <c:v>Laurent Per</c:v>
                </c:pt>
                <c:pt idx="7">
                  <c:v>Canard Duch</c:v>
                </c:pt>
                <c:pt idx="8">
                  <c:v>Ruinart</c:v>
                </c:pt>
                <c:pt idx="9">
                  <c:v>Taittinger</c:v>
                </c:pt>
                <c:pt idx="10">
                  <c:v>Demoiselle</c:v>
                </c:pt>
                <c:pt idx="11">
                  <c:v>Bollinger</c:v>
                </c:pt>
                <c:pt idx="12">
                  <c:v>Ruinart</c:v>
                </c:pt>
                <c:pt idx="13">
                  <c:v>Deutz</c:v>
                </c:pt>
                <c:pt idx="14">
                  <c:v>Perrier Jou</c:v>
                </c:pt>
                <c:pt idx="15">
                  <c:v>Savian</c:v>
                </c:pt>
                <c:pt idx="16">
                  <c:v>Laurent Per</c:v>
                </c:pt>
                <c:pt idx="17">
                  <c:v>Pommery</c:v>
                </c:pt>
                <c:pt idx="18">
                  <c:v>Moët &amp; Chan</c:v>
                </c:pt>
                <c:pt idx="19">
                  <c:v>Taittinger</c:v>
                </c:pt>
                <c:pt idx="20">
                  <c:v>Besserat De</c:v>
                </c:pt>
                <c:pt idx="21">
                  <c:v>Krug</c:v>
                </c:pt>
                <c:pt idx="22">
                  <c:v>All Others</c:v>
                </c:pt>
                <c:pt idx="23">
                  <c:v>Roederer</c:v>
                </c:pt>
                <c:pt idx="24">
                  <c:v>Campari: Al</c:v>
                </c:pt>
                <c:pt idx="25">
                  <c:v>Veuve Clicq</c:v>
                </c:pt>
                <c:pt idx="26">
                  <c:v>Henriot</c:v>
                </c:pt>
                <c:pt idx="27">
                  <c:v>Bollinger</c:v>
                </c:pt>
                <c:pt idx="28">
                  <c:v>Roederer</c:v>
                </c:pt>
                <c:pt idx="29">
                  <c:v>Demoiselle</c:v>
                </c:pt>
                <c:pt idx="30">
                  <c:v>Veuve Clicq</c:v>
                </c:pt>
                <c:pt idx="31">
                  <c:v>Ruinart</c:v>
                </c:pt>
                <c:pt idx="32">
                  <c:v>Deutz</c:v>
                </c:pt>
                <c:pt idx="33">
                  <c:v>Piper Heids</c:v>
                </c:pt>
                <c:pt idx="34">
                  <c:v>Nicolas Feu</c:v>
                </c:pt>
                <c:pt idx="35">
                  <c:v>Veuve Clicq</c:v>
                </c:pt>
                <c:pt idx="36">
                  <c:v>Campari: Al</c:v>
                </c:pt>
                <c:pt idx="37">
                  <c:v>De Venoge</c:v>
                </c:pt>
                <c:pt idx="38">
                  <c:v>Roederer</c:v>
                </c:pt>
                <c:pt idx="39">
                  <c:v>Lanson</c:v>
                </c:pt>
                <c:pt idx="40">
                  <c:v>All Others</c:v>
                </c:pt>
                <c:pt idx="41">
                  <c:v>Veuve Clicq</c:v>
                </c:pt>
                <c:pt idx="42">
                  <c:v>Canard Duch</c:v>
                </c:pt>
                <c:pt idx="43">
                  <c:v>Canard Duch</c:v>
                </c:pt>
                <c:pt idx="44">
                  <c:v>Nicolas</c:v>
                </c:pt>
                <c:pt idx="45">
                  <c:v>Roederer</c:v>
                </c:pt>
                <c:pt idx="46">
                  <c:v>All Others</c:v>
                </c:pt>
                <c:pt idx="47">
                  <c:v>Nicolas</c:v>
                </c:pt>
                <c:pt idx="48">
                  <c:v>Canard Duch</c:v>
                </c:pt>
                <c:pt idx="49">
                  <c:v>All Others</c:v>
                </c:pt>
                <c:pt idx="50">
                  <c:v>Henriot</c:v>
                </c:pt>
                <c:pt idx="51">
                  <c:v>Moët &amp; Chan</c:v>
                </c:pt>
                <c:pt idx="52">
                  <c:v>Canard Duch</c:v>
                </c:pt>
                <c:pt idx="53">
                  <c:v>All Others</c:v>
                </c:pt>
                <c:pt idx="54">
                  <c:v>Nicolas</c:v>
                </c:pt>
                <c:pt idx="55">
                  <c:v>De Venoge</c:v>
                </c:pt>
                <c:pt idx="56">
                  <c:v>Ruinart</c:v>
                </c:pt>
                <c:pt idx="57">
                  <c:v>Nicolas Feu</c:v>
                </c:pt>
                <c:pt idx="58">
                  <c:v>Demoiselle</c:v>
                </c:pt>
                <c:pt idx="59">
                  <c:v>De Venoge</c:v>
                </c:pt>
                <c:pt idx="60">
                  <c:v>Vranken</c:v>
                </c:pt>
                <c:pt idx="61">
                  <c:v>Roederer</c:v>
                </c:pt>
                <c:pt idx="62">
                  <c:v>Nicolas</c:v>
                </c:pt>
                <c:pt idx="63">
                  <c:v>Nicolas</c:v>
                </c:pt>
                <c:pt idx="64">
                  <c:v>Pommery</c:v>
                </c:pt>
                <c:pt idx="65">
                  <c:v>Nicolas</c:v>
                </c:pt>
                <c:pt idx="66">
                  <c:v>Laurent Per</c:v>
                </c:pt>
                <c:pt idx="67">
                  <c:v>Pommery</c:v>
                </c:pt>
                <c:pt idx="68">
                  <c:v>Pommery</c:v>
                </c:pt>
                <c:pt idx="69">
                  <c:v>Roederer</c:v>
                </c:pt>
                <c:pt idx="70">
                  <c:v>Roederer</c:v>
                </c:pt>
                <c:pt idx="71">
                  <c:v>Moët &amp; Chan</c:v>
                </c:pt>
                <c:pt idx="72">
                  <c:v>Bollinger</c:v>
                </c:pt>
                <c:pt idx="73">
                  <c:v>Laurent Per</c:v>
                </c:pt>
                <c:pt idx="74">
                  <c:v>Moët &amp; Chan</c:v>
                </c:pt>
                <c:pt idx="75">
                  <c:v>Canard Duch</c:v>
                </c:pt>
                <c:pt idx="76">
                  <c:v>Roederer</c:v>
                </c:pt>
                <c:pt idx="77">
                  <c:v>All Others</c:v>
                </c:pt>
                <c:pt idx="78">
                  <c:v>Nicolas Feu</c:v>
                </c:pt>
                <c:pt idx="79">
                  <c:v>Moët &amp; Chan</c:v>
                </c:pt>
                <c:pt idx="80">
                  <c:v>Ruinart</c:v>
                </c:pt>
                <c:pt idx="81">
                  <c:v>Bollinger</c:v>
                </c:pt>
                <c:pt idx="82">
                  <c:v>Moët &amp; Chan</c:v>
                </c:pt>
                <c:pt idx="83">
                  <c:v>Laurent Per</c:v>
                </c:pt>
                <c:pt idx="84">
                  <c:v>Veuve Clicq</c:v>
                </c:pt>
                <c:pt idx="85">
                  <c:v>Pommery</c:v>
                </c:pt>
                <c:pt idx="86">
                  <c:v>All Others</c:v>
                </c:pt>
                <c:pt idx="87">
                  <c:v>Laurent Per</c:v>
                </c:pt>
                <c:pt idx="88">
                  <c:v>De Venoge</c:v>
                </c:pt>
                <c:pt idx="89">
                  <c:v>Henriot</c:v>
                </c:pt>
                <c:pt idx="90">
                  <c:v>Piper Heids</c:v>
                </c:pt>
                <c:pt idx="91">
                  <c:v>Martel</c:v>
                </c:pt>
                <c:pt idx="92">
                  <c:v>Demoiselle</c:v>
                </c:pt>
                <c:pt idx="93">
                  <c:v>Roederer</c:v>
                </c:pt>
                <c:pt idx="94">
                  <c:v>Vranken</c:v>
                </c:pt>
              </c:strCache>
            </c:strRef>
          </c:cat>
          <c:val>
            <c:numRef>
              <c:f>Sheet1!$B$2:$B$96</c:f>
              <c:numCache>
                <c:formatCode>General</c:formatCode>
                <c:ptCount val="95"/>
                <c:pt idx="0">
                  <c:v>1</c:v>
                </c:pt>
                <c:pt idx="1">
                  <c:v>1</c:v>
                </c:pt>
                <c:pt idx="2">
                  <c:v>1</c:v>
                </c:pt>
                <c:pt idx="3">
                  <c:v>1</c:v>
                </c:pt>
                <c:pt idx="4">
                  <c:v>0.98</c:v>
                </c:pt>
                <c:pt idx="5">
                  <c:v>1</c:v>
                </c:pt>
                <c:pt idx="6">
                  <c:v>1</c:v>
                </c:pt>
                <c:pt idx="7">
                  <c:v>1</c:v>
                </c:pt>
                <c:pt idx="8">
                  <c:v>0.89</c:v>
                </c:pt>
                <c:pt idx="9">
                  <c:v>0.97</c:v>
                </c:pt>
                <c:pt idx="10">
                  <c:v>0.97</c:v>
                </c:pt>
                <c:pt idx="11">
                  <c:v>0.9</c:v>
                </c:pt>
                <c:pt idx="12">
                  <c:v>0.65</c:v>
                </c:pt>
                <c:pt idx="13">
                  <c:v>0.84</c:v>
                </c:pt>
                <c:pt idx="14">
                  <c:v>0.9</c:v>
                </c:pt>
                <c:pt idx="15">
                  <c:v>0.92</c:v>
                </c:pt>
                <c:pt idx="16">
                  <c:v>0.75</c:v>
                </c:pt>
                <c:pt idx="17">
                  <c:v>1</c:v>
                </c:pt>
                <c:pt idx="18">
                  <c:v>0.95</c:v>
                </c:pt>
                <c:pt idx="19">
                  <c:v>0.62</c:v>
                </c:pt>
                <c:pt idx="20">
                  <c:v>0.78</c:v>
                </c:pt>
                <c:pt idx="21">
                  <c:v>0.49</c:v>
                </c:pt>
                <c:pt idx="22">
                  <c:v>0.72</c:v>
                </c:pt>
                <c:pt idx="23">
                  <c:v>0.7</c:v>
                </c:pt>
                <c:pt idx="24">
                  <c:v>0.52</c:v>
                </c:pt>
                <c:pt idx="25">
                  <c:v>0.78</c:v>
                </c:pt>
                <c:pt idx="26">
                  <c:v>0.71</c:v>
                </c:pt>
                <c:pt idx="27">
                  <c:v>0.76</c:v>
                </c:pt>
                <c:pt idx="28">
                  <c:v>0.74</c:v>
                </c:pt>
                <c:pt idx="29">
                  <c:v>0.62</c:v>
                </c:pt>
                <c:pt idx="30">
                  <c:v>0.64</c:v>
                </c:pt>
                <c:pt idx="31">
                  <c:v>0.92</c:v>
                </c:pt>
                <c:pt idx="32">
                  <c:v>0.8</c:v>
                </c:pt>
                <c:pt idx="33">
                  <c:v>0.81</c:v>
                </c:pt>
                <c:pt idx="34">
                  <c:v>0.47</c:v>
                </c:pt>
                <c:pt idx="35">
                  <c:v>0.56999999999999995</c:v>
                </c:pt>
                <c:pt idx="36">
                  <c:v>0.56000000000000005</c:v>
                </c:pt>
                <c:pt idx="37">
                  <c:v>0.53</c:v>
                </c:pt>
                <c:pt idx="38">
                  <c:v>0.62</c:v>
                </c:pt>
                <c:pt idx="39">
                  <c:v>0.51</c:v>
                </c:pt>
                <c:pt idx="40">
                  <c:v>0.64</c:v>
                </c:pt>
                <c:pt idx="41">
                  <c:v>0.37</c:v>
                </c:pt>
                <c:pt idx="42">
                  <c:v>0.53</c:v>
                </c:pt>
                <c:pt idx="43">
                  <c:v>0.71</c:v>
                </c:pt>
                <c:pt idx="44">
                  <c:v>0.54</c:v>
                </c:pt>
                <c:pt idx="45">
                  <c:v>0.37</c:v>
                </c:pt>
                <c:pt idx="46">
                  <c:v>0.6</c:v>
                </c:pt>
                <c:pt idx="47">
                  <c:v>0.62</c:v>
                </c:pt>
                <c:pt idx="48">
                  <c:v>0.33</c:v>
                </c:pt>
                <c:pt idx="49">
                  <c:v>0.36</c:v>
                </c:pt>
                <c:pt idx="50">
                  <c:v>0.59</c:v>
                </c:pt>
                <c:pt idx="51">
                  <c:v>0.51</c:v>
                </c:pt>
                <c:pt idx="52">
                  <c:v>0.34</c:v>
                </c:pt>
                <c:pt idx="53">
                  <c:v>0.32</c:v>
                </c:pt>
                <c:pt idx="54">
                  <c:v>0.41</c:v>
                </c:pt>
                <c:pt idx="55">
                  <c:v>0.28000000000000003</c:v>
                </c:pt>
                <c:pt idx="56">
                  <c:v>0.24</c:v>
                </c:pt>
                <c:pt idx="57">
                  <c:v>0.39</c:v>
                </c:pt>
                <c:pt idx="58">
                  <c:v>0.56999999999999995</c:v>
                </c:pt>
                <c:pt idx="59">
                  <c:v>0.43</c:v>
                </c:pt>
                <c:pt idx="60">
                  <c:v>0.72</c:v>
                </c:pt>
                <c:pt idx="61">
                  <c:v>0.56999999999999995</c:v>
                </c:pt>
                <c:pt idx="62">
                  <c:v>0.33</c:v>
                </c:pt>
                <c:pt idx="63">
                  <c:v>0.19</c:v>
                </c:pt>
                <c:pt idx="64">
                  <c:v>0.62</c:v>
                </c:pt>
                <c:pt idx="65">
                  <c:v>0.36</c:v>
                </c:pt>
                <c:pt idx="66">
                  <c:v>0.19</c:v>
                </c:pt>
                <c:pt idx="67">
                  <c:v>0.62</c:v>
                </c:pt>
                <c:pt idx="68">
                  <c:v>0.36</c:v>
                </c:pt>
                <c:pt idx="69">
                  <c:v>0.62</c:v>
                </c:pt>
                <c:pt idx="70">
                  <c:v>0.24</c:v>
                </c:pt>
                <c:pt idx="71">
                  <c:v>0.1</c:v>
                </c:pt>
                <c:pt idx="72">
                  <c:v>0.14000000000000001</c:v>
                </c:pt>
                <c:pt idx="73">
                  <c:v>0.51</c:v>
                </c:pt>
                <c:pt idx="74">
                  <c:v>0.51</c:v>
                </c:pt>
                <c:pt idx="75">
                  <c:v>0.19</c:v>
                </c:pt>
                <c:pt idx="76">
                  <c:v>0.1</c:v>
                </c:pt>
                <c:pt idx="77">
                  <c:v>0.49</c:v>
                </c:pt>
                <c:pt idx="78">
                  <c:v>0.49</c:v>
                </c:pt>
                <c:pt idx="79">
                  <c:v>0.22</c:v>
                </c:pt>
                <c:pt idx="80">
                  <c:v>0.23</c:v>
                </c:pt>
                <c:pt idx="81">
                  <c:v>0.36</c:v>
                </c:pt>
                <c:pt idx="82">
                  <c:v>0.18</c:v>
                </c:pt>
                <c:pt idx="83">
                  <c:v>0.37</c:v>
                </c:pt>
                <c:pt idx="84">
                  <c:v>0.51</c:v>
                </c:pt>
                <c:pt idx="85">
                  <c:v>0.47</c:v>
                </c:pt>
                <c:pt idx="86">
                  <c:v>0.25</c:v>
                </c:pt>
                <c:pt idx="87">
                  <c:v>0.05</c:v>
                </c:pt>
                <c:pt idx="88">
                  <c:v>0.13</c:v>
                </c:pt>
                <c:pt idx="89">
                  <c:v>0.28000000000000003</c:v>
                </c:pt>
                <c:pt idx="90">
                  <c:v>0.22</c:v>
                </c:pt>
                <c:pt idx="91">
                  <c:v>0.15</c:v>
                </c:pt>
                <c:pt idx="92">
                  <c:v>0.17</c:v>
                </c:pt>
                <c:pt idx="93">
                  <c:v>0.14000000000000001</c:v>
                </c:pt>
                <c:pt idx="94">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Ruinart</c:v>
                </c:pt>
                <c:pt idx="1">
                  <c:v>Nicolas</c:v>
                </c:pt>
                <c:pt idx="2">
                  <c:v>Deutz</c:v>
                </c:pt>
                <c:pt idx="3">
                  <c:v>Heidsieck &amp;</c:v>
                </c:pt>
                <c:pt idx="4">
                  <c:v>De Bligny</c:v>
                </c:pt>
                <c:pt idx="5">
                  <c:v>Ayala</c:v>
                </c:pt>
                <c:pt idx="6">
                  <c:v>Laurent Per</c:v>
                </c:pt>
                <c:pt idx="7">
                  <c:v>Canard Duch</c:v>
                </c:pt>
                <c:pt idx="8">
                  <c:v>Ruinart</c:v>
                </c:pt>
                <c:pt idx="9">
                  <c:v>Taittinger</c:v>
                </c:pt>
                <c:pt idx="10">
                  <c:v>Demoiselle</c:v>
                </c:pt>
                <c:pt idx="11">
                  <c:v>Bollinger</c:v>
                </c:pt>
                <c:pt idx="12">
                  <c:v>Ruinart</c:v>
                </c:pt>
                <c:pt idx="13">
                  <c:v>Deutz</c:v>
                </c:pt>
                <c:pt idx="14">
                  <c:v>Perrier Jou</c:v>
                </c:pt>
                <c:pt idx="15">
                  <c:v>Savian</c:v>
                </c:pt>
                <c:pt idx="16">
                  <c:v>Laurent Per</c:v>
                </c:pt>
                <c:pt idx="17">
                  <c:v>Pommery</c:v>
                </c:pt>
                <c:pt idx="18">
                  <c:v>Moët &amp; Chan</c:v>
                </c:pt>
                <c:pt idx="19">
                  <c:v>Taittinger</c:v>
                </c:pt>
                <c:pt idx="20">
                  <c:v>Besserat De</c:v>
                </c:pt>
                <c:pt idx="21">
                  <c:v>Krug</c:v>
                </c:pt>
                <c:pt idx="22">
                  <c:v>All Others</c:v>
                </c:pt>
                <c:pt idx="23">
                  <c:v>Roederer</c:v>
                </c:pt>
                <c:pt idx="24">
                  <c:v>Campari: Al</c:v>
                </c:pt>
                <c:pt idx="25">
                  <c:v>Veuve Clicq</c:v>
                </c:pt>
                <c:pt idx="26">
                  <c:v>Henriot</c:v>
                </c:pt>
                <c:pt idx="27">
                  <c:v>Bollinger</c:v>
                </c:pt>
                <c:pt idx="28">
                  <c:v>Roederer</c:v>
                </c:pt>
                <c:pt idx="29">
                  <c:v>Demoiselle</c:v>
                </c:pt>
                <c:pt idx="30">
                  <c:v>Veuve Clicq</c:v>
                </c:pt>
                <c:pt idx="31">
                  <c:v>Ruinart</c:v>
                </c:pt>
                <c:pt idx="32">
                  <c:v>Deutz</c:v>
                </c:pt>
                <c:pt idx="33">
                  <c:v>Piper Heids</c:v>
                </c:pt>
                <c:pt idx="34">
                  <c:v>Nicolas Feu</c:v>
                </c:pt>
                <c:pt idx="35">
                  <c:v>Veuve Clicq</c:v>
                </c:pt>
                <c:pt idx="36">
                  <c:v>Campari: Al</c:v>
                </c:pt>
                <c:pt idx="37">
                  <c:v>De Venoge</c:v>
                </c:pt>
                <c:pt idx="38">
                  <c:v>Roederer</c:v>
                </c:pt>
                <c:pt idx="39">
                  <c:v>Lanson</c:v>
                </c:pt>
                <c:pt idx="40">
                  <c:v>All Others</c:v>
                </c:pt>
                <c:pt idx="41">
                  <c:v>Veuve Clicq</c:v>
                </c:pt>
                <c:pt idx="42">
                  <c:v>Canard Duch</c:v>
                </c:pt>
                <c:pt idx="43">
                  <c:v>Canard Duch</c:v>
                </c:pt>
                <c:pt idx="44">
                  <c:v>Nicolas</c:v>
                </c:pt>
                <c:pt idx="45">
                  <c:v>Roederer</c:v>
                </c:pt>
                <c:pt idx="46">
                  <c:v>All Others</c:v>
                </c:pt>
                <c:pt idx="47">
                  <c:v>Nicolas</c:v>
                </c:pt>
                <c:pt idx="48">
                  <c:v>Canard Duch</c:v>
                </c:pt>
                <c:pt idx="49">
                  <c:v>All Others</c:v>
                </c:pt>
                <c:pt idx="50">
                  <c:v>Henriot</c:v>
                </c:pt>
                <c:pt idx="51">
                  <c:v>Moët &amp; Chan</c:v>
                </c:pt>
                <c:pt idx="52">
                  <c:v>Canard Duch</c:v>
                </c:pt>
                <c:pt idx="53">
                  <c:v>All Others</c:v>
                </c:pt>
                <c:pt idx="54">
                  <c:v>Nicolas</c:v>
                </c:pt>
                <c:pt idx="55">
                  <c:v>De Venoge</c:v>
                </c:pt>
                <c:pt idx="56">
                  <c:v>Ruinart</c:v>
                </c:pt>
                <c:pt idx="57">
                  <c:v>Nicolas Feu</c:v>
                </c:pt>
                <c:pt idx="58">
                  <c:v>Demoiselle</c:v>
                </c:pt>
                <c:pt idx="59">
                  <c:v>De Venoge</c:v>
                </c:pt>
                <c:pt idx="60">
                  <c:v>Vranken</c:v>
                </c:pt>
                <c:pt idx="61">
                  <c:v>Roederer</c:v>
                </c:pt>
                <c:pt idx="62">
                  <c:v>Nicolas</c:v>
                </c:pt>
                <c:pt idx="63">
                  <c:v>Nicolas</c:v>
                </c:pt>
                <c:pt idx="64">
                  <c:v>Pommery</c:v>
                </c:pt>
                <c:pt idx="65">
                  <c:v>Nicolas</c:v>
                </c:pt>
                <c:pt idx="66">
                  <c:v>Laurent Per</c:v>
                </c:pt>
                <c:pt idx="67">
                  <c:v>Pommery</c:v>
                </c:pt>
                <c:pt idx="68">
                  <c:v>Pommery</c:v>
                </c:pt>
                <c:pt idx="69">
                  <c:v>Roederer</c:v>
                </c:pt>
                <c:pt idx="70">
                  <c:v>Roederer</c:v>
                </c:pt>
                <c:pt idx="71">
                  <c:v>Moët &amp; Chan</c:v>
                </c:pt>
                <c:pt idx="72">
                  <c:v>Bollinger</c:v>
                </c:pt>
                <c:pt idx="73">
                  <c:v>Laurent Per</c:v>
                </c:pt>
                <c:pt idx="74">
                  <c:v>Moët &amp; Chan</c:v>
                </c:pt>
                <c:pt idx="75">
                  <c:v>Canard Duch</c:v>
                </c:pt>
                <c:pt idx="76">
                  <c:v>Roederer</c:v>
                </c:pt>
                <c:pt idx="77">
                  <c:v>All Others</c:v>
                </c:pt>
                <c:pt idx="78">
                  <c:v>Nicolas Feu</c:v>
                </c:pt>
                <c:pt idx="79">
                  <c:v>Moët &amp; Chan</c:v>
                </c:pt>
                <c:pt idx="80">
                  <c:v>Ruinart</c:v>
                </c:pt>
                <c:pt idx="81">
                  <c:v>Bollinger</c:v>
                </c:pt>
                <c:pt idx="82">
                  <c:v>Moët &amp; Chan</c:v>
                </c:pt>
                <c:pt idx="83">
                  <c:v>Laurent Per</c:v>
                </c:pt>
                <c:pt idx="84">
                  <c:v>Veuve Clicq</c:v>
                </c:pt>
                <c:pt idx="85">
                  <c:v>Pommery</c:v>
                </c:pt>
                <c:pt idx="86">
                  <c:v>All Others</c:v>
                </c:pt>
                <c:pt idx="87">
                  <c:v>Laurent Per</c:v>
                </c:pt>
                <c:pt idx="88">
                  <c:v>De Venoge</c:v>
                </c:pt>
                <c:pt idx="89">
                  <c:v>Henriot</c:v>
                </c:pt>
                <c:pt idx="90">
                  <c:v>Piper Heids</c:v>
                </c:pt>
                <c:pt idx="91">
                  <c:v>Martel</c:v>
                </c:pt>
                <c:pt idx="92">
                  <c:v>Demoiselle</c:v>
                </c:pt>
                <c:pt idx="93">
                  <c:v>Roederer</c:v>
                </c:pt>
                <c:pt idx="94">
                  <c:v>Vranken</c:v>
                </c:pt>
              </c:strCache>
            </c:strRef>
          </c:cat>
          <c:val>
            <c:numRef>
              <c:f>Sheet1!$C$2:$C$96</c:f>
              <c:numCache>
                <c:formatCode>General</c:formatCode>
                <c:ptCount val="95"/>
                <c:pt idx="0">
                  <c:v>0.19063838268959635</c:v>
                </c:pt>
                <c:pt idx="1">
                  <c:v>0.2729167338396466</c:v>
                </c:pt>
                <c:pt idx="2">
                  <c:v>0.34888717577434569</c:v>
                </c:pt>
                <c:pt idx="3">
                  <c:v>0.39849161241532544</c:v>
                </c:pt>
                <c:pt idx="4">
                  <c:v>0.43601077503451474</c:v>
                </c:pt>
                <c:pt idx="5">
                  <c:v>0.47147224607880789</c:v>
                </c:pt>
                <c:pt idx="6">
                  <c:v>0.50648084910554914</c:v>
                </c:pt>
                <c:pt idx="7">
                  <c:v>0.54022757717076209</c:v>
                </c:pt>
                <c:pt idx="8">
                  <c:v>0.57120580140052002</c:v>
                </c:pt>
                <c:pt idx="9">
                  <c:v>0.60018495774697433</c:v>
                </c:pt>
                <c:pt idx="10">
                  <c:v>0.62565548615161848</c:v>
                </c:pt>
                <c:pt idx="11">
                  <c:v>0.65102195750368597</c:v>
                </c:pt>
                <c:pt idx="12">
                  <c:v>0.67296187408217278</c:v>
                </c:pt>
                <c:pt idx="13">
                  <c:v>0.69383923625054589</c:v>
                </c:pt>
                <c:pt idx="14">
                  <c:v>0.71256364334518507</c:v>
                </c:pt>
                <c:pt idx="15">
                  <c:v>0.72890206619201015</c:v>
                </c:pt>
                <c:pt idx="16">
                  <c:v>0.74520824600845936</c:v>
                </c:pt>
                <c:pt idx="17">
                  <c:v>0.76023349816361285</c:v>
                </c:pt>
                <c:pt idx="18">
                  <c:v>0.77373160315278211</c:v>
                </c:pt>
                <c:pt idx="19">
                  <c:v>0.78706702739778223</c:v>
                </c:pt>
                <c:pt idx="20">
                  <c:v>0.79958611673735702</c:v>
                </c:pt>
                <c:pt idx="21">
                  <c:v>0.81183553709560641</c:v>
                </c:pt>
                <c:pt idx="22">
                  <c:v>0.82390175841762925</c:v>
                </c:pt>
                <c:pt idx="23">
                  <c:v>0.83386485480377182</c:v>
                </c:pt>
                <c:pt idx="24">
                  <c:v>0.84305411846089362</c:v>
                </c:pt>
                <c:pt idx="25">
                  <c:v>0.85211294440422214</c:v>
                </c:pt>
                <c:pt idx="26">
                  <c:v>0.86018542673650711</c:v>
                </c:pt>
                <c:pt idx="27">
                  <c:v>0.86785047441222429</c:v>
                </c:pt>
                <c:pt idx="28">
                  <c:v>0.87510369065450433</c:v>
                </c:pt>
                <c:pt idx="29">
                  <c:v>0.88206085725424233</c:v>
                </c:pt>
                <c:pt idx="30">
                  <c:v>0.88879965060279831</c:v>
                </c:pt>
                <c:pt idx="31">
                  <c:v>0.89547982025976181</c:v>
                </c:pt>
                <c:pt idx="32">
                  <c:v>0.90156642503935136</c:v>
                </c:pt>
                <c:pt idx="33">
                  <c:v>0.90740094794509329</c:v>
                </c:pt>
                <c:pt idx="34">
                  <c:v>0.9129423523928728</c:v>
                </c:pt>
                <c:pt idx="35">
                  <c:v>0.9183474567576998</c:v>
                </c:pt>
                <c:pt idx="36">
                  <c:v>0.92371152453841199</c:v>
                </c:pt>
                <c:pt idx="37">
                  <c:v>0.92873850609246744</c:v>
                </c:pt>
                <c:pt idx="38">
                  <c:v>0.93327158304485625</c:v>
                </c:pt>
                <c:pt idx="39">
                  <c:v>0.93753499101591964</c:v>
                </c:pt>
                <c:pt idx="40">
                  <c:v>0.94160200962014817</c:v>
                </c:pt>
                <c:pt idx="41">
                  <c:v>0.94513994940775459</c:v>
                </c:pt>
                <c:pt idx="42">
                  <c:v>0.94861193754231943</c:v>
                </c:pt>
                <c:pt idx="43">
                  <c:v>0.95195348796309098</c:v>
                </c:pt>
                <c:pt idx="44">
                  <c:v>0.95506347480207221</c:v>
                </c:pt>
                <c:pt idx="45">
                  <c:v>0.95767662585480717</c:v>
                </c:pt>
                <c:pt idx="46">
                  <c:v>0.96022089406992095</c:v>
                </c:pt>
                <c:pt idx="47">
                  <c:v>0.96259661917170636</c:v>
                </c:pt>
                <c:pt idx="48">
                  <c:v>0.96484337215198823</c:v>
                </c:pt>
                <c:pt idx="49">
                  <c:v>0.96706960684021281</c:v>
                </c:pt>
                <c:pt idx="50">
                  <c:v>0.96920204362188944</c:v>
                </c:pt>
                <c:pt idx="51">
                  <c:v>0.97102084365354624</c:v>
                </c:pt>
                <c:pt idx="52">
                  <c:v>0.97282352217001511</c:v>
                </c:pt>
                <c:pt idx="53">
                  <c:v>0.97456024903344241</c:v>
                </c:pt>
                <c:pt idx="54">
                  <c:v>0.97627938878939202</c:v>
                </c:pt>
                <c:pt idx="55">
                  <c:v>0.97781386391682523</c:v>
                </c:pt>
                <c:pt idx="56">
                  <c:v>0.97917539915406071</c:v>
                </c:pt>
                <c:pt idx="57">
                  <c:v>0.98035080417049003</c:v>
                </c:pt>
                <c:pt idx="58">
                  <c:v>0.98150715648715181</c:v>
                </c:pt>
                <c:pt idx="59">
                  <c:v>0.98266057761923387</c:v>
                </c:pt>
                <c:pt idx="60">
                  <c:v>0.98377882453636045</c:v>
                </c:pt>
                <c:pt idx="61">
                  <c:v>0.98489560586119729</c:v>
                </c:pt>
                <c:pt idx="62">
                  <c:v>0.98584091288812603</c:v>
                </c:pt>
                <c:pt idx="63">
                  <c:v>0.98678621991505477</c:v>
                </c:pt>
                <c:pt idx="64">
                  <c:v>0.98770954305763636</c:v>
                </c:pt>
                <c:pt idx="65">
                  <c:v>0.98859769198526248</c:v>
                </c:pt>
                <c:pt idx="66">
                  <c:v>0.98946239143625159</c:v>
                </c:pt>
                <c:pt idx="67">
                  <c:v>0.99026260482648898</c:v>
                </c:pt>
                <c:pt idx="68">
                  <c:v>0.99105695584756714</c:v>
                </c:pt>
                <c:pt idx="69">
                  <c:v>0.9918483756840657</c:v>
                </c:pt>
                <c:pt idx="70">
                  <c:v>0.99263686433598464</c:v>
                </c:pt>
                <c:pt idx="71">
                  <c:v>0.99338285081149902</c:v>
                </c:pt>
                <c:pt idx="72">
                  <c:v>0.9939544318045257</c:v>
                </c:pt>
                <c:pt idx="73">
                  <c:v>0.99448790739801729</c:v>
                </c:pt>
                <c:pt idx="74">
                  <c:v>0.99500233029174134</c:v>
                </c:pt>
                <c:pt idx="75">
                  <c:v>0.99550356285485708</c:v>
                </c:pt>
                <c:pt idx="76">
                  <c:v>0.99597841475675619</c:v>
                </c:pt>
                <c:pt idx="77">
                  <c:v>0.99643421395888776</c:v>
                </c:pt>
                <c:pt idx="78">
                  <c:v>0.9968841507918601</c:v>
                </c:pt>
                <c:pt idx="79">
                  <c:v>0.99732382847880374</c:v>
                </c:pt>
                <c:pt idx="80">
                  <c:v>0.99775617820429829</c:v>
                </c:pt>
                <c:pt idx="81">
                  <c:v>0.99808007410034671</c:v>
                </c:pt>
                <c:pt idx="82">
                  <c:v>0.99837319255830914</c:v>
                </c:pt>
                <c:pt idx="83">
                  <c:v>0.99866631101627157</c:v>
                </c:pt>
                <c:pt idx="84">
                  <c:v>0.99890080578264151</c:v>
                </c:pt>
                <c:pt idx="85">
                  <c:v>0.9991030575186356</c:v>
                </c:pt>
                <c:pt idx="86">
                  <c:v>0.9992672038550946</c:v>
                </c:pt>
                <c:pt idx="87">
                  <c:v>0.99941229749178595</c:v>
                </c:pt>
                <c:pt idx="88">
                  <c:v>0.99954420079786899</c:v>
                </c:pt>
                <c:pt idx="89">
                  <c:v>0.99966731055021318</c:v>
                </c:pt>
                <c:pt idx="90">
                  <c:v>0.99976697082592036</c:v>
                </c:pt>
                <c:pt idx="91">
                  <c:v>0.99983878484812116</c:v>
                </c:pt>
                <c:pt idx="92">
                  <c:v>0.99990327090887288</c:v>
                </c:pt>
                <c:pt idx="93">
                  <c:v>0.99995456663901627</c:v>
                </c:pt>
                <c:pt idx="94">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Ruinart</c:v>
                </c:pt>
                <c:pt idx="1">
                  <c:v>Nicolas</c:v>
                </c:pt>
                <c:pt idx="2">
                  <c:v>Deutz</c:v>
                </c:pt>
                <c:pt idx="3">
                  <c:v>Heidsieck &amp;</c:v>
                </c:pt>
                <c:pt idx="4">
                  <c:v>De Bligny</c:v>
                </c:pt>
                <c:pt idx="5">
                  <c:v>Ayala</c:v>
                </c:pt>
                <c:pt idx="6">
                  <c:v>Canard Duch</c:v>
                </c:pt>
                <c:pt idx="7">
                  <c:v>Besserat De</c:v>
                </c:pt>
                <c:pt idx="8">
                  <c:v>Ruinart</c:v>
                </c:pt>
                <c:pt idx="9">
                  <c:v>Laurent Per</c:v>
                </c:pt>
                <c:pt idx="10">
                  <c:v>Demoiselle</c:v>
                </c:pt>
                <c:pt idx="11">
                  <c:v>Taittinger</c:v>
                </c:pt>
                <c:pt idx="12">
                  <c:v>Bollinger</c:v>
                </c:pt>
                <c:pt idx="13">
                  <c:v>Savian</c:v>
                </c:pt>
                <c:pt idx="14">
                  <c:v>Ruinart</c:v>
                </c:pt>
                <c:pt idx="15">
                  <c:v>Roederer</c:v>
                </c:pt>
                <c:pt idx="16">
                  <c:v>Laurent Per</c:v>
                </c:pt>
                <c:pt idx="17">
                  <c:v>Deutz</c:v>
                </c:pt>
                <c:pt idx="18">
                  <c:v>Campari: Al</c:v>
                </c:pt>
                <c:pt idx="19">
                  <c:v>Perrier Jou</c:v>
                </c:pt>
                <c:pt idx="20">
                  <c:v>Pommery</c:v>
                </c:pt>
                <c:pt idx="21">
                  <c:v>All Others</c:v>
                </c:pt>
                <c:pt idx="22">
                  <c:v>Piper Heids</c:v>
                </c:pt>
                <c:pt idx="23">
                  <c:v>Taittinger</c:v>
                </c:pt>
                <c:pt idx="24">
                  <c:v>Roederer</c:v>
                </c:pt>
                <c:pt idx="25">
                  <c:v>Moët &amp; Chan</c:v>
                </c:pt>
                <c:pt idx="26">
                  <c:v>All Others</c:v>
                </c:pt>
                <c:pt idx="27">
                  <c:v>Canard Duch</c:v>
                </c:pt>
                <c:pt idx="28">
                  <c:v>Henriot</c:v>
                </c:pt>
                <c:pt idx="29">
                  <c:v>Veuve Clicq</c:v>
                </c:pt>
                <c:pt idx="30">
                  <c:v>De Venoge</c:v>
                </c:pt>
                <c:pt idx="31">
                  <c:v>Veuve Clicq</c:v>
                </c:pt>
                <c:pt idx="32">
                  <c:v>Nicolas</c:v>
                </c:pt>
                <c:pt idx="33">
                  <c:v>Ruinart</c:v>
                </c:pt>
                <c:pt idx="34">
                  <c:v>Veuve Clicq</c:v>
                </c:pt>
                <c:pt idx="35">
                  <c:v>Canard Duch</c:v>
                </c:pt>
                <c:pt idx="36">
                  <c:v>Campari: Al</c:v>
                </c:pt>
                <c:pt idx="37">
                  <c:v>Deutz</c:v>
                </c:pt>
                <c:pt idx="38">
                  <c:v>Nicolas</c:v>
                </c:pt>
                <c:pt idx="39">
                  <c:v>All Others</c:v>
                </c:pt>
                <c:pt idx="40">
                  <c:v>Canard Duch</c:v>
                </c:pt>
                <c:pt idx="41">
                  <c:v>Bollinger</c:v>
                </c:pt>
                <c:pt idx="42">
                  <c:v>Lanson</c:v>
                </c:pt>
                <c:pt idx="43">
                  <c:v>Nicolas Feu</c:v>
                </c:pt>
                <c:pt idx="44">
                  <c:v>Krug</c:v>
                </c:pt>
                <c:pt idx="45">
                  <c:v>Henriot</c:v>
                </c:pt>
                <c:pt idx="46">
                  <c:v>Vranken</c:v>
                </c:pt>
                <c:pt idx="47">
                  <c:v>Roederer</c:v>
                </c:pt>
                <c:pt idx="48">
                  <c:v>De Venoge</c:v>
                </c:pt>
                <c:pt idx="49">
                  <c:v>Veuve Clicq</c:v>
                </c:pt>
                <c:pt idx="50">
                  <c:v>Canard Duch</c:v>
                </c:pt>
                <c:pt idx="51">
                  <c:v>Nicolas</c:v>
                </c:pt>
                <c:pt idx="52">
                  <c:v>All Others</c:v>
                </c:pt>
                <c:pt idx="53">
                  <c:v>Moët &amp; Chan</c:v>
                </c:pt>
                <c:pt idx="54">
                  <c:v>De Venoge</c:v>
                </c:pt>
                <c:pt idx="55">
                  <c:v>Roederer</c:v>
                </c:pt>
                <c:pt idx="56">
                  <c:v>Roederer</c:v>
                </c:pt>
                <c:pt idx="57">
                  <c:v>Nicolas</c:v>
                </c:pt>
                <c:pt idx="58">
                  <c:v>Ruinart</c:v>
                </c:pt>
                <c:pt idx="59">
                  <c:v>Roederer</c:v>
                </c:pt>
                <c:pt idx="60">
                  <c:v>Ruinart</c:v>
                </c:pt>
                <c:pt idx="61">
                  <c:v>Ruinart</c:v>
                </c:pt>
                <c:pt idx="62">
                  <c:v>Roederer</c:v>
                </c:pt>
                <c:pt idx="63">
                  <c:v>All Others</c:v>
                </c:pt>
                <c:pt idx="64">
                  <c:v>Demoiselle</c:v>
                </c:pt>
                <c:pt idx="65">
                  <c:v>Nicolas Feu</c:v>
                </c:pt>
                <c:pt idx="66">
                  <c:v>Nicolas</c:v>
                </c:pt>
                <c:pt idx="67">
                  <c:v>Piper Heids</c:v>
                </c:pt>
                <c:pt idx="68">
                  <c:v>All Others</c:v>
                </c:pt>
                <c:pt idx="69">
                  <c:v>Deutz</c:v>
                </c:pt>
                <c:pt idx="70">
                  <c:v>Lanson</c:v>
                </c:pt>
                <c:pt idx="71">
                  <c:v>Deutz</c:v>
                </c:pt>
                <c:pt idx="72">
                  <c:v>Laurent Per</c:v>
                </c:pt>
                <c:pt idx="73">
                  <c:v>Roederer</c:v>
                </c:pt>
                <c:pt idx="74">
                  <c:v>All Others</c:v>
                </c:pt>
                <c:pt idx="75">
                  <c:v>Laurent Per</c:v>
                </c:pt>
                <c:pt idx="76">
                  <c:v>Pommery</c:v>
                </c:pt>
                <c:pt idx="77">
                  <c:v>Roederer</c:v>
                </c:pt>
                <c:pt idx="78">
                  <c:v>Laurent Per</c:v>
                </c:pt>
                <c:pt idx="79">
                  <c:v>Ruinart</c:v>
                </c:pt>
                <c:pt idx="80">
                  <c:v>Vranken</c:v>
                </c:pt>
                <c:pt idx="81">
                  <c:v>Nicolas</c:v>
                </c:pt>
                <c:pt idx="82">
                  <c:v>Pommery</c:v>
                </c:pt>
                <c:pt idx="83">
                  <c:v>Henriot</c:v>
                </c:pt>
                <c:pt idx="84">
                  <c:v>Moët &amp; Chan</c:v>
                </c:pt>
                <c:pt idx="85">
                  <c:v>Nicolas Feu</c:v>
                </c:pt>
                <c:pt idx="86">
                  <c:v>Pommery</c:v>
                </c:pt>
                <c:pt idx="87">
                  <c:v>All Others</c:v>
                </c:pt>
                <c:pt idx="88">
                  <c:v>Roederer</c:v>
                </c:pt>
                <c:pt idx="89">
                  <c:v>All Others</c:v>
                </c:pt>
                <c:pt idx="90">
                  <c:v>All Others</c:v>
                </c:pt>
                <c:pt idx="91">
                  <c:v>De Venoge</c:v>
                </c:pt>
                <c:pt idx="92">
                  <c:v>Moët &amp; Chan</c:v>
                </c:pt>
                <c:pt idx="93">
                  <c:v>Roederer</c:v>
                </c:pt>
                <c:pt idx="94">
                  <c:v>Bollinger</c:v>
                </c:pt>
              </c:strCache>
            </c:strRef>
          </c:cat>
          <c:val>
            <c:numRef>
              <c:f>Sheet1!$B$2:$B$96</c:f>
              <c:numCache>
                <c:formatCode>General</c:formatCode>
                <c:ptCount val="95"/>
                <c:pt idx="0">
                  <c:v>1</c:v>
                </c:pt>
                <c:pt idx="1">
                  <c:v>1</c:v>
                </c:pt>
                <c:pt idx="2">
                  <c:v>1</c:v>
                </c:pt>
                <c:pt idx="3">
                  <c:v>0.99</c:v>
                </c:pt>
                <c:pt idx="4">
                  <c:v>1</c:v>
                </c:pt>
                <c:pt idx="5">
                  <c:v>1</c:v>
                </c:pt>
                <c:pt idx="6">
                  <c:v>1</c:v>
                </c:pt>
                <c:pt idx="7">
                  <c:v>0.96</c:v>
                </c:pt>
                <c:pt idx="8">
                  <c:v>0.88</c:v>
                </c:pt>
                <c:pt idx="9">
                  <c:v>0.91</c:v>
                </c:pt>
                <c:pt idx="10">
                  <c:v>1</c:v>
                </c:pt>
                <c:pt idx="11">
                  <c:v>0.82</c:v>
                </c:pt>
                <c:pt idx="12">
                  <c:v>0.81</c:v>
                </c:pt>
                <c:pt idx="13">
                  <c:v>0.97</c:v>
                </c:pt>
                <c:pt idx="14">
                  <c:v>0.56999999999999995</c:v>
                </c:pt>
                <c:pt idx="15">
                  <c:v>0.69</c:v>
                </c:pt>
                <c:pt idx="16">
                  <c:v>0.81</c:v>
                </c:pt>
                <c:pt idx="17">
                  <c:v>0.72</c:v>
                </c:pt>
                <c:pt idx="18">
                  <c:v>0.68</c:v>
                </c:pt>
                <c:pt idx="19">
                  <c:v>0.93</c:v>
                </c:pt>
                <c:pt idx="20">
                  <c:v>0.76</c:v>
                </c:pt>
                <c:pt idx="21">
                  <c:v>0.92</c:v>
                </c:pt>
                <c:pt idx="22">
                  <c:v>0.68</c:v>
                </c:pt>
                <c:pt idx="23">
                  <c:v>0.54</c:v>
                </c:pt>
                <c:pt idx="24">
                  <c:v>0.47</c:v>
                </c:pt>
                <c:pt idx="25">
                  <c:v>0.86</c:v>
                </c:pt>
                <c:pt idx="26">
                  <c:v>0.73</c:v>
                </c:pt>
                <c:pt idx="27">
                  <c:v>0.45</c:v>
                </c:pt>
                <c:pt idx="28">
                  <c:v>0.65</c:v>
                </c:pt>
                <c:pt idx="29">
                  <c:v>0.69</c:v>
                </c:pt>
                <c:pt idx="30">
                  <c:v>0.49</c:v>
                </c:pt>
                <c:pt idx="31">
                  <c:v>0.49</c:v>
                </c:pt>
                <c:pt idx="32">
                  <c:v>0.75</c:v>
                </c:pt>
                <c:pt idx="33">
                  <c:v>0.53</c:v>
                </c:pt>
                <c:pt idx="34">
                  <c:v>0.39</c:v>
                </c:pt>
                <c:pt idx="35">
                  <c:v>0.84</c:v>
                </c:pt>
                <c:pt idx="36">
                  <c:v>0.64</c:v>
                </c:pt>
                <c:pt idx="37">
                  <c:v>0.75</c:v>
                </c:pt>
                <c:pt idx="38">
                  <c:v>0.46</c:v>
                </c:pt>
                <c:pt idx="39">
                  <c:v>0.41</c:v>
                </c:pt>
                <c:pt idx="40">
                  <c:v>0.34</c:v>
                </c:pt>
                <c:pt idx="41">
                  <c:v>0.31</c:v>
                </c:pt>
                <c:pt idx="42">
                  <c:v>0.64</c:v>
                </c:pt>
                <c:pt idx="43">
                  <c:v>0.4</c:v>
                </c:pt>
                <c:pt idx="44">
                  <c:v>0.23</c:v>
                </c:pt>
                <c:pt idx="45">
                  <c:v>0.68</c:v>
                </c:pt>
                <c:pt idx="46">
                  <c:v>0.2</c:v>
                </c:pt>
                <c:pt idx="47">
                  <c:v>0.26</c:v>
                </c:pt>
                <c:pt idx="48">
                  <c:v>0.37</c:v>
                </c:pt>
                <c:pt idx="49">
                  <c:v>0.36</c:v>
                </c:pt>
                <c:pt idx="50">
                  <c:v>0.18</c:v>
                </c:pt>
                <c:pt idx="51">
                  <c:v>0.61</c:v>
                </c:pt>
                <c:pt idx="52">
                  <c:v>0.44</c:v>
                </c:pt>
                <c:pt idx="53">
                  <c:v>0.36</c:v>
                </c:pt>
                <c:pt idx="54">
                  <c:v>0.44</c:v>
                </c:pt>
                <c:pt idx="55">
                  <c:v>0.22</c:v>
                </c:pt>
                <c:pt idx="56">
                  <c:v>0.33</c:v>
                </c:pt>
                <c:pt idx="57">
                  <c:v>0.3</c:v>
                </c:pt>
                <c:pt idx="58">
                  <c:v>0.24</c:v>
                </c:pt>
                <c:pt idx="59">
                  <c:v>0.28000000000000003</c:v>
                </c:pt>
                <c:pt idx="60">
                  <c:v>0.22</c:v>
                </c:pt>
                <c:pt idx="61">
                  <c:v>0.15</c:v>
                </c:pt>
                <c:pt idx="62">
                  <c:v>0.28000000000000003</c:v>
                </c:pt>
                <c:pt idx="63">
                  <c:v>0.23</c:v>
                </c:pt>
                <c:pt idx="64">
                  <c:v>0.48</c:v>
                </c:pt>
                <c:pt idx="65">
                  <c:v>0.28000000000000003</c:v>
                </c:pt>
                <c:pt idx="66">
                  <c:v>0.21</c:v>
                </c:pt>
                <c:pt idx="67">
                  <c:v>0.04</c:v>
                </c:pt>
                <c:pt idx="68">
                  <c:v>0.11</c:v>
                </c:pt>
                <c:pt idx="69">
                  <c:v>0.15</c:v>
                </c:pt>
                <c:pt idx="70">
                  <c:v>0.1</c:v>
                </c:pt>
                <c:pt idx="71">
                  <c:v>0.17</c:v>
                </c:pt>
                <c:pt idx="72">
                  <c:v>7.0000000000000007E-2</c:v>
                </c:pt>
                <c:pt idx="73">
                  <c:v>0.12</c:v>
                </c:pt>
                <c:pt idx="74">
                  <c:v>0.17</c:v>
                </c:pt>
                <c:pt idx="75">
                  <c:v>0.17</c:v>
                </c:pt>
                <c:pt idx="76">
                  <c:v>0.23</c:v>
                </c:pt>
                <c:pt idx="77">
                  <c:v>0.11</c:v>
                </c:pt>
                <c:pt idx="78">
                  <c:v>0.06</c:v>
                </c:pt>
                <c:pt idx="79">
                  <c:v>0.09</c:v>
                </c:pt>
                <c:pt idx="80">
                  <c:v>0.1</c:v>
                </c:pt>
                <c:pt idx="81">
                  <c:v>0.12</c:v>
                </c:pt>
                <c:pt idx="82">
                  <c:v>0.24</c:v>
                </c:pt>
                <c:pt idx="83">
                  <c:v>0.08</c:v>
                </c:pt>
                <c:pt idx="84">
                  <c:v>0.23</c:v>
                </c:pt>
                <c:pt idx="85">
                  <c:v>0.24</c:v>
                </c:pt>
                <c:pt idx="86">
                  <c:v>0.13</c:v>
                </c:pt>
                <c:pt idx="87">
                  <c:v>0.15</c:v>
                </c:pt>
                <c:pt idx="88">
                  <c:v>0.04</c:v>
                </c:pt>
                <c:pt idx="89">
                  <c:v>0.05</c:v>
                </c:pt>
                <c:pt idx="90">
                  <c:v>0.05</c:v>
                </c:pt>
                <c:pt idx="91">
                  <c:v>0.1</c:v>
                </c:pt>
                <c:pt idx="92">
                  <c:v>0.1</c:v>
                </c:pt>
                <c:pt idx="93">
                  <c:v>0.04</c:v>
                </c:pt>
                <c:pt idx="94">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Ruinart</c:v>
                </c:pt>
                <c:pt idx="1">
                  <c:v>Nicolas</c:v>
                </c:pt>
                <c:pt idx="2">
                  <c:v>Deutz</c:v>
                </c:pt>
                <c:pt idx="3">
                  <c:v>Heidsieck &amp;</c:v>
                </c:pt>
                <c:pt idx="4">
                  <c:v>De Bligny</c:v>
                </c:pt>
                <c:pt idx="5">
                  <c:v>Ayala</c:v>
                </c:pt>
                <c:pt idx="6">
                  <c:v>Canard Duch</c:v>
                </c:pt>
                <c:pt idx="7">
                  <c:v>Besserat De</c:v>
                </c:pt>
                <c:pt idx="8">
                  <c:v>Ruinart</c:v>
                </c:pt>
                <c:pt idx="9">
                  <c:v>Laurent Per</c:v>
                </c:pt>
                <c:pt idx="10">
                  <c:v>Demoiselle</c:v>
                </c:pt>
                <c:pt idx="11">
                  <c:v>Taittinger</c:v>
                </c:pt>
                <c:pt idx="12">
                  <c:v>Bollinger</c:v>
                </c:pt>
                <c:pt idx="13">
                  <c:v>Savian</c:v>
                </c:pt>
                <c:pt idx="14">
                  <c:v>Ruinart</c:v>
                </c:pt>
                <c:pt idx="15">
                  <c:v>Roederer</c:v>
                </c:pt>
                <c:pt idx="16">
                  <c:v>Laurent Per</c:v>
                </c:pt>
                <c:pt idx="17">
                  <c:v>Deutz</c:v>
                </c:pt>
                <c:pt idx="18">
                  <c:v>Campari: Al</c:v>
                </c:pt>
                <c:pt idx="19">
                  <c:v>Perrier Jou</c:v>
                </c:pt>
                <c:pt idx="20">
                  <c:v>Pommery</c:v>
                </c:pt>
                <c:pt idx="21">
                  <c:v>All Others</c:v>
                </c:pt>
                <c:pt idx="22">
                  <c:v>Piper Heids</c:v>
                </c:pt>
                <c:pt idx="23">
                  <c:v>Taittinger</c:v>
                </c:pt>
                <c:pt idx="24">
                  <c:v>Roederer</c:v>
                </c:pt>
                <c:pt idx="25">
                  <c:v>Moët &amp; Chan</c:v>
                </c:pt>
                <c:pt idx="26">
                  <c:v>All Others</c:v>
                </c:pt>
                <c:pt idx="27">
                  <c:v>Canard Duch</c:v>
                </c:pt>
                <c:pt idx="28">
                  <c:v>Henriot</c:v>
                </c:pt>
                <c:pt idx="29">
                  <c:v>Veuve Clicq</c:v>
                </c:pt>
                <c:pt idx="30">
                  <c:v>De Venoge</c:v>
                </c:pt>
                <c:pt idx="31">
                  <c:v>Veuve Clicq</c:v>
                </c:pt>
                <c:pt idx="32">
                  <c:v>Nicolas</c:v>
                </c:pt>
                <c:pt idx="33">
                  <c:v>Ruinart</c:v>
                </c:pt>
                <c:pt idx="34">
                  <c:v>Veuve Clicq</c:v>
                </c:pt>
                <c:pt idx="35">
                  <c:v>Canard Duch</c:v>
                </c:pt>
                <c:pt idx="36">
                  <c:v>Campari: Al</c:v>
                </c:pt>
                <c:pt idx="37">
                  <c:v>Deutz</c:v>
                </c:pt>
                <c:pt idx="38">
                  <c:v>Nicolas</c:v>
                </c:pt>
                <c:pt idx="39">
                  <c:v>All Others</c:v>
                </c:pt>
                <c:pt idx="40">
                  <c:v>Canard Duch</c:v>
                </c:pt>
                <c:pt idx="41">
                  <c:v>Bollinger</c:v>
                </c:pt>
                <c:pt idx="42">
                  <c:v>Lanson</c:v>
                </c:pt>
                <c:pt idx="43">
                  <c:v>Nicolas Feu</c:v>
                </c:pt>
                <c:pt idx="44">
                  <c:v>Krug</c:v>
                </c:pt>
                <c:pt idx="45">
                  <c:v>Henriot</c:v>
                </c:pt>
                <c:pt idx="46">
                  <c:v>Vranken</c:v>
                </c:pt>
                <c:pt idx="47">
                  <c:v>Roederer</c:v>
                </c:pt>
                <c:pt idx="48">
                  <c:v>De Venoge</c:v>
                </c:pt>
                <c:pt idx="49">
                  <c:v>Veuve Clicq</c:v>
                </c:pt>
                <c:pt idx="50">
                  <c:v>Canard Duch</c:v>
                </c:pt>
                <c:pt idx="51">
                  <c:v>Nicolas</c:v>
                </c:pt>
                <c:pt idx="52">
                  <c:v>All Others</c:v>
                </c:pt>
                <c:pt idx="53">
                  <c:v>Moët &amp; Chan</c:v>
                </c:pt>
                <c:pt idx="54">
                  <c:v>De Venoge</c:v>
                </c:pt>
                <c:pt idx="55">
                  <c:v>Roederer</c:v>
                </c:pt>
                <c:pt idx="56">
                  <c:v>Roederer</c:v>
                </c:pt>
                <c:pt idx="57">
                  <c:v>Nicolas</c:v>
                </c:pt>
                <c:pt idx="58">
                  <c:v>Ruinart</c:v>
                </c:pt>
                <c:pt idx="59">
                  <c:v>Roederer</c:v>
                </c:pt>
                <c:pt idx="60">
                  <c:v>Ruinart</c:v>
                </c:pt>
                <c:pt idx="61">
                  <c:v>Ruinart</c:v>
                </c:pt>
                <c:pt idx="62">
                  <c:v>Roederer</c:v>
                </c:pt>
                <c:pt idx="63">
                  <c:v>All Others</c:v>
                </c:pt>
                <c:pt idx="64">
                  <c:v>Demoiselle</c:v>
                </c:pt>
                <c:pt idx="65">
                  <c:v>Nicolas Feu</c:v>
                </c:pt>
                <c:pt idx="66">
                  <c:v>Nicolas</c:v>
                </c:pt>
                <c:pt idx="67">
                  <c:v>Piper Heids</c:v>
                </c:pt>
                <c:pt idx="68">
                  <c:v>All Others</c:v>
                </c:pt>
                <c:pt idx="69">
                  <c:v>Deutz</c:v>
                </c:pt>
                <c:pt idx="70">
                  <c:v>Lanson</c:v>
                </c:pt>
                <c:pt idx="71">
                  <c:v>Deutz</c:v>
                </c:pt>
                <c:pt idx="72">
                  <c:v>Laurent Per</c:v>
                </c:pt>
                <c:pt idx="73">
                  <c:v>Roederer</c:v>
                </c:pt>
                <c:pt idx="74">
                  <c:v>All Others</c:v>
                </c:pt>
                <c:pt idx="75">
                  <c:v>Laurent Per</c:v>
                </c:pt>
                <c:pt idx="76">
                  <c:v>Pommery</c:v>
                </c:pt>
                <c:pt idx="77">
                  <c:v>Roederer</c:v>
                </c:pt>
                <c:pt idx="78">
                  <c:v>Laurent Per</c:v>
                </c:pt>
                <c:pt idx="79">
                  <c:v>Ruinart</c:v>
                </c:pt>
                <c:pt idx="80">
                  <c:v>Vranken</c:v>
                </c:pt>
                <c:pt idx="81">
                  <c:v>Nicolas</c:v>
                </c:pt>
                <c:pt idx="82">
                  <c:v>Pommery</c:v>
                </c:pt>
                <c:pt idx="83">
                  <c:v>Henriot</c:v>
                </c:pt>
                <c:pt idx="84">
                  <c:v>Moët &amp; Chan</c:v>
                </c:pt>
                <c:pt idx="85">
                  <c:v>Nicolas Feu</c:v>
                </c:pt>
                <c:pt idx="86">
                  <c:v>Pommery</c:v>
                </c:pt>
                <c:pt idx="87">
                  <c:v>All Others</c:v>
                </c:pt>
                <c:pt idx="88">
                  <c:v>Roederer</c:v>
                </c:pt>
                <c:pt idx="89">
                  <c:v>All Others</c:v>
                </c:pt>
                <c:pt idx="90">
                  <c:v>All Others</c:v>
                </c:pt>
                <c:pt idx="91">
                  <c:v>De Venoge</c:v>
                </c:pt>
                <c:pt idx="92">
                  <c:v>Moët &amp; Chan</c:v>
                </c:pt>
                <c:pt idx="93">
                  <c:v>Roederer</c:v>
                </c:pt>
                <c:pt idx="94">
                  <c:v>Bollinger</c:v>
                </c:pt>
              </c:strCache>
            </c:strRef>
          </c:cat>
          <c:val>
            <c:numRef>
              <c:f>Sheet1!$C$2:$C$96</c:f>
              <c:numCache>
                <c:formatCode>General</c:formatCode>
                <c:ptCount val="95"/>
                <c:pt idx="0">
                  <c:v>0.167221646721637</c:v>
                </c:pt>
                <c:pt idx="1">
                  <c:v>0.27367043164395366</c:v>
                </c:pt>
                <c:pt idx="2">
                  <c:v>0.33409984456855507</c:v>
                </c:pt>
                <c:pt idx="3">
                  <c:v>0.38709187673980922</c:v>
                </c:pt>
                <c:pt idx="4">
                  <c:v>0.4355746381057915</c:v>
                </c:pt>
                <c:pt idx="5">
                  <c:v>0.48138942195980627</c:v>
                </c:pt>
                <c:pt idx="6">
                  <c:v>0.5238317415264867</c:v>
                </c:pt>
                <c:pt idx="7">
                  <c:v>0.55617240578067961</c:v>
                </c:pt>
                <c:pt idx="8">
                  <c:v>0.58650051517331203</c:v>
                </c:pt>
                <c:pt idx="9">
                  <c:v>0.61518914220172016</c:v>
                </c:pt>
                <c:pt idx="10">
                  <c:v>0.63967028908026979</c:v>
                </c:pt>
                <c:pt idx="11">
                  <c:v>0.66254620590824631</c:v>
                </c:pt>
                <c:pt idx="12">
                  <c:v>0.68397611965721761</c:v>
                </c:pt>
                <c:pt idx="13">
                  <c:v>0.70449047831967404</c:v>
                </c:pt>
                <c:pt idx="14">
                  <c:v>0.72166384779382697</c:v>
                </c:pt>
                <c:pt idx="15">
                  <c:v>0.73806607734172425</c:v>
                </c:pt>
                <c:pt idx="16">
                  <c:v>0.75420724871530687</c:v>
                </c:pt>
                <c:pt idx="17">
                  <c:v>0.76998645645003472</c:v>
                </c:pt>
                <c:pt idx="18">
                  <c:v>0.78528613179364559</c:v>
                </c:pt>
                <c:pt idx="19">
                  <c:v>0.7989722454428223</c:v>
                </c:pt>
                <c:pt idx="20">
                  <c:v>0.81145397368496575</c:v>
                </c:pt>
                <c:pt idx="21">
                  <c:v>0.82211477487435425</c:v>
                </c:pt>
                <c:pt idx="22">
                  <c:v>0.83185816950081426</c:v>
                </c:pt>
                <c:pt idx="23">
                  <c:v>0.84123404605917884</c:v>
                </c:pt>
                <c:pt idx="24">
                  <c:v>0.85047383910114538</c:v>
                </c:pt>
                <c:pt idx="25">
                  <c:v>0.85970530049925076</c:v>
                </c:pt>
                <c:pt idx="26">
                  <c:v>0.86804157305139062</c:v>
                </c:pt>
                <c:pt idx="27">
                  <c:v>0.87560670567727483</c:v>
                </c:pt>
                <c:pt idx="28">
                  <c:v>0.88256085108667792</c:v>
                </c:pt>
                <c:pt idx="29">
                  <c:v>0.88900028605310599</c:v>
                </c:pt>
                <c:pt idx="30">
                  <c:v>0.8946519178055562</c:v>
                </c:pt>
                <c:pt idx="31">
                  <c:v>0.90021838164298174</c:v>
                </c:pt>
                <c:pt idx="32">
                  <c:v>0.90544602529672236</c:v>
                </c:pt>
                <c:pt idx="33">
                  <c:v>0.91029689350029963</c:v>
                </c:pt>
                <c:pt idx="34">
                  <c:v>0.91514128153642937</c:v>
                </c:pt>
                <c:pt idx="35">
                  <c:v>0.91974127468596667</c:v>
                </c:pt>
                <c:pt idx="36">
                  <c:v>0.92412094214228802</c:v>
                </c:pt>
                <c:pt idx="37">
                  <c:v>0.92833953115062795</c:v>
                </c:pt>
                <c:pt idx="38">
                  <c:v>0.93255441720614074</c:v>
                </c:pt>
                <c:pt idx="39">
                  <c:v>0.93672116487490054</c:v>
                </c:pt>
                <c:pt idx="40">
                  <c:v>0.9407129480225771</c:v>
                </c:pt>
                <c:pt idx="41">
                  <c:v>0.94440016330021992</c:v>
                </c:pt>
                <c:pt idx="42">
                  <c:v>0.94798091868408185</c:v>
                </c:pt>
                <c:pt idx="43">
                  <c:v>0.95155797111511664</c:v>
                </c:pt>
                <c:pt idx="44">
                  <c:v>0.95471936709130301</c:v>
                </c:pt>
                <c:pt idx="45">
                  <c:v>0.95760396734365927</c:v>
                </c:pt>
                <c:pt idx="46">
                  <c:v>0.96041728575409269</c:v>
                </c:pt>
                <c:pt idx="47">
                  <c:v>0.9630454565231682</c:v>
                </c:pt>
                <c:pt idx="48">
                  <c:v>0.96566714712479618</c:v>
                </c:pt>
                <c:pt idx="49">
                  <c:v>0.96820829850243351</c:v>
                </c:pt>
                <c:pt idx="50">
                  <c:v>0.97074667266545045</c:v>
                </c:pt>
                <c:pt idx="51">
                  <c:v>0.9727962570552825</c:v>
                </c:pt>
                <c:pt idx="52">
                  <c:v>0.97481621782249728</c:v>
                </c:pt>
                <c:pt idx="53">
                  <c:v>0.97643440820796545</c:v>
                </c:pt>
                <c:pt idx="54">
                  <c:v>0.97803963825853857</c:v>
                </c:pt>
                <c:pt idx="55">
                  <c:v>0.97959024975491105</c:v>
                </c:pt>
                <c:pt idx="56">
                  <c:v>0.98104921316881133</c:v>
                </c:pt>
                <c:pt idx="57">
                  <c:v>0.98241282554741238</c:v>
                </c:pt>
                <c:pt idx="58">
                  <c:v>0.98364590883885605</c:v>
                </c:pt>
                <c:pt idx="59">
                  <c:v>0.98477901240396648</c:v>
                </c:pt>
                <c:pt idx="60">
                  <c:v>0.98589822989597509</c:v>
                </c:pt>
                <c:pt idx="61">
                  <c:v>0.98697023473943735</c:v>
                </c:pt>
                <c:pt idx="62">
                  <c:v>0.98792559656884416</c:v>
                </c:pt>
                <c:pt idx="63">
                  <c:v>0.98885133477563369</c:v>
                </c:pt>
                <c:pt idx="64">
                  <c:v>0.98976781560035532</c:v>
                </c:pt>
                <c:pt idx="65">
                  <c:v>0.99065837575528681</c:v>
                </c:pt>
                <c:pt idx="66">
                  <c:v>0.9913591595778265</c:v>
                </c:pt>
                <c:pt idx="67">
                  <c:v>0.99196829531789399</c:v>
                </c:pt>
                <c:pt idx="68">
                  <c:v>0.99254225300610355</c:v>
                </c:pt>
                <c:pt idx="69">
                  <c:v>0.99311621069431311</c:v>
                </c:pt>
                <c:pt idx="70">
                  <c:v>0.99367905952404112</c:v>
                </c:pt>
                <c:pt idx="71">
                  <c:v>0.99423913113914875</c:v>
                </c:pt>
                <c:pt idx="72">
                  <c:v>0.99478068799012065</c:v>
                </c:pt>
                <c:pt idx="73">
                  <c:v>0.99529169548026852</c:v>
                </c:pt>
                <c:pt idx="74">
                  <c:v>0.995795297064762</c:v>
                </c:pt>
                <c:pt idx="75">
                  <c:v>0.99620077039933586</c:v>
                </c:pt>
                <c:pt idx="76">
                  <c:v>0.99658587749336036</c:v>
                </c:pt>
                <c:pt idx="77">
                  <c:v>0.99696450441993734</c:v>
                </c:pt>
                <c:pt idx="78">
                  <c:v>0.99730887903286303</c:v>
                </c:pt>
                <c:pt idx="79">
                  <c:v>0.99764214478730728</c:v>
                </c:pt>
                <c:pt idx="80">
                  <c:v>0.9979402324898935</c:v>
                </c:pt>
                <c:pt idx="81">
                  <c:v>0.99822535985758465</c:v>
                </c:pt>
                <c:pt idx="82">
                  <c:v>0.99847716064983139</c:v>
                </c:pt>
                <c:pt idx="83">
                  <c:v>0.9987104466779424</c:v>
                </c:pt>
                <c:pt idx="84">
                  <c:v>0.99894188122963978</c:v>
                </c:pt>
                <c:pt idx="85">
                  <c:v>0.99914461789692666</c:v>
                </c:pt>
                <c:pt idx="86">
                  <c:v>0.99929736470104691</c:v>
                </c:pt>
                <c:pt idx="87">
                  <c:v>0.99942696804999742</c:v>
                </c:pt>
                <c:pt idx="88">
                  <c:v>0.99953620515839858</c:v>
                </c:pt>
                <c:pt idx="89">
                  <c:v>0.9996417393139726</c:v>
                </c:pt>
                <c:pt idx="90">
                  <c:v>0.99973523887285831</c:v>
                </c:pt>
                <c:pt idx="91">
                  <c:v>0.99981855531146935</c:v>
                </c:pt>
                <c:pt idx="92">
                  <c:v>0.99988243124773779</c:v>
                </c:pt>
                <c:pt idx="93">
                  <c:v>0.99994260423117909</c:v>
                </c:pt>
                <c:pt idx="9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4</c:f>
              <c:strCache>
                <c:ptCount val="93"/>
                <c:pt idx="0">
                  <c:v>Nicolas</c:v>
                </c:pt>
                <c:pt idx="1">
                  <c:v>Ruinart</c:v>
                </c:pt>
                <c:pt idx="2">
                  <c:v>Deutz</c:v>
                </c:pt>
                <c:pt idx="3">
                  <c:v>Ayala</c:v>
                </c:pt>
                <c:pt idx="4">
                  <c:v>Heidsieck &amp;</c:v>
                </c:pt>
                <c:pt idx="5">
                  <c:v>Canard Duch</c:v>
                </c:pt>
                <c:pt idx="6">
                  <c:v>De Bligny</c:v>
                </c:pt>
                <c:pt idx="7">
                  <c:v>Deutz</c:v>
                </c:pt>
                <c:pt idx="8">
                  <c:v>Besserat De</c:v>
                </c:pt>
                <c:pt idx="9">
                  <c:v>Ruinart</c:v>
                </c:pt>
                <c:pt idx="10">
                  <c:v>Demoiselle</c:v>
                </c:pt>
                <c:pt idx="11">
                  <c:v>Laurent Per</c:v>
                </c:pt>
                <c:pt idx="12">
                  <c:v>Taittinger</c:v>
                </c:pt>
                <c:pt idx="13">
                  <c:v>Bollinger</c:v>
                </c:pt>
                <c:pt idx="14">
                  <c:v>Ruinart</c:v>
                </c:pt>
                <c:pt idx="15">
                  <c:v>Pommery</c:v>
                </c:pt>
                <c:pt idx="16">
                  <c:v>All Others</c:v>
                </c:pt>
                <c:pt idx="17">
                  <c:v>Perrier Jou</c:v>
                </c:pt>
                <c:pt idx="18">
                  <c:v>Laurent Per</c:v>
                </c:pt>
                <c:pt idx="19">
                  <c:v>Taittinger</c:v>
                </c:pt>
                <c:pt idx="20">
                  <c:v>Moët &amp; Chan</c:v>
                </c:pt>
                <c:pt idx="21">
                  <c:v>Nicolas</c:v>
                </c:pt>
                <c:pt idx="22">
                  <c:v>Bollinger</c:v>
                </c:pt>
                <c:pt idx="23">
                  <c:v>De Venoge</c:v>
                </c:pt>
                <c:pt idx="24">
                  <c:v>Roederer</c:v>
                </c:pt>
                <c:pt idx="25">
                  <c:v>Roederer</c:v>
                </c:pt>
                <c:pt idx="26">
                  <c:v>Henriot</c:v>
                </c:pt>
                <c:pt idx="27">
                  <c:v>Nicolas Feu</c:v>
                </c:pt>
                <c:pt idx="28">
                  <c:v>Savian</c:v>
                </c:pt>
                <c:pt idx="29">
                  <c:v>Piper Heids</c:v>
                </c:pt>
                <c:pt idx="30">
                  <c:v>Lanson</c:v>
                </c:pt>
                <c:pt idx="31">
                  <c:v>Campari: Al</c:v>
                </c:pt>
                <c:pt idx="32">
                  <c:v>Veuve Clicq</c:v>
                </c:pt>
                <c:pt idx="33">
                  <c:v>All Others</c:v>
                </c:pt>
                <c:pt idx="34">
                  <c:v>Roederer</c:v>
                </c:pt>
                <c:pt idx="35">
                  <c:v>Veuve Clicq</c:v>
                </c:pt>
                <c:pt idx="36">
                  <c:v>Deutz</c:v>
                </c:pt>
                <c:pt idx="37">
                  <c:v>Krug</c:v>
                </c:pt>
                <c:pt idx="38">
                  <c:v>Veuve Clicq</c:v>
                </c:pt>
                <c:pt idx="39">
                  <c:v>All Others</c:v>
                </c:pt>
                <c:pt idx="40">
                  <c:v>Canard Duch</c:v>
                </c:pt>
                <c:pt idx="41">
                  <c:v>Canard Duch</c:v>
                </c:pt>
                <c:pt idx="42">
                  <c:v>Vranken</c:v>
                </c:pt>
                <c:pt idx="43">
                  <c:v>Campari: Al</c:v>
                </c:pt>
                <c:pt idx="44">
                  <c:v>Ruinart</c:v>
                </c:pt>
                <c:pt idx="45">
                  <c:v>Roederer</c:v>
                </c:pt>
                <c:pt idx="46">
                  <c:v>Canard Duch</c:v>
                </c:pt>
                <c:pt idx="47">
                  <c:v>Nicolas</c:v>
                </c:pt>
                <c:pt idx="48">
                  <c:v>De Venoge</c:v>
                </c:pt>
                <c:pt idx="49">
                  <c:v>Henriot</c:v>
                </c:pt>
                <c:pt idx="50">
                  <c:v>Nicolas</c:v>
                </c:pt>
                <c:pt idx="51">
                  <c:v>Nicolas</c:v>
                </c:pt>
                <c:pt idx="52">
                  <c:v>All Others</c:v>
                </c:pt>
                <c:pt idx="53">
                  <c:v>Canard Duch</c:v>
                </c:pt>
                <c:pt idx="54">
                  <c:v>De Venoge</c:v>
                </c:pt>
                <c:pt idx="55">
                  <c:v>Veuve Clicq</c:v>
                </c:pt>
                <c:pt idx="56">
                  <c:v>All Others</c:v>
                </c:pt>
                <c:pt idx="57">
                  <c:v>Canard Duch</c:v>
                </c:pt>
                <c:pt idx="58">
                  <c:v>Nicolas</c:v>
                </c:pt>
                <c:pt idx="59">
                  <c:v>Vranken</c:v>
                </c:pt>
                <c:pt idx="60">
                  <c:v>Roederer</c:v>
                </c:pt>
                <c:pt idx="61">
                  <c:v>Roederer</c:v>
                </c:pt>
                <c:pt idx="62">
                  <c:v>All Others</c:v>
                </c:pt>
                <c:pt idx="63">
                  <c:v>Nicolas Feu</c:v>
                </c:pt>
                <c:pt idx="64">
                  <c:v>Roederer</c:v>
                </c:pt>
                <c:pt idx="65">
                  <c:v>Demoiselle</c:v>
                </c:pt>
                <c:pt idx="66">
                  <c:v>Moët &amp; Chan</c:v>
                </c:pt>
                <c:pt idx="67">
                  <c:v>Moët &amp; Chan</c:v>
                </c:pt>
                <c:pt idx="68">
                  <c:v>Roederer</c:v>
                </c:pt>
                <c:pt idx="69">
                  <c:v>Bollinger</c:v>
                </c:pt>
                <c:pt idx="70">
                  <c:v>Pommery</c:v>
                </c:pt>
                <c:pt idx="71">
                  <c:v>Nicolas</c:v>
                </c:pt>
                <c:pt idx="72">
                  <c:v>Pommery</c:v>
                </c:pt>
                <c:pt idx="73">
                  <c:v>Laurent Per</c:v>
                </c:pt>
                <c:pt idx="74">
                  <c:v>Roederer</c:v>
                </c:pt>
                <c:pt idx="75">
                  <c:v>Besserat De</c:v>
                </c:pt>
                <c:pt idx="76">
                  <c:v>Martel</c:v>
                </c:pt>
                <c:pt idx="77">
                  <c:v>All Others</c:v>
                </c:pt>
                <c:pt idx="78">
                  <c:v>De Venoge</c:v>
                </c:pt>
                <c:pt idx="79">
                  <c:v>Bollinger</c:v>
                </c:pt>
                <c:pt idx="80">
                  <c:v>Piper Heids</c:v>
                </c:pt>
                <c:pt idx="81">
                  <c:v>All Others</c:v>
                </c:pt>
                <c:pt idx="82">
                  <c:v>Laurent Per</c:v>
                </c:pt>
                <c:pt idx="83">
                  <c:v>Pommery</c:v>
                </c:pt>
                <c:pt idx="84">
                  <c:v>Moët &amp; Chan</c:v>
                </c:pt>
                <c:pt idx="85">
                  <c:v>All Others</c:v>
                </c:pt>
                <c:pt idx="86">
                  <c:v>Nicolas Feu</c:v>
                </c:pt>
                <c:pt idx="87">
                  <c:v>Demoiselle</c:v>
                </c:pt>
                <c:pt idx="88">
                  <c:v>Lanson</c:v>
                </c:pt>
                <c:pt idx="89">
                  <c:v>All Others</c:v>
                </c:pt>
                <c:pt idx="90">
                  <c:v>Pommery</c:v>
                </c:pt>
                <c:pt idx="91">
                  <c:v>Roederer</c:v>
                </c:pt>
                <c:pt idx="92">
                  <c:v>Nicolas</c:v>
                </c:pt>
              </c:strCache>
            </c:strRef>
          </c:cat>
          <c:val>
            <c:numRef>
              <c:f>Sheet1!$B$2:$B$94</c:f>
              <c:numCache>
                <c:formatCode>General</c:formatCode>
                <c:ptCount val="93"/>
                <c:pt idx="0">
                  <c:v>1</c:v>
                </c:pt>
                <c:pt idx="1">
                  <c:v>1</c:v>
                </c:pt>
                <c:pt idx="2">
                  <c:v>0.97</c:v>
                </c:pt>
                <c:pt idx="3">
                  <c:v>0.98</c:v>
                </c:pt>
                <c:pt idx="4">
                  <c:v>0.9</c:v>
                </c:pt>
                <c:pt idx="5">
                  <c:v>1</c:v>
                </c:pt>
                <c:pt idx="6">
                  <c:v>0.98</c:v>
                </c:pt>
                <c:pt idx="7">
                  <c:v>0.71</c:v>
                </c:pt>
                <c:pt idx="8">
                  <c:v>0.91</c:v>
                </c:pt>
                <c:pt idx="9">
                  <c:v>0.72</c:v>
                </c:pt>
                <c:pt idx="10">
                  <c:v>0.89</c:v>
                </c:pt>
                <c:pt idx="11">
                  <c:v>0.83</c:v>
                </c:pt>
                <c:pt idx="12">
                  <c:v>0.92</c:v>
                </c:pt>
                <c:pt idx="13">
                  <c:v>0.91</c:v>
                </c:pt>
                <c:pt idx="14">
                  <c:v>0.43</c:v>
                </c:pt>
                <c:pt idx="15">
                  <c:v>0.89</c:v>
                </c:pt>
                <c:pt idx="16">
                  <c:v>0.88</c:v>
                </c:pt>
                <c:pt idx="17">
                  <c:v>0.84</c:v>
                </c:pt>
                <c:pt idx="18">
                  <c:v>0.71</c:v>
                </c:pt>
                <c:pt idx="19">
                  <c:v>0.69</c:v>
                </c:pt>
                <c:pt idx="20">
                  <c:v>0.62</c:v>
                </c:pt>
                <c:pt idx="21">
                  <c:v>0.87</c:v>
                </c:pt>
                <c:pt idx="22">
                  <c:v>0.39</c:v>
                </c:pt>
                <c:pt idx="23">
                  <c:v>0.75</c:v>
                </c:pt>
                <c:pt idx="24">
                  <c:v>0.51</c:v>
                </c:pt>
                <c:pt idx="25">
                  <c:v>0.45</c:v>
                </c:pt>
                <c:pt idx="26">
                  <c:v>0.55000000000000004</c:v>
                </c:pt>
                <c:pt idx="27">
                  <c:v>0.56000000000000005</c:v>
                </c:pt>
                <c:pt idx="28">
                  <c:v>0.52</c:v>
                </c:pt>
                <c:pt idx="29">
                  <c:v>0.63</c:v>
                </c:pt>
                <c:pt idx="30">
                  <c:v>0.59</c:v>
                </c:pt>
                <c:pt idx="31">
                  <c:v>0.54</c:v>
                </c:pt>
                <c:pt idx="32">
                  <c:v>0.5</c:v>
                </c:pt>
                <c:pt idx="33">
                  <c:v>0.55000000000000004</c:v>
                </c:pt>
                <c:pt idx="34">
                  <c:v>0.35</c:v>
                </c:pt>
                <c:pt idx="35">
                  <c:v>0.46</c:v>
                </c:pt>
                <c:pt idx="36">
                  <c:v>0.72</c:v>
                </c:pt>
                <c:pt idx="37">
                  <c:v>0.21</c:v>
                </c:pt>
                <c:pt idx="38">
                  <c:v>0.39</c:v>
                </c:pt>
                <c:pt idx="39">
                  <c:v>0.42</c:v>
                </c:pt>
                <c:pt idx="40">
                  <c:v>0.33</c:v>
                </c:pt>
                <c:pt idx="41">
                  <c:v>0.28000000000000003</c:v>
                </c:pt>
                <c:pt idx="42">
                  <c:v>0.24</c:v>
                </c:pt>
                <c:pt idx="43">
                  <c:v>0.48</c:v>
                </c:pt>
                <c:pt idx="44">
                  <c:v>0.56999999999999995</c:v>
                </c:pt>
                <c:pt idx="45">
                  <c:v>0.27</c:v>
                </c:pt>
                <c:pt idx="46">
                  <c:v>0.72</c:v>
                </c:pt>
                <c:pt idx="47">
                  <c:v>0.45</c:v>
                </c:pt>
                <c:pt idx="48">
                  <c:v>0.28000000000000003</c:v>
                </c:pt>
                <c:pt idx="49">
                  <c:v>0.51</c:v>
                </c:pt>
                <c:pt idx="50">
                  <c:v>0.35</c:v>
                </c:pt>
                <c:pt idx="51">
                  <c:v>0.43</c:v>
                </c:pt>
                <c:pt idx="52">
                  <c:v>0.35</c:v>
                </c:pt>
                <c:pt idx="53">
                  <c:v>0.26</c:v>
                </c:pt>
                <c:pt idx="54">
                  <c:v>0.41</c:v>
                </c:pt>
                <c:pt idx="55">
                  <c:v>0.26</c:v>
                </c:pt>
                <c:pt idx="56">
                  <c:v>0.18</c:v>
                </c:pt>
                <c:pt idx="57">
                  <c:v>0.3</c:v>
                </c:pt>
                <c:pt idx="58">
                  <c:v>0.3</c:v>
                </c:pt>
                <c:pt idx="59">
                  <c:v>0.15</c:v>
                </c:pt>
                <c:pt idx="60">
                  <c:v>0.2</c:v>
                </c:pt>
                <c:pt idx="61">
                  <c:v>0.18</c:v>
                </c:pt>
                <c:pt idx="62">
                  <c:v>0.26</c:v>
                </c:pt>
                <c:pt idx="63">
                  <c:v>0.28000000000000003</c:v>
                </c:pt>
                <c:pt idx="64">
                  <c:v>0.15</c:v>
                </c:pt>
                <c:pt idx="65">
                  <c:v>0.3</c:v>
                </c:pt>
                <c:pt idx="66">
                  <c:v>0.18</c:v>
                </c:pt>
                <c:pt idx="67">
                  <c:v>0.2</c:v>
                </c:pt>
                <c:pt idx="68">
                  <c:v>0.24</c:v>
                </c:pt>
                <c:pt idx="69">
                  <c:v>0.21</c:v>
                </c:pt>
                <c:pt idx="70">
                  <c:v>0.15</c:v>
                </c:pt>
                <c:pt idx="71">
                  <c:v>0.1</c:v>
                </c:pt>
                <c:pt idx="72">
                  <c:v>0.26</c:v>
                </c:pt>
                <c:pt idx="73">
                  <c:v>0.1</c:v>
                </c:pt>
                <c:pt idx="74">
                  <c:v>0.19</c:v>
                </c:pt>
                <c:pt idx="75">
                  <c:v>0.14000000000000001</c:v>
                </c:pt>
                <c:pt idx="76">
                  <c:v>0.12</c:v>
                </c:pt>
                <c:pt idx="77">
                  <c:v>0.04</c:v>
                </c:pt>
                <c:pt idx="78">
                  <c:v>0.11</c:v>
                </c:pt>
                <c:pt idx="79">
                  <c:v>0.06</c:v>
                </c:pt>
                <c:pt idx="80">
                  <c:v>0.12</c:v>
                </c:pt>
                <c:pt idx="81">
                  <c:v>0.05</c:v>
                </c:pt>
                <c:pt idx="82">
                  <c:v>0.1</c:v>
                </c:pt>
                <c:pt idx="83">
                  <c:v>0.14000000000000001</c:v>
                </c:pt>
                <c:pt idx="84">
                  <c:v>0.12</c:v>
                </c:pt>
                <c:pt idx="85">
                  <c:v>0.08</c:v>
                </c:pt>
                <c:pt idx="86">
                  <c:v>7.0000000000000007E-2</c:v>
                </c:pt>
                <c:pt idx="87">
                  <c:v>0.13</c:v>
                </c:pt>
                <c:pt idx="88">
                  <c:v>7.0000000000000007E-2</c:v>
                </c:pt>
                <c:pt idx="89">
                  <c:v>0.05</c:v>
                </c:pt>
                <c:pt idx="90">
                  <c:v>0.06</c:v>
                </c:pt>
                <c:pt idx="91">
                  <c:v>0.08</c:v>
                </c:pt>
                <c:pt idx="92">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4</c:f>
              <c:strCache>
                <c:ptCount val="93"/>
                <c:pt idx="0">
                  <c:v>Nicolas</c:v>
                </c:pt>
                <c:pt idx="1">
                  <c:v>Ruinart</c:v>
                </c:pt>
                <c:pt idx="2">
                  <c:v>Deutz</c:v>
                </c:pt>
                <c:pt idx="3">
                  <c:v>Ayala</c:v>
                </c:pt>
                <c:pt idx="4">
                  <c:v>Heidsieck &amp;</c:v>
                </c:pt>
                <c:pt idx="5">
                  <c:v>Canard Duch</c:v>
                </c:pt>
                <c:pt idx="6">
                  <c:v>De Bligny</c:v>
                </c:pt>
                <c:pt idx="7">
                  <c:v>Deutz</c:v>
                </c:pt>
                <c:pt idx="8">
                  <c:v>Besserat De</c:v>
                </c:pt>
                <c:pt idx="9">
                  <c:v>Ruinart</c:v>
                </c:pt>
                <c:pt idx="10">
                  <c:v>Demoiselle</c:v>
                </c:pt>
                <c:pt idx="11">
                  <c:v>Laurent Per</c:v>
                </c:pt>
                <c:pt idx="12">
                  <c:v>Taittinger</c:v>
                </c:pt>
                <c:pt idx="13">
                  <c:v>Bollinger</c:v>
                </c:pt>
                <c:pt idx="14">
                  <c:v>Ruinart</c:v>
                </c:pt>
                <c:pt idx="15">
                  <c:v>Pommery</c:v>
                </c:pt>
                <c:pt idx="16">
                  <c:v>All Others</c:v>
                </c:pt>
                <c:pt idx="17">
                  <c:v>Perrier Jou</c:v>
                </c:pt>
                <c:pt idx="18">
                  <c:v>Laurent Per</c:v>
                </c:pt>
                <c:pt idx="19">
                  <c:v>Taittinger</c:v>
                </c:pt>
                <c:pt idx="20">
                  <c:v>Moët &amp; Chan</c:v>
                </c:pt>
                <c:pt idx="21">
                  <c:v>Nicolas</c:v>
                </c:pt>
                <c:pt idx="22">
                  <c:v>Bollinger</c:v>
                </c:pt>
                <c:pt idx="23">
                  <c:v>De Venoge</c:v>
                </c:pt>
                <c:pt idx="24">
                  <c:v>Roederer</c:v>
                </c:pt>
                <c:pt idx="25">
                  <c:v>Roederer</c:v>
                </c:pt>
                <c:pt idx="26">
                  <c:v>Henriot</c:v>
                </c:pt>
                <c:pt idx="27">
                  <c:v>Nicolas Feu</c:v>
                </c:pt>
                <c:pt idx="28">
                  <c:v>Savian</c:v>
                </c:pt>
                <c:pt idx="29">
                  <c:v>Piper Heids</c:v>
                </c:pt>
                <c:pt idx="30">
                  <c:v>Lanson</c:v>
                </c:pt>
                <c:pt idx="31">
                  <c:v>Campari: Al</c:v>
                </c:pt>
                <c:pt idx="32">
                  <c:v>Veuve Clicq</c:v>
                </c:pt>
                <c:pt idx="33">
                  <c:v>All Others</c:v>
                </c:pt>
                <c:pt idx="34">
                  <c:v>Roederer</c:v>
                </c:pt>
                <c:pt idx="35">
                  <c:v>Veuve Clicq</c:v>
                </c:pt>
                <c:pt idx="36">
                  <c:v>Deutz</c:v>
                </c:pt>
                <c:pt idx="37">
                  <c:v>Krug</c:v>
                </c:pt>
                <c:pt idx="38">
                  <c:v>Veuve Clicq</c:v>
                </c:pt>
                <c:pt idx="39">
                  <c:v>All Others</c:v>
                </c:pt>
                <c:pt idx="40">
                  <c:v>Canard Duch</c:v>
                </c:pt>
                <c:pt idx="41">
                  <c:v>Canard Duch</c:v>
                </c:pt>
                <c:pt idx="42">
                  <c:v>Vranken</c:v>
                </c:pt>
                <c:pt idx="43">
                  <c:v>Campari: Al</c:v>
                </c:pt>
                <c:pt idx="44">
                  <c:v>Ruinart</c:v>
                </c:pt>
                <c:pt idx="45">
                  <c:v>Roederer</c:v>
                </c:pt>
                <c:pt idx="46">
                  <c:v>Canard Duch</c:v>
                </c:pt>
                <c:pt idx="47">
                  <c:v>Nicolas</c:v>
                </c:pt>
                <c:pt idx="48">
                  <c:v>De Venoge</c:v>
                </c:pt>
                <c:pt idx="49">
                  <c:v>Henriot</c:v>
                </c:pt>
                <c:pt idx="50">
                  <c:v>Nicolas</c:v>
                </c:pt>
                <c:pt idx="51">
                  <c:v>Nicolas</c:v>
                </c:pt>
                <c:pt idx="52">
                  <c:v>All Others</c:v>
                </c:pt>
                <c:pt idx="53">
                  <c:v>Canard Duch</c:v>
                </c:pt>
                <c:pt idx="54">
                  <c:v>De Venoge</c:v>
                </c:pt>
                <c:pt idx="55">
                  <c:v>Veuve Clicq</c:v>
                </c:pt>
                <c:pt idx="56">
                  <c:v>All Others</c:v>
                </c:pt>
                <c:pt idx="57">
                  <c:v>Canard Duch</c:v>
                </c:pt>
                <c:pt idx="58">
                  <c:v>Nicolas</c:v>
                </c:pt>
                <c:pt idx="59">
                  <c:v>Vranken</c:v>
                </c:pt>
                <c:pt idx="60">
                  <c:v>Roederer</c:v>
                </c:pt>
                <c:pt idx="61">
                  <c:v>Roederer</c:v>
                </c:pt>
                <c:pt idx="62">
                  <c:v>All Others</c:v>
                </c:pt>
                <c:pt idx="63">
                  <c:v>Nicolas Feu</c:v>
                </c:pt>
                <c:pt idx="64">
                  <c:v>Roederer</c:v>
                </c:pt>
                <c:pt idx="65">
                  <c:v>Demoiselle</c:v>
                </c:pt>
                <c:pt idx="66">
                  <c:v>Moët &amp; Chan</c:v>
                </c:pt>
                <c:pt idx="67">
                  <c:v>Moët &amp; Chan</c:v>
                </c:pt>
                <c:pt idx="68">
                  <c:v>Roederer</c:v>
                </c:pt>
                <c:pt idx="69">
                  <c:v>Bollinger</c:v>
                </c:pt>
                <c:pt idx="70">
                  <c:v>Pommery</c:v>
                </c:pt>
                <c:pt idx="71">
                  <c:v>Nicolas</c:v>
                </c:pt>
                <c:pt idx="72">
                  <c:v>Pommery</c:v>
                </c:pt>
                <c:pt idx="73">
                  <c:v>Laurent Per</c:v>
                </c:pt>
                <c:pt idx="74">
                  <c:v>Roederer</c:v>
                </c:pt>
                <c:pt idx="75">
                  <c:v>Besserat De</c:v>
                </c:pt>
                <c:pt idx="76">
                  <c:v>Martel</c:v>
                </c:pt>
                <c:pt idx="77">
                  <c:v>All Others</c:v>
                </c:pt>
                <c:pt idx="78">
                  <c:v>De Venoge</c:v>
                </c:pt>
                <c:pt idx="79">
                  <c:v>Bollinger</c:v>
                </c:pt>
                <c:pt idx="80">
                  <c:v>Piper Heids</c:v>
                </c:pt>
                <c:pt idx="81">
                  <c:v>All Others</c:v>
                </c:pt>
                <c:pt idx="82">
                  <c:v>Laurent Per</c:v>
                </c:pt>
                <c:pt idx="83">
                  <c:v>Pommery</c:v>
                </c:pt>
                <c:pt idx="84">
                  <c:v>Moët &amp; Chan</c:v>
                </c:pt>
                <c:pt idx="85">
                  <c:v>All Others</c:v>
                </c:pt>
                <c:pt idx="86">
                  <c:v>Nicolas Feu</c:v>
                </c:pt>
                <c:pt idx="87">
                  <c:v>Demoiselle</c:v>
                </c:pt>
                <c:pt idx="88">
                  <c:v>Lanson</c:v>
                </c:pt>
                <c:pt idx="89">
                  <c:v>All Others</c:v>
                </c:pt>
                <c:pt idx="90">
                  <c:v>Pommery</c:v>
                </c:pt>
                <c:pt idx="91">
                  <c:v>Roederer</c:v>
                </c:pt>
                <c:pt idx="92">
                  <c:v>Nicolas</c:v>
                </c:pt>
              </c:strCache>
            </c:strRef>
          </c:cat>
          <c:val>
            <c:numRef>
              <c:f>Sheet1!$C$2:$C$94</c:f>
              <c:numCache>
                <c:formatCode>General</c:formatCode>
                <c:ptCount val="93"/>
                <c:pt idx="0">
                  <c:v>0.13588477523618783</c:v>
                </c:pt>
                <c:pt idx="1">
                  <c:v>0.26372374927404962</c:v>
                </c:pt>
                <c:pt idx="2">
                  <c:v>0.3290449479825151</c:v>
                </c:pt>
                <c:pt idx="3">
                  <c:v>0.38049601235131464</c:v>
                </c:pt>
                <c:pt idx="4">
                  <c:v>0.42739061749403112</c:v>
                </c:pt>
                <c:pt idx="5">
                  <c:v>0.46422348996336193</c:v>
                </c:pt>
                <c:pt idx="6">
                  <c:v>0.49649512328609979</c:v>
                </c:pt>
                <c:pt idx="7">
                  <c:v>0.52809637275732113</c:v>
                </c:pt>
                <c:pt idx="8">
                  <c:v>0.55607563746214905</c:v>
                </c:pt>
                <c:pt idx="9">
                  <c:v>0.58402622264391746</c:v>
                </c:pt>
                <c:pt idx="10">
                  <c:v>0.61188001443536</c:v>
                </c:pt>
                <c:pt idx="11">
                  <c:v>0.63869775845627696</c:v>
                </c:pt>
                <c:pt idx="12">
                  <c:v>0.66251968729760036</c:v>
                </c:pt>
                <c:pt idx="13">
                  <c:v>0.6846304045963717</c:v>
                </c:pt>
                <c:pt idx="14">
                  <c:v>0.70661445400163014</c:v>
                </c:pt>
                <c:pt idx="15">
                  <c:v>0.72734377427303398</c:v>
                </c:pt>
                <c:pt idx="16">
                  <c:v>0.74482991847845581</c:v>
                </c:pt>
                <c:pt idx="17">
                  <c:v>0.76075422365726064</c:v>
                </c:pt>
                <c:pt idx="18">
                  <c:v>0.77521467817990197</c:v>
                </c:pt>
                <c:pt idx="19">
                  <c:v>0.78775240967742721</c:v>
                </c:pt>
                <c:pt idx="20">
                  <c:v>0.79757395134518927</c:v>
                </c:pt>
                <c:pt idx="21">
                  <c:v>0.80706567849776667</c:v>
                </c:pt>
                <c:pt idx="22">
                  <c:v>0.81621444635375717</c:v>
                </c:pt>
                <c:pt idx="23">
                  <c:v>0.82504056957532801</c:v>
                </c:pt>
                <c:pt idx="24">
                  <c:v>0.83348907907661496</c:v>
                </c:pt>
                <c:pt idx="25">
                  <c:v>0.84187903455165536</c:v>
                </c:pt>
                <c:pt idx="26">
                  <c:v>0.85011125264986842</c:v>
                </c:pt>
                <c:pt idx="27">
                  <c:v>0.85801604619315175</c:v>
                </c:pt>
                <c:pt idx="28">
                  <c:v>0.86587065057108092</c:v>
                </c:pt>
                <c:pt idx="29">
                  <c:v>0.87334644624859881</c:v>
                </c:pt>
                <c:pt idx="30">
                  <c:v>0.88026896612709327</c:v>
                </c:pt>
                <c:pt idx="31">
                  <c:v>0.8870002891851908</c:v>
                </c:pt>
                <c:pt idx="32">
                  <c:v>0.89350576099919454</c:v>
                </c:pt>
                <c:pt idx="33">
                  <c:v>0.89985110547611591</c:v>
                </c:pt>
                <c:pt idx="34">
                  <c:v>0.90556789040598251</c:v>
                </c:pt>
                <c:pt idx="35">
                  <c:v>0.91120461166730793</c:v>
                </c:pt>
                <c:pt idx="36">
                  <c:v>0.91649239873140909</c:v>
                </c:pt>
                <c:pt idx="37">
                  <c:v>0.92109546218246385</c:v>
                </c:pt>
                <c:pt idx="38">
                  <c:v>0.92567940595147902</c:v>
                </c:pt>
                <c:pt idx="39">
                  <c:v>0.93009724748277434</c:v>
                </c:pt>
                <c:pt idx="40">
                  <c:v>0.934374081359027</c:v>
                </c:pt>
                <c:pt idx="41">
                  <c:v>0.93841191920978351</c:v>
                </c:pt>
                <c:pt idx="42">
                  <c:v>0.94236132853110655</c:v>
                </c:pt>
                <c:pt idx="43">
                  <c:v>0.94623545410439824</c:v>
                </c:pt>
                <c:pt idx="44">
                  <c:v>0.95010360477705258</c:v>
                </c:pt>
                <c:pt idx="45">
                  <c:v>0.95387735201963597</c:v>
                </c:pt>
                <c:pt idx="46">
                  <c:v>0.95761644483852237</c:v>
                </c:pt>
                <c:pt idx="47">
                  <c:v>0.96096358417559524</c:v>
                </c:pt>
                <c:pt idx="48">
                  <c:v>0.96390682022957963</c:v>
                </c:pt>
                <c:pt idx="49">
                  <c:v>0.9667209984297962</c:v>
                </c:pt>
                <c:pt idx="50">
                  <c:v>0.96952800674924788</c:v>
                </c:pt>
                <c:pt idx="51">
                  <c:v>0.97230514056551254</c:v>
                </c:pt>
                <c:pt idx="52">
                  <c:v>0.97504284003757036</c:v>
                </c:pt>
                <c:pt idx="53">
                  <c:v>0.97749254929890539</c:v>
                </c:pt>
                <c:pt idx="54">
                  <c:v>0.9796435135283702</c:v>
                </c:pt>
                <c:pt idx="55">
                  <c:v>0.98178252795656029</c:v>
                </c:pt>
                <c:pt idx="56">
                  <c:v>0.98345550013503291</c:v>
                </c:pt>
                <c:pt idx="57">
                  <c:v>0.98488469636749953</c:v>
                </c:pt>
                <c:pt idx="58">
                  <c:v>0.98615257028275627</c:v>
                </c:pt>
                <c:pt idx="59">
                  <c:v>0.98741805423775808</c:v>
                </c:pt>
                <c:pt idx="60">
                  <c:v>0.98859152472294387</c:v>
                </c:pt>
                <c:pt idx="61">
                  <c:v>0.98958694316913509</c:v>
                </c:pt>
                <c:pt idx="62">
                  <c:v>0.99053695237048212</c:v>
                </c:pt>
                <c:pt idx="63">
                  <c:v>0.99147381679042679</c:v>
                </c:pt>
                <c:pt idx="64">
                  <c:v>0.99232225268093788</c:v>
                </c:pt>
                <c:pt idx="65">
                  <c:v>0.99313483916762457</c:v>
                </c:pt>
                <c:pt idx="66">
                  <c:v>0.99390918629023195</c:v>
                </c:pt>
                <c:pt idx="67">
                  <c:v>0.9946190044859553</c:v>
                </c:pt>
                <c:pt idx="68">
                  <c:v>0.99531806786053134</c:v>
                </c:pt>
                <c:pt idx="69">
                  <c:v>0.99593587258643879</c:v>
                </c:pt>
                <c:pt idx="70">
                  <c:v>0.9964425441604905</c:v>
                </c:pt>
                <c:pt idx="71">
                  <c:v>0.99692651111212005</c:v>
                </c:pt>
                <c:pt idx="72">
                  <c:v>0.9973184645939337</c:v>
                </c:pt>
                <c:pt idx="73">
                  <c:v>0.9976709837315404</c:v>
                </c:pt>
                <c:pt idx="74">
                  <c:v>0.99799960326659753</c:v>
                </c:pt>
                <c:pt idx="75">
                  <c:v>0.99825054909336841</c:v>
                </c:pt>
                <c:pt idx="76">
                  <c:v>0.99848715515860953</c:v>
                </c:pt>
                <c:pt idx="77">
                  <c:v>0.99868791182002625</c:v>
                </c:pt>
                <c:pt idx="78">
                  <c:v>0.99888627852118805</c:v>
                </c:pt>
                <c:pt idx="79">
                  <c:v>0.99907389040120254</c:v>
                </c:pt>
                <c:pt idx="80">
                  <c:v>0.99924596753955974</c:v>
                </c:pt>
                <c:pt idx="81">
                  <c:v>0.99939892499587724</c:v>
                </c:pt>
                <c:pt idx="82">
                  <c:v>0.9994861585451833</c:v>
                </c:pt>
                <c:pt idx="83">
                  <c:v>0.99956861217397941</c:v>
                </c:pt>
                <c:pt idx="84">
                  <c:v>0.99964987082264811</c:v>
                </c:pt>
                <c:pt idx="85">
                  <c:v>0.99971798468991446</c:v>
                </c:pt>
                <c:pt idx="86">
                  <c:v>0.99977056381552365</c:v>
                </c:pt>
                <c:pt idx="87">
                  <c:v>0.99982314294113284</c:v>
                </c:pt>
                <c:pt idx="88">
                  <c:v>0.99986616222572211</c:v>
                </c:pt>
                <c:pt idx="89">
                  <c:v>0.99990559656992894</c:v>
                </c:pt>
                <c:pt idx="90">
                  <c:v>0.99994144597375334</c:v>
                </c:pt>
                <c:pt idx="91">
                  <c:v>0.99997490541732281</c:v>
                </c:pt>
                <c:pt idx="9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Ruinart</c:v>
                </c:pt>
                <c:pt idx="1">
                  <c:v>Nicolas</c:v>
                </c:pt>
                <c:pt idx="2">
                  <c:v>Deutz</c:v>
                </c:pt>
                <c:pt idx="3">
                  <c:v>De Bligny</c:v>
                </c:pt>
                <c:pt idx="4">
                  <c:v>Heidsieck &amp;</c:v>
                </c:pt>
                <c:pt idx="5">
                  <c:v>Ayala</c:v>
                </c:pt>
                <c:pt idx="6">
                  <c:v>Canard Duch</c:v>
                </c:pt>
                <c:pt idx="7">
                  <c:v>Laurent Per</c:v>
                </c:pt>
                <c:pt idx="8">
                  <c:v>Ruinart</c:v>
                </c:pt>
                <c:pt idx="9">
                  <c:v>Bollinger</c:v>
                </c:pt>
                <c:pt idx="10">
                  <c:v>Demoiselle</c:v>
                </c:pt>
                <c:pt idx="11">
                  <c:v>Taittinger</c:v>
                </c:pt>
                <c:pt idx="12">
                  <c:v>Ruinart</c:v>
                </c:pt>
                <c:pt idx="13">
                  <c:v>Deutz</c:v>
                </c:pt>
                <c:pt idx="14">
                  <c:v>Besserat De</c:v>
                </c:pt>
                <c:pt idx="15">
                  <c:v>Perrier Jou</c:v>
                </c:pt>
                <c:pt idx="16">
                  <c:v>Savian</c:v>
                </c:pt>
                <c:pt idx="17">
                  <c:v>Laurent Per</c:v>
                </c:pt>
                <c:pt idx="18">
                  <c:v>All Others</c:v>
                </c:pt>
                <c:pt idx="19">
                  <c:v>Campari: Al</c:v>
                </c:pt>
                <c:pt idx="20">
                  <c:v>Nicolas</c:v>
                </c:pt>
                <c:pt idx="21">
                  <c:v>Pommery</c:v>
                </c:pt>
                <c:pt idx="22">
                  <c:v>Moët &amp; Chan</c:v>
                </c:pt>
                <c:pt idx="23">
                  <c:v>Roederer</c:v>
                </c:pt>
                <c:pt idx="24">
                  <c:v>Veuve Clicq</c:v>
                </c:pt>
                <c:pt idx="25">
                  <c:v>Henriot</c:v>
                </c:pt>
                <c:pt idx="26">
                  <c:v>All Others</c:v>
                </c:pt>
                <c:pt idx="27">
                  <c:v>Taittinger</c:v>
                </c:pt>
                <c:pt idx="28">
                  <c:v>Veuve Clicq</c:v>
                </c:pt>
                <c:pt idx="29">
                  <c:v>Canard Duch</c:v>
                </c:pt>
                <c:pt idx="30">
                  <c:v>Roederer</c:v>
                </c:pt>
                <c:pt idx="31">
                  <c:v>Veuve Clicq</c:v>
                </c:pt>
                <c:pt idx="32">
                  <c:v>De Venoge</c:v>
                </c:pt>
                <c:pt idx="33">
                  <c:v>Ruinart</c:v>
                </c:pt>
                <c:pt idx="34">
                  <c:v>Bollinger</c:v>
                </c:pt>
                <c:pt idx="35">
                  <c:v>De Venoge</c:v>
                </c:pt>
                <c:pt idx="36">
                  <c:v>Nicolas Feu</c:v>
                </c:pt>
                <c:pt idx="37">
                  <c:v>All Others</c:v>
                </c:pt>
                <c:pt idx="38">
                  <c:v>Deutz</c:v>
                </c:pt>
                <c:pt idx="39">
                  <c:v>Canard Duch</c:v>
                </c:pt>
                <c:pt idx="40">
                  <c:v>Piper Heids</c:v>
                </c:pt>
                <c:pt idx="41">
                  <c:v>Krug</c:v>
                </c:pt>
                <c:pt idx="42">
                  <c:v>Henriot</c:v>
                </c:pt>
                <c:pt idx="43">
                  <c:v>Lanson</c:v>
                </c:pt>
                <c:pt idx="44">
                  <c:v>Campari: Al</c:v>
                </c:pt>
                <c:pt idx="45">
                  <c:v>De Venoge</c:v>
                </c:pt>
                <c:pt idx="46">
                  <c:v>Nicolas</c:v>
                </c:pt>
                <c:pt idx="47">
                  <c:v>Roederer</c:v>
                </c:pt>
                <c:pt idx="48">
                  <c:v>Canard Duch</c:v>
                </c:pt>
                <c:pt idx="49">
                  <c:v>Nicolas</c:v>
                </c:pt>
                <c:pt idx="50">
                  <c:v>Veuve Clicq</c:v>
                </c:pt>
                <c:pt idx="51">
                  <c:v>All Others</c:v>
                </c:pt>
                <c:pt idx="52">
                  <c:v>Ruinart</c:v>
                </c:pt>
                <c:pt idx="53">
                  <c:v>Roederer</c:v>
                </c:pt>
                <c:pt idx="54">
                  <c:v>Vranken</c:v>
                </c:pt>
                <c:pt idx="55">
                  <c:v>Nicolas</c:v>
                </c:pt>
                <c:pt idx="56">
                  <c:v>Laurent Per</c:v>
                </c:pt>
                <c:pt idx="57">
                  <c:v>Demoiselle</c:v>
                </c:pt>
                <c:pt idx="58">
                  <c:v>Nicolas</c:v>
                </c:pt>
                <c:pt idx="59">
                  <c:v>Roederer</c:v>
                </c:pt>
                <c:pt idx="60">
                  <c:v>Canard Duch</c:v>
                </c:pt>
                <c:pt idx="61">
                  <c:v>Roederer</c:v>
                </c:pt>
                <c:pt idx="62">
                  <c:v>Canard Duch</c:v>
                </c:pt>
                <c:pt idx="63">
                  <c:v>Nicolas Feu</c:v>
                </c:pt>
                <c:pt idx="64">
                  <c:v>All Others</c:v>
                </c:pt>
                <c:pt idx="65">
                  <c:v>Ruinart</c:v>
                </c:pt>
                <c:pt idx="66">
                  <c:v>All Others</c:v>
                </c:pt>
                <c:pt idx="67">
                  <c:v>Roederer</c:v>
                </c:pt>
                <c:pt idx="68">
                  <c:v>Pommery</c:v>
                </c:pt>
                <c:pt idx="69">
                  <c:v>Ruinart</c:v>
                </c:pt>
                <c:pt idx="70">
                  <c:v>Roederer</c:v>
                </c:pt>
                <c:pt idx="71">
                  <c:v>Pommery</c:v>
                </c:pt>
                <c:pt idx="72">
                  <c:v>Roederer</c:v>
                </c:pt>
                <c:pt idx="73">
                  <c:v>Vranken</c:v>
                </c:pt>
                <c:pt idx="74">
                  <c:v>Moët &amp; Chan</c:v>
                </c:pt>
                <c:pt idx="75">
                  <c:v>Ruinart</c:v>
                </c:pt>
                <c:pt idx="76">
                  <c:v>Nicolas Feu</c:v>
                </c:pt>
                <c:pt idx="77">
                  <c:v>Roederer</c:v>
                </c:pt>
                <c:pt idx="78">
                  <c:v>Piper Heids</c:v>
                </c:pt>
                <c:pt idx="79">
                  <c:v>Laurent Per</c:v>
                </c:pt>
                <c:pt idx="80">
                  <c:v>De Venoge</c:v>
                </c:pt>
                <c:pt idx="81">
                  <c:v>Pommery</c:v>
                </c:pt>
                <c:pt idx="82">
                  <c:v>Moët &amp; Chan</c:v>
                </c:pt>
                <c:pt idx="83">
                  <c:v>Laurent Per</c:v>
                </c:pt>
                <c:pt idx="84">
                  <c:v>Martel</c:v>
                </c:pt>
                <c:pt idx="85">
                  <c:v>Lanson</c:v>
                </c:pt>
                <c:pt idx="86">
                  <c:v>Bollinger</c:v>
                </c:pt>
                <c:pt idx="87">
                  <c:v>Nicolas</c:v>
                </c:pt>
                <c:pt idx="88">
                  <c:v>Henriot</c:v>
                </c:pt>
                <c:pt idx="89">
                  <c:v>All Others</c:v>
                </c:pt>
                <c:pt idx="90">
                  <c:v>Moët &amp; Chan</c:v>
                </c:pt>
                <c:pt idx="91">
                  <c:v>Nicolas</c:v>
                </c:pt>
                <c:pt idx="92">
                  <c:v>Veuve Clicq</c:v>
                </c:pt>
                <c:pt idx="93">
                  <c:v>Bollinger</c:v>
                </c:pt>
                <c:pt idx="94">
                  <c:v>All Others</c:v>
                </c:pt>
              </c:strCache>
            </c:strRef>
          </c:cat>
          <c:val>
            <c:numRef>
              <c:f>Sheet1!$B$2:$B$96</c:f>
              <c:numCache>
                <c:formatCode>General</c:formatCode>
                <c:ptCount val="95"/>
                <c:pt idx="0">
                  <c:v>1</c:v>
                </c:pt>
                <c:pt idx="1">
                  <c:v>1</c:v>
                </c:pt>
                <c:pt idx="2">
                  <c:v>0.97</c:v>
                </c:pt>
                <c:pt idx="3">
                  <c:v>1</c:v>
                </c:pt>
                <c:pt idx="4">
                  <c:v>1</c:v>
                </c:pt>
                <c:pt idx="5">
                  <c:v>1</c:v>
                </c:pt>
                <c:pt idx="6">
                  <c:v>1</c:v>
                </c:pt>
                <c:pt idx="7">
                  <c:v>1</c:v>
                </c:pt>
                <c:pt idx="8">
                  <c:v>0.92</c:v>
                </c:pt>
                <c:pt idx="9">
                  <c:v>1</c:v>
                </c:pt>
                <c:pt idx="10">
                  <c:v>0.91</c:v>
                </c:pt>
                <c:pt idx="11">
                  <c:v>0.93</c:v>
                </c:pt>
                <c:pt idx="12">
                  <c:v>0.65</c:v>
                </c:pt>
                <c:pt idx="13">
                  <c:v>0.61</c:v>
                </c:pt>
                <c:pt idx="14">
                  <c:v>1</c:v>
                </c:pt>
                <c:pt idx="15">
                  <c:v>0.7</c:v>
                </c:pt>
                <c:pt idx="16">
                  <c:v>0.75</c:v>
                </c:pt>
                <c:pt idx="17">
                  <c:v>0.79</c:v>
                </c:pt>
                <c:pt idx="18">
                  <c:v>0.67</c:v>
                </c:pt>
                <c:pt idx="19">
                  <c:v>0.64</c:v>
                </c:pt>
                <c:pt idx="20">
                  <c:v>0.79</c:v>
                </c:pt>
                <c:pt idx="21">
                  <c:v>0.77</c:v>
                </c:pt>
                <c:pt idx="22">
                  <c:v>0.71</c:v>
                </c:pt>
                <c:pt idx="23">
                  <c:v>0.73</c:v>
                </c:pt>
                <c:pt idx="24">
                  <c:v>0.66</c:v>
                </c:pt>
                <c:pt idx="25">
                  <c:v>0.47</c:v>
                </c:pt>
                <c:pt idx="26">
                  <c:v>0.59</c:v>
                </c:pt>
                <c:pt idx="27">
                  <c:v>0.41</c:v>
                </c:pt>
                <c:pt idx="28">
                  <c:v>0.42</c:v>
                </c:pt>
                <c:pt idx="29">
                  <c:v>0.86</c:v>
                </c:pt>
                <c:pt idx="30">
                  <c:v>0.46</c:v>
                </c:pt>
                <c:pt idx="31">
                  <c:v>0.65</c:v>
                </c:pt>
                <c:pt idx="32">
                  <c:v>0.56999999999999995</c:v>
                </c:pt>
                <c:pt idx="33">
                  <c:v>0.55000000000000004</c:v>
                </c:pt>
                <c:pt idx="34">
                  <c:v>0.41</c:v>
                </c:pt>
                <c:pt idx="35">
                  <c:v>0.37</c:v>
                </c:pt>
                <c:pt idx="36">
                  <c:v>0.4</c:v>
                </c:pt>
                <c:pt idx="37">
                  <c:v>0.61</c:v>
                </c:pt>
                <c:pt idx="38">
                  <c:v>0.69</c:v>
                </c:pt>
                <c:pt idx="39">
                  <c:v>0.42</c:v>
                </c:pt>
                <c:pt idx="40">
                  <c:v>0.39</c:v>
                </c:pt>
                <c:pt idx="41">
                  <c:v>0.31</c:v>
                </c:pt>
                <c:pt idx="42">
                  <c:v>0.5</c:v>
                </c:pt>
                <c:pt idx="43">
                  <c:v>0.37</c:v>
                </c:pt>
                <c:pt idx="44">
                  <c:v>0.33</c:v>
                </c:pt>
                <c:pt idx="45">
                  <c:v>0.6</c:v>
                </c:pt>
                <c:pt idx="46">
                  <c:v>0.56999999999999995</c:v>
                </c:pt>
                <c:pt idx="47">
                  <c:v>0.28000000000000003</c:v>
                </c:pt>
                <c:pt idx="48">
                  <c:v>0.28000000000000003</c:v>
                </c:pt>
                <c:pt idx="49">
                  <c:v>0.23</c:v>
                </c:pt>
                <c:pt idx="50">
                  <c:v>0.28000000000000003</c:v>
                </c:pt>
                <c:pt idx="51">
                  <c:v>0.3</c:v>
                </c:pt>
                <c:pt idx="52">
                  <c:v>0.18</c:v>
                </c:pt>
                <c:pt idx="53">
                  <c:v>0.23</c:v>
                </c:pt>
                <c:pt idx="54">
                  <c:v>0.35</c:v>
                </c:pt>
                <c:pt idx="55">
                  <c:v>0.15</c:v>
                </c:pt>
                <c:pt idx="56">
                  <c:v>0.21</c:v>
                </c:pt>
                <c:pt idx="57">
                  <c:v>0.69</c:v>
                </c:pt>
                <c:pt idx="58">
                  <c:v>0.32</c:v>
                </c:pt>
                <c:pt idx="59">
                  <c:v>0.33</c:v>
                </c:pt>
                <c:pt idx="60">
                  <c:v>0.41</c:v>
                </c:pt>
                <c:pt idx="61">
                  <c:v>0.28000000000000003</c:v>
                </c:pt>
                <c:pt idx="62">
                  <c:v>0.25</c:v>
                </c:pt>
                <c:pt idx="63">
                  <c:v>0.23</c:v>
                </c:pt>
                <c:pt idx="64">
                  <c:v>0.14000000000000001</c:v>
                </c:pt>
                <c:pt idx="65">
                  <c:v>0.19</c:v>
                </c:pt>
                <c:pt idx="66">
                  <c:v>0.36</c:v>
                </c:pt>
                <c:pt idx="67">
                  <c:v>0.26</c:v>
                </c:pt>
                <c:pt idx="68">
                  <c:v>0.21</c:v>
                </c:pt>
                <c:pt idx="69">
                  <c:v>0.15</c:v>
                </c:pt>
                <c:pt idx="70">
                  <c:v>0.19</c:v>
                </c:pt>
                <c:pt idx="71">
                  <c:v>0.26</c:v>
                </c:pt>
                <c:pt idx="72">
                  <c:v>0.18</c:v>
                </c:pt>
                <c:pt idx="73">
                  <c:v>0.14000000000000001</c:v>
                </c:pt>
                <c:pt idx="74">
                  <c:v>0.15</c:v>
                </c:pt>
                <c:pt idx="75">
                  <c:v>0.09</c:v>
                </c:pt>
                <c:pt idx="76">
                  <c:v>0.15</c:v>
                </c:pt>
                <c:pt idx="77">
                  <c:v>0.05</c:v>
                </c:pt>
                <c:pt idx="78">
                  <c:v>0.12</c:v>
                </c:pt>
                <c:pt idx="79">
                  <c:v>0.18</c:v>
                </c:pt>
                <c:pt idx="80">
                  <c:v>7.0000000000000007E-2</c:v>
                </c:pt>
                <c:pt idx="81">
                  <c:v>0.18</c:v>
                </c:pt>
                <c:pt idx="82">
                  <c:v>0.13</c:v>
                </c:pt>
                <c:pt idx="83">
                  <c:v>0.11</c:v>
                </c:pt>
                <c:pt idx="84">
                  <c:v>0.14000000000000001</c:v>
                </c:pt>
                <c:pt idx="85">
                  <c:v>0.19</c:v>
                </c:pt>
                <c:pt idx="86">
                  <c:v>0.06</c:v>
                </c:pt>
                <c:pt idx="87">
                  <c:v>0.11</c:v>
                </c:pt>
                <c:pt idx="88">
                  <c:v>0.06</c:v>
                </c:pt>
                <c:pt idx="89">
                  <c:v>0.05</c:v>
                </c:pt>
                <c:pt idx="90">
                  <c:v>0.04</c:v>
                </c:pt>
                <c:pt idx="91">
                  <c:v>0.1</c:v>
                </c:pt>
                <c:pt idx="92">
                  <c:v>0.17</c:v>
                </c:pt>
                <c:pt idx="93">
                  <c:v>0.06</c:v>
                </c:pt>
                <c:pt idx="94">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Ruinart</c:v>
                </c:pt>
                <c:pt idx="1">
                  <c:v>Nicolas</c:v>
                </c:pt>
                <c:pt idx="2">
                  <c:v>Deutz</c:v>
                </c:pt>
                <c:pt idx="3">
                  <c:v>De Bligny</c:v>
                </c:pt>
                <c:pt idx="4">
                  <c:v>Heidsieck &amp;</c:v>
                </c:pt>
                <c:pt idx="5">
                  <c:v>Ayala</c:v>
                </c:pt>
                <c:pt idx="6">
                  <c:v>Canard Duch</c:v>
                </c:pt>
                <c:pt idx="7">
                  <c:v>Laurent Per</c:v>
                </c:pt>
                <c:pt idx="8">
                  <c:v>Ruinart</c:v>
                </c:pt>
                <c:pt idx="9">
                  <c:v>Bollinger</c:v>
                </c:pt>
                <c:pt idx="10">
                  <c:v>Demoiselle</c:v>
                </c:pt>
                <c:pt idx="11">
                  <c:v>Taittinger</c:v>
                </c:pt>
                <c:pt idx="12">
                  <c:v>Ruinart</c:v>
                </c:pt>
                <c:pt idx="13">
                  <c:v>Deutz</c:v>
                </c:pt>
                <c:pt idx="14">
                  <c:v>Besserat De</c:v>
                </c:pt>
                <c:pt idx="15">
                  <c:v>Perrier Jou</c:v>
                </c:pt>
                <c:pt idx="16">
                  <c:v>Savian</c:v>
                </c:pt>
                <c:pt idx="17">
                  <c:v>Laurent Per</c:v>
                </c:pt>
                <c:pt idx="18">
                  <c:v>All Others</c:v>
                </c:pt>
                <c:pt idx="19">
                  <c:v>Campari: Al</c:v>
                </c:pt>
                <c:pt idx="20">
                  <c:v>Nicolas</c:v>
                </c:pt>
                <c:pt idx="21">
                  <c:v>Pommery</c:v>
                </c:pt>
                <c:pt idx="22">
                  <c:v>Moët &amp; Chan</c:v>
                </c:pt>
                <c:pt idx="23">
                  <c:v>Roederer</c:v>
                </c:pt>
                <c:pt idx="24">
                  <c:v>Veuve Clicq</c:v>
                </c:pt>
                <c:pt idx="25">
                  <c:v>Henriot</c:v>
                </c:pt>
                <c:pt idx="26">
                  <c:v>All Others</c:v>
                </c:pt>
                <c:pt idx="27">
                  <c:v>Taittinger</c:v>
                </c:pt>
                <c:pt idx="28">
                  <c:v>Veuve Clicq</c:v>
                </c:pt>
                <c:pt idx="29">
                  <c:v>Canard Duch</c:v>
                </c:pt>
                <c:pt idx="30">
                  <c:v>Roederer</c:v>
                </c:pt>
                <c:pt idx="31">
                  <c:v>Veuve Clicq</c:v>
                </c:pt>
                <c:pt idx="32">
                  <c:v>De Venoge</c:v>
                </c:pt>
                <c:pt idx="33">
                  <c:v>Ruinart</c:v>
                </c:pt>
                <c:pt idx="34">
                  <c:v>Bollinger</c:v>
                </c:pt>
                <c:pt idx="35">
                  <c:v>De Venoge</c:v>
                </c:pt>
                <c:pt idx="36">
                  <c:v>Nicolas Feu</c:v>
                </c:pt>
                <c:pt idx="37">
                  <c:v>All Others</c:v>
                </c:pt>
                <c:pt idx="38">
                  <c:v>Deutz</c:v>
                </c:pt>
                <c:pt idx="39">
                  <c:v>Canard Duch</c:v>
                </c:pt>
                <c:pt idx="40">
                  <c:v>Piper Heids</c:v>
                </c:pt>
                <c:pt idx="41">
                  <c:v>Krug</c:v>
                </c:pt>
                <c:pt idx="42">
                  <c:v>Henriot</c:v>
                </c:pt>
                <c:pt idx="43">
                  <c:v>Lanson</c:v>
                </c:pt>
                <c:pt idx="44">
                  <c:v>Campari: Al</c:v>
                </c:pt>
                <c:pt idx="45">
                  <c:v>De Venoge</c:v>
                </c:pt>
                <c:pt idx="46">
                  <c:v>Nicolas</c:v>
                </c:pt>
                <c:pt idx="47">
                  <c:v>Roederer</c:v>
                </c:pt>
                <c:pt idx="48">
                  <c:v>Canard Duch</c:v>
                </c:pt>
                <c:pt idx="49">
                  <c:v>Nicolas</c:v>
                </c:pt>
                <c:pt idx="50">
                  <c:v>Veuve Clicq</c:v>
                </c:pt>
                <c:pt idx="51">
                  <c:v>All Others</c:v>
                </c:pt>
                <c:pt idx="52">
                  <c:v>Ruinart</c:v>
                </c:pt>
                <c:pt idx="53">
                  <c:v>Roederer</c:v>
                </c:pt>
                <c:pt idx="54">
                  <c:v>Vranken</c:v>
                </c:pt>
                <c:pt idx="55">
                  <c:v>Nicolas</c:v>
                </c:pt>
                <c:pt idx="56">
                  <c:v>Laurent Per</c:v>
                </c:pt>
                <c:pt idx="57">
                  <c:v>Demoiselle</c:v>
                </c:pt>
                <c:pt idx="58">
                  <c:v>Nicolas</c:v>
                </c:pt>
                <c:pt idx="59">
                  <c:v>Roederer</c:v>
                </c:pt>
                <c:pt idx="60">
                  <c:v>Canard Duch</c:v>
                </c:pt>
                <c:pt idx="61">
                  <c:v>Roederer</c:v>
                </c:pt>
                <c:pt idx="62">
                  <c:v>Canard Duch</c:v>
                </c:pt>
                <c:pt idx="63">
                  <c:v>Nicolas Feu</c:v>
                </c:pt>
                <c:pt idx="64">
                  <c:v>All Others</c:v>
                </c:pt>
                <c:pt idx="65">
                  <c:v>Ruinart</c:v>
                </c:pt>
                <c:pt idx="66">
                  <c:v>All Others</c:v>
                </c:pt>
                <c:pt idx="67">
                  <c:v>Roederer</c:v>
                </c:pt>
                <c:pt idx="68">
                  <c:v>Pommery</c:v>
                </c:pt>
                <c:pt idx="69">
                  <c:v>Ruinart</c:v>
                </c:pt>
                <c:pt idx="70">
                  <c:v>Roederer</c:v>
                </c:pt>
                <c:pt idx="71">
                  <c:v>Pommery</c:v>
                </c:pt>
                <c:pt idx="72">
                  <c:v>Roederer</c:v>
                </c:pt>
                <c:pt idx="73">
                  <c:v>Vranken</c:v>
                </c:pt>
                <c:pt idx="74">
                  <c:v>Moët &amp; Chan</c:v>
                </c:pt>
                <c:pt idx="75">
                  <c:v>Ruinart</c:v>
                </c:pt>
                <c:pt idx="76">
                  <c:v>Nicolas Feu</c:v>
                </c:pt>
                <c:pt idx="77">
                  <c:v>Roederer</c:v>
                </c:pt>
                <c:pt idx="78">
                  <c:v>Piper Heids</c:v>
                </c:pt>
                <c:pt idx="79">
                  <c:v>Laurent Per</c:v>
                </c:pt>
                <c:pt idx="80">
                  <c:v>De Venoge</c:v>
                </c:pt>
                <c:pt idx="81">
                  <c:v>Pommery</c:v>
                </c:pt>
                <c:pt idx="82">
                  <c:v>Moët &amp; Chan</c:v>
                </c:pt>
                <c:pt idx="83">
                  <c:v>Laurent Per</c:v>
                </c:pt>
                <c:pt idx="84">
                  <c:v>Martel</c:v>
                </c:pt>
                <c:pt idx="85">
                  <c:v>Lanson</c:v>
                </c:pt>
                <c:pt idx="86">
                  <c:v>Bollinger</c:v>
                </c:pt>
                <c:pt idx="87">
                  <c:v>Nicolas</c:v>
                </c:pt>
                <c:pt idx="88">
                  <c:v>Henriot</c:v>
                </c:pt>
                <c:pt idx="89">
                  <c:v>All Others</c:v>
                </c:pt>
                <c:pt idx="90">
                  <c:v>Moët &amp; Chan</c:v>
                </c:pt>
                <c:pt idx="91">
                  <c:v>Nicolas</c:v>
                </c:pt>
                <c:pt idx="92">
                  <c:v>Veuve Clicq</c:v>
                </c:pt>
                <c:pt idx="93">
                  <c:v>Bollinger</c:v>
                </c:pt>
                <c:pt idx="94">
                  <c:v>All Others</c:v>
                </c:pt>
              </c:strCache>
            </c:strRef>
          </c:cat>
          <c:val>
            <c:numRef>
              <c:f>Sheet1!$C$2:$C$96</c:f>
              <c:numCache>
                <c:formatCode>General</c:formatCode>
                <c:ptCount val="95"/>
                <c:pt idx="0">
                  <c:v>0.16274465217656553</c:v>
                </c:pt>
                <c:pt idx="1">
                  <c:v>0.27988652686806392</c:v>
                </c:pt>
                <c:pt idx="2">
                  <c:v>0.34371100400982768</c:v>
                </c:pt>
                <c:pt idx="3">
                  <c:v>0.40713616221222693</c:v>
                </c:pt>
                <c:pt idx="4">
                  <c:v>0.4695519308734547</c:v>
                </c:pt>
                <c:pt idx="5">
                  <c:v>0.50989700899022217</c:v>
                </c:pt>
                <c:pt idx="6">
                  <c:v>0.54778793945881188</c:v>
                </c:pt>
                <c:pt idx="7">
                  <c:v>0.58336198816463025</c:v>
                </c:pt>
                <c:pt idx="8">
                  <c:v>0.60855097139878089</c:v>
                </c:pt>
                <c:pt idx="9">
                  <c:v>0.63252813257388785</c:v>
                </c:pt>
                <c:pt idx="10">
                  <c:v>0.65589522314718784</c:v>
                </c:pt>
                <c:pt idx="11">
                  <c:v>0.67907651949175574</c:v>
                </c:pt>
                <c:pt idx="12">
                  <c:v>0.69952636336914265</c:v>
                </c:pt>
                <c:pt idx="13">
                  <c:v>0.71944932809042361</c:v>
                </c:pt>
                <c:pt idx="14">
                  <c:v>0.73932653751656907</c:v>
                </c:pt>
                <c:pt idx="15">
                  <c:v>0.75333736349670299</c:v>
                </c:pt>
                <c:pt idx="16">
                  <c:v>0.76637762261032583</c:v>
                </c:pt>
                <c:pt idx="17">
                  <c:v>0.77903658759781935</c:v>
                </c:pt>
                <c:pt idx="18">
                  <c:v>0.7900913442073797</c:v>
                </c:pt>
                <c:pt idx="19">
                  <c:v>0.80025733887203498</c:v>
                </c:pt>
                <c:pt idx="20">
                  <c:v>0.81020703577786779</c:v>
                </c:pt>
                <c:pt idx="21">
                  <c:v>0.82009849867170992</c:v>
                </c:pt>
                <c:pt idx="22">
                  <c:v>0.82974177375254432</c:v>
                </c:pt>
                <c:pt idx="23">
                  <c:v>0.83934622615871823</c:v>
                </c:pt>
                <c:pt idx="24">
                  <c:v>0.84856938443876284</c:v>
                </c:pt>
                <c:pt idx="25">
                  <c:v>0.85778699662242741</c:v>
                </c:pt>
                <c:pt idx="26">
                  <c:v>0.86610752771661681</c:v>
                </c:pt>
                <c:pt idx="27">
                  <c:v>0.87438646308795565</c:v>
                </c:pt>
                <c:pt idx="28">
                  <c:v>0.8814438707315857</c:v>
                </c:pt>
                <c:pt idx="29">
                  <c:v>0.88846384222465036</c:v>
                </c:pt>
                <c:pt idx="30">
                  <c:v>0.89535625350097348</c:v>
                </c:pt>
                <c:pt idx="31">
                  <c:v>0.90216270028340562</c:v>
                </c:pt>
                <c:pt idx="32">
                  <c:v>0.90766581441652305</c:v>
                </c:pt>
                <c:pt idx="33">
                  <c:v>0.91233285452034596</c:v>
                </c:pt>
                <c:pt idx="34">
                  <c:v>0.91685430959419223</c:v>
                </c:pt>
                <c:pt idx="35">
                  <c:v>0.92116085343331111</c:v>
                </c:pt>
                <c:pt idx="36">
                  <c:v>0.92539945759177422</c:v>
                </c:pt>
                <c:pt idx="37">
                  <c:v>0.92959923907557684</c:v>
                </c:pt>
                <c:pt idx="38">
                  <c:v>0.93376990355338418</c:v>
                </c:pt>
                <c:pt idx="39">
                  <c:v>0.93786430920596564</c:v>
                </c:pt>
                <c:pt idx="40">
                  <c:v>0.94166338522630877</c:v>
                </c:pt>
                <c:pt idx="41">
                  <c:v>0.94520734081316893</c:v>
                </c:pt>
                <c:pt idx="42">
                  <c:v>0.94867365105070822</c:v>
                </c:pt>
                <c:pt idx="43">
                  <c:v>0.95209143294492193</c:v>
                </c:pt>
                <c:pt idx="44">
                  <c:v>0.95537749505010916</c:v>
                </c:pt>
                <c:pt idx="45">
                  <c:v>0.95861502881197092</c:v>
                </c:pt>
                <c:pt idx="46">
                  <c:v>0.96160298823672985</c:v>
                </c:pt>
                <c:pt idx="47">
                  <c:v>0.96410982380051824</c:v>
                </c:pt>
                <c:pt idx="48">
                  <c:v>0.96642947861147954</c:v>
                </c:pt>
                <c:pt idx="49">
                  <c:v>0.96860632144065417</c:v>
                </c:pt>
                <c:pt idx="50">
                  <c:v>0.97058627784833662</c:v>
                </c:pt>
                <c:pt idx="51">
                  <c:v>0.97225426633464052</c:v>
                </c:pt>
                <c:pt idx="52">
                  <c:v>0.97389313781494913</c:v>
                </c:pt>
                <c:pt idx="53">
                  <c:v>0.97551814405430759</c:v>
                </c:pt>
                <c:pt idx="54">
                  <c:v>0.97706689146844017</c:v>
                </c:pt>
                <c:pt idx="55">
                  <c:v>0.97841736593698547</c:v>
                </c:pt>
                <c:pt idx="56">
                  <c:v>0.97976368083324572</c:v>
                </c:pt>
                <c:pt idx="57">
                  <c:v>0.9810891978680808</c:v>
                </c:pt>
                <c:pt idx="58">
                  <c:v>0.98240362271015569</c:v>
                </c:pt>
                <c:pt idx="59">
                  <c:v>0.98361821781738945</c:v>
                </c:pt>
                <c:pt idx="60">
                  <c:v>0.98480230939453284</c:v>
                </c:pt>
                <c:pt idx="61">
                  <c:v>0.98597808182710622</c:v>
                </c:pt>
                <c:pt idx="62">
                  <c:v>0.98713998901872935</c:v>
                </c:pt>
                <c:pt idx="63">
                  <c:v>0.98822979695741175</c:v>
                </c:pt>
                <c:pt idx="64">
                  <c:v>0.98927523612505364</c:v>
                </c:pt>
                <c:pt idx="65">
                  <c:v>0.99025273561203975</c:v>
                </c:pt>
                <c:pt idx="66">
                  <c:v>0.99114704365332484</c:v>
                </c:pt>
                <c:pt idx="67">
                  <c:v>0.99195400067662398</c:v>
                </c:pt>
                <c:pt idx="68">
                  <c:v>0.99271797545297769</c:v>
                </c:pt>
                <c:pt idx="69">
                  <c:v>0.99346669846428615</c:v>
                </c:pt>
                <c:pt idx="70">
                  <c:v>0.99419185056597936</c:v>
                </c:pt>
                <c:pt idx="71">
                  <c:v>0.99474230063170066</c:v>
                </c:pt>
                <c:pt idx="72">
                  <c:v>0.99526779326371162</c:v>
                </c:pt>
                <c:pt idx="73">
                  <c:v>0.99576139584153722</c:v>
                </c:pt>
                <c:pt idx="74">
                  <c:v>0.99623142750974758</c:v>
                </c:pt>
                <c:pt idx="75">
                  <c:v>0.99666124997920247</c:v>
                </c:pt>
                <c:pt idx="76">
                  <c:v>0.99702451929209657</c:v>
                </c:pt>
                <c:pt idx="77">
                  <c:v>0.99735173897852025</c:v>
                </c:pt>
                <c:pt idx="78">
                  <c:v>0.99765954732761375</c:v>
                </c:pt>
                <c:pt idx="79">
                  <c:v>0.99796042305623212</c:v>
                </c:pt>
                <c:pt idx="80">
                  <c:v>0.99818919953190965</c:v>
                </c:pt>
                <c:pt idx="81">
                  <c:v>0.99840133771844708</c:v>
                </c:pt>
                <c:pt idx="82">
                  <c:v>0.99860931633269945</c:v>
                </c:pt>
                <c:pt idx="83">
                  <c:v>0.99881590842285684</c:v>
                </c:pt>
                <c:pt idx="84">
                  <c:v>0.99902111398891913</c:v>
                </c:pt>
                <c:pt idx="85">
                  <c:v>0.9992193869345064</c:v>
                </c:pt>
                <c:pt idx="86">
                  <c:v>0.99939963506685847</c:v>
                </c:pt>
                <c:pt idx="87">
                  <c:v>0.99955215271731024</c:v>
                </c:pt>
                <c:pt idx="88">
                  <c:v>0.99966862074129159</c:v>
                </c:pt>
                <c:pt idx="89">
                  <c:v>0.99974765261470744</c:v>
                </c:pt>
                <c:pt idx="90">
                  <c:v>0.99981004619898317</c:v>
                </c:pt>
                <c:pt idx="91">
                  <c:v>0.99986689368687887</c:v>
                </c:pt>
                <c:pt idx="92">
                  <c:v>0.99991680855429943</c:v>
                </c:pt>
                <c:pt idx="93">
                  <c:v>0.99996117732533996</c:v>
                </c:pt>
                <c:pt idx="94">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2</c:f>
              <c:strCache>
                <c:ptCount val="81"/>
                <c:pt idx="0">
                  <c:v>Ruinart</c:v>
                </c:pt>
                <c:pt idx="1">
                  <c:v>Nicolas</c:v>
                </c:pt>
                <c:pt idx="2">
                  <c:v>Heidsieck &amp;</c:v>
                </c:pt>
                <c:pt idx="3">
                  <c:v>Deutz</c:v>
                </c:pt>
                <c:pt idx="4">
                  <c:v>De Bligny</c:v>
                </c:pt>
                <c:pt idx="5">
                  <c:v>Ayala</c:v>
                </c:pt>
                <c:pt idx="6">
                  <c:v>Demoiselle</c:v>
                </c:pt>
                <c:pt idx="7">
                  <c:v>Besserat De</c:v>
                </c:pt>
                <c:pt idx="8">
                  <c:v>Canard Duch</c:v>
                </c:pt>
                <c:pt idx="9">
                  <c:v>Bollinger</c:v>
                </c:pt>
                <c:pt idx="10">
                  <c:v>Taittinger</c:v>
                </c:pt>
                <c:pt idx="11">
                  <c:v>Laurent Per</c:v>
                </c:pt>
                <c:pt idx="12">
                  <c:v>Ruinart</c:v>
                </c:pt>
                <c:pt idx="13">
                  <c:v>Deutz</c:v>
                </c:pt>
                <c:pt idx="14">
                  <c:v>All Others</c:v>
                </c:pt>
                <c:pt idx="15">
                  <c:v>Laurent Per</c:v>
                </c:pt>
                <c:pt idx="16">
                  <c:v>Ruinart</c:v>
                </c:pt>
                <c:pt idx="17">
                  <c:v>Roederer</c:v>
                </c:pt>
                <c:pt idx="18">
                  <c:v>All Others</c:v>
                </c:pt>
                <c:pt idx="19">
                  <c:v>Pommery</c:v>
                </c:pt>
                <c:pt idx="20">
                  <c:v>Henriot</c:v>
                </c:pt>
                <c:pt idx="21">
                  <c:v>Perrier Jou</c:v>
                </c:pt>
                <c:pt idx="22">
                  <c:v>All Others</c:v>
                </c:pt>
                <c:pt idx="23">
                  <c:v>Savian</c:v>
                </c:pt>
                <c:pt idx="24">
                  <c:v>Moët &amp; Chan</c:v>
                </c:pt>
                <c:pt idx="25">
                  <c:v>Nicolas</c:v>
                </c:pt>
                <c:pt idx="26">
                  <c:v>Deutz</c:v>
                </c:pt>
                <c:pt idx="27">
                  <c:v>Roederer</c:v>
                </c:pt>
                <c:pt idx="28">
                  <c:v>Henriot</c:v>
                </c:pt>
                <c:pt idx="29">
                  <c:v>Campari: Al</c:v>
                </c:pt>
                <c:pt idx="30">
                  <c:v>Veuve Clicq</c:v>
                </c:pt>
                <c:pt idx="31">
                  <c:v>Taittinger</c:v>
                </c:pt>
                <c:pt idx="32">
                  <c:v>Canard Duch</c:v>
                </c:pt>
                <c:pt idx="33">
                  <c:v>De Venoge</c:v>
                </c:pt>
                <c:pt idx="34">
                  <c:v>Nicolas Feu</c:v>
                </c:pt>
                <c:pt idx="35">
                  <c:v>Piper Heids</c:v>
                </c:pt>
                <c:pt idx="36">
                  <c:v>Veuve Clicq</c:v>
                </c:pt>
                <c:pt idx="37">
                  <c:v>Campari: Al</c:v>
                </c:pt>
                <c:pt idx="38">
                  <c:v>Bollinger</c:v>
                </c:pt>
                <c:pt idx="39">
                  <c:v>Ruinart</c:v>
                </c:pt>
                <c:pt idx="40">
                  <c:v>Nicolas</c:v>
                </c:pt>
                <c:pt idx="41">
                  <c:v>Vranken</c:v>
                </c:pt>
                <c:pt idx="42">
                  <c:v>De Venoge</c:v>
                </c:pt>
                <c:pt idx="43">
                  <c:v>Lanson</c:v>
                </c:pt>
                <c:pt idx="44">
                  <c:v>All Others</c:v>
                </c:pt>
                <c:pt idx="45">
                  <c:v>De Venoge</c:v>
                </c:pt>
                <c:pt idx="46">
                  <c:v>Veuve Clicq</c:v>
                </c:pt>
                <c:pt idx="47">
                  <c:v>Laurent Per</c:v>
                </c:pt>
                <c:pt idx="48">
                  <c:v>Roederer</c:v>
                </c:pt>
                <c:pt idx="49">
                  <c:v>Nicolas</c:v>
                </c:pt>
                <c:pt idx="50">
                  <c:v>Roederer</c:v>
                </c:pt>
                <c:pt idx="51">
                  <c:v>Roederer</c:v>
                </c:pt>
                <c:pt idx="52">
                  <c:v>Canard Duch</c:v>
                </c:pt>
                <c:pt idx="53">
                  <c:v>Veuve Clicq</c:v>
                </c:pt>
                <c:pt idx="54">
                  <c:v>Krug</c:v>
                </c:pt>
                <c:pt idx="55">
                  <c:v>Roederer</c:v>
                </c:pt>
                <c:pt idx="56">
                  <c:v>Canard Duch</c:v>
                </c:pt>
                <c:pt idx="57">
                  <c:v>Nicolas</c:v>
                </c:pt>
                <c:pt idx="58">
                  <c:v>Laurent Per</c:v>
                </c:pt>
                <c:pt idx="59">
                  <c:v>Roederer</c:v>
                </c:pt>
                <c:pt idx="60">
                  <c:v>Nicolas Feu</c:v>
                </c:pt>
                <c:pt idx="61">
                  <c:v>Roederer</c:v>
                </c:pt>
                <c:pt idx="62">
                  <c:v>Roederer</c:v>
                </c:pt>
                <c:pt idx="63">
                  <c:v>De Venoge</c:v>
                </c:pt>
                <c:pt idx="64">
                  <c:v>All Others</c:v>
                </c:pt>
                <c:pt idx="65">
                  <c:v>Demoiselle</c:v>
                </c:pt>
                <c:pt idx="66">
                  <c:v>All Others</c:v>
                </c:pt>
                <c:pt idx="67">
                  <c:v>Nicolas</c:v>
                </c:pt>
                <c:pt idx="68">
                  <c:v>Canard Duch</c:v>
                </c:pt>
                <c:pt idx="69">
                  <c:v>Deutz</c:v>
                </c:pt>
                <c:pt idx="70">
                  <c:v>Piper Heids</c:v>
                </c:pt>
                <c:pt idx="71">
                  <c:v>Henriot</c:v>
                </c:pt>
                <c:pt idx="72">
                  <c:v>Nicolas</c:v>
                </c:pt>
                <c:pt idx="73">
                  <c:v>All Others</c:v>
                </c:pt>
                <c:pt idx="74">
                  <c:v>All Others</c:v>
                </c:pt>
                <c:pt idx="75">
                  <c:v>Ruinart</c:v>
                </c:pt>
                <c:pt idx="76">
                  <c:v>Roederer</c:v>
                </c:pt>
                <c:pt idx="77">
                  <c:v>Bollinger</c:v>
                </c:pt>
                <c:pt idx="78">
                  <c:v>Vranken</c:v>
                </c:pt>
                <c:pt idx="79">
                  <c:v>All Others</c:v>
                </c:pt>
                <c:pt idx="80">
                  <c:v>Besserat De</c:v>
                </c:pt>
              </c:strCache>
            </c:strRef>
          </c:cat>
          <c:val>
            <c:numRef>
              <c:f>Sheet1!$B$2:$B$82</c:f>
              <c:numCache>
                <c:formatCode>General</c:formatCode>
                <c:ptCount val="81"/>
                <c:pt idx="0">
                  <c:v>1</c:v>
                </c:pt>
                <c:pt idx="1">
                  <c:v>1</c:v>
                </c:pt>
                <c:pt idx="2">
                  <c:v>0.95</c:v>
                </c:pt>
                <c:pt idx="3">
                  <c:v>1</c:v>
                </c:pt>
                <c:pt idx="4">
                  <c:v>1</c:v>
                </c:pt>
                <c:pt idx="5">
                  <c:v>1</c:v>
                </c:pt>
                <c:pt idx="6">
                  <c:v>1</c:v>
                </c:pt>
                <c:pt idx="7">
                  <c:v>0.94</c:v>
                </c:pt>
                <c:pt idx="8">
                  <c:v>1</c:v>
                </c:pt>
                <c:pt idx="9">
                  <c:v>1</c:v>
                </c:pt>
                <c:pt idx="10">
                  <c:v>0.94</c:v>
                </c:pt>
                <c:pt idx="11">
                  <c:v>0.86</c:v>
                </c:pt>
                <c:pt idx="12">
                  <c:v>0.55000000000000004</c:v>
                </c:pt>
                <c:pt idx="13">
                  <c:v>0.79</c:v>
                </c:pt>
                <c:pt idx="14">
                  <c:v>0.72</c:v>
                </c:pt>
                <c:pt idx="15">
                  <c:v>0.76</c:v>
                </c:pt>
                <c:pt idx="16">
                  <c:v>0.56999999999999995</c:v>
                </c:pt>
                <c:pt idx="17">
                  <c:v>0.59</c:v>
                </c:pt>
                <c:pt idx="18">
                  <c:v>0.76</c:v>
                </c:pt>
                <c:pt idx="19">
                  <c:v>0.69</c:v>
                </c:pt>
                <c:pt idx="20">
                  <c:v>0.83</c:v>
                </c:pt>
                <c:pt idx="21">
                  <c:v>0.7</c:v>
                </c:pt>
                <c:pt idx="22">
                  <c:v>0.64</c:v>
                </c:pt>
                <c:pt idx="23">
                  <c:v>0.6</c:v>
                </c:pt>
                <c:pt idx="24">
                  <c:v>0.55000000000000004</c:v>
                </c:pt>
                <c:pt idx="25">
                  <c:v>0.76</c:v>
                </c:pt>
                <c:pt idx="26">
                  <c:v>0.85</c:v>
                </c:pt>
                <c:pt idx="27">
                  <c:v>0.65</c:v>
                </c:pt>
                <c:pt idx="28">
                  <c:v>0.77</c:v>
                </c:pt>
                <c:pt idx="29">
                  <c:v>0.56000000000000005</c:v>
                </c:pt>
                <c:pt idx="30">
                  <c:v>0.44</c:v>
                </c:pt>
                <c:pt idx="31">
                  <c:v>0.62</c:v>
                </c:pt>
                <c:pt idx="32">
                  <c:v>0.8</c:v>
                </c:pt>
                <c:pt idx="33">
                  <c:v>0.68</c:v>
                </c:pt>
                <c:pt idx="34">
                  <c:v>0.52</c:v>
                </c:pt>
                <c:pt idx="35">
                  <c:v>0.56000000000000005</c:v>
                </c:pt>
                <c:pt idx="36">
                  <c:v>0.56000000000000005</c:v>
                </c:pt>
                <c:pt idx="37">
                  <c:v>0.56999999999999995</c:v>
                </c:pt>
                <c:pt idx="38">
                  <c:v>0.51</c:v>
                </c:pt>
                <c:pt idx="39">
                  <c:v>0.66</c:v>
                </c:pt>
                <c:pt idx="40">
                  <c:v>0.49</c:v>
                </c:pt>
                <c:pt idx="41">
                  <c:v>0.34</c:v>
                </c:pt>
                <c:pt idx="42">
                  <c:v>0.73</c:v>
                </c:pt>
                <c:pt idx="43">
                  <c:v>0.37</c:v>
                </c:pt>
                <c:pt idx="44">
                  <c:v>0.44</c:v>
                </c:pt>
                <c:pt idx="45">
                  <c:v>0.39</c:v>
                </c:pt>
                <c:pt idx="46">
                  <c:v>0.46</c:v>
                </c:pt>
                <c:pt idx="47">
                  <c:v>0.18</c:v>
                </c:pt>
                <c:pt idx="48">
                  <c:v>0.21</c:v>
                </c:pt>
                <c:pt idx="49">
                  <c:v>0.46</c:v>
                </c:pt>
                <c:pt idx="50">
                  <c:v>0.38</c:v>
                </c:pt>
                <c:pt idx="51">
                  <c:v>0.46</c:v>
                </c:pt>
                <c:pt idx="52">
                  <c:v>0.32</c:v>
                </c:pt>
                <c:pt idx="53">
                  <c:v>0.38</c:v>
                </c:pt>
                <c:pt idx="54">
                  <c:v>0.36</c:v>
                </c:pt>
                <c:pt idx="55">
                  <c:v>0.26</c:v>
                </c:pt>
                <c:pt idx="56">
                  <c:v>0.24</c:v>
                </c:pt>
                <c:pt idx="57">
                  <c:v>0.4</c:v>
                </c:pt>
                <c:pt idx="58">
                  <c:v>0.18</c:v>
                </c:pt>
                <c:pt idx="59">
                  <c:v>0.36</c:v>
                </c:pt>
                <c:pt idx="60">
                  <c:v>0.45</c:v>
                </c:pt>
                <c:pt idx="61">
                  <c:v>0.26</c:v>
                </c:pt>
                <c:pt idx="62">
                  <c:v>0.42</c:v>
                </c:pt>
                <c:pt idx="63">
                  <c:v>0.27</c:v>
                </c:pt>
                <c:pt idx="64">
                  <c:v>0.26</c:v>
                </c:pt>
                <c:pt idx="65">
                  <c:v>0.32</c:v>
                </c:pt>
                <c:pt idx="66">
                  <c:v>0.23</c:v>
                </c:pt>
                <c:pt idx="67">
                  <c:v>0.14000000000000001</c:v>
                </c:pt>
                <c:pt idx="68">
                  <c:v>0.16</c:v>
                </c:pt>
                <c:pt idx="69">
                  <c:v>0.24</c:v>
                </c:pt>
                <c:pt idx="70">
                  <c:v>0.14000000000000001</c:v>
                </c:pt>
                <c:pt idx="71">
                  <c:v>0.08</c:v>
                </c:pt>
                <c:pt idx="72">
                  <c:v>0.66</c:v>
                </c:pt>
                <c:pt idx="73">
                  <c:v>0.17</c:v>
                </c:pt>
                <c:pt idx="74">
                  <c:v>0.12</c:v>
                </c:pt>
                <c:pt idx="75">
                  <c:v>0.21</c:v>
                </c:pt>
                <c:pt idx="76">
                  <c:v>0.04</c:v>
                </c:pt>
                <c:pt idx="77">
                  <c:v>0.32</c:v>
                </c:pt>
                <c:pt idx="78">
                  <c:v>0.16</c:v>
                </c:pt>
                <c:pt idx="79">
                  <c:v>0.1</c:v>
                </c:pt>
                <c:pt idx="80">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2</c:f>
              <c:strCache>
                <c:ptCount val="81"/>
                <c:pt idx="0">
                  <c:v>Ruinart</c:v>
                </c:pt>
                <c:pt idx="1">
                  <c:v>Nicolas</c:v>
                </c:pt>
                <c:pt idx="2">
                  <c:v>Heidsieck &amp;</c:v>
                </c:pt>
                <c:pt idx="3">
                  <c:v>Deutz</c:v>
                </c:pt>
                <c:pt idx="4">
                  <c:v>De Bligny</c:v>
                </c:pt>
                <c:pt idx="5">
                  <c:v>Ayala</c:v>
                </c:pt>
                <c:pt idx="6">
                  <c:v>Demoiselle</c:v>
                </c:pt>
                <c:pt idx="7">
                  <c:v>Besserat De</c:v>
                </c:pt>
                <c:pt idx="8">
                  <c:v>Canard Duch</c:v>
                </c:pt>
                <c:pt idx="9">
                  <c:v>Bollinger</c:v>
                </c:pt>
                <c:pt idx="10">
                  <c:v>Taittinger</c:v>
                </c:pt>
                <c:pt idx="11">
                  <c:v>Laurent Per</c:v>
                </c:pt>
                <c:pt idx="12">
                  <c:v>Ruinart</c:v>
                </c:pt>
                <c:pt idx="13">
                  <c:v>Deutz</c:v>
                </c:pt>
                <c:pt idx="14">
                  <c:v>All Others</c:v>
                </c:pt>
                <c:pt idx="15">
                  <c:v>Laurent Per</c:v>
                </c:pt>
                <c:pt idx="16">
                  <c:v>Ruinart</c:v>
                </c:pt>
                <c:pt idx="17">
                  <c:v>Roederer</c:v>
                </c:pt>
                <c:pt idx="18">
                  <c:v>All Others</c:v>
                </c:pt>
                <c:pt idx="19">
                  <c:v>Pommery</c:v>
                </c:pt>
                <c:pt idx="20">
                  <c:v>Henriot</c:v>
                </c:pt>
                <c:pt idx="21">
                  <c:v>Perrier Jou</c:v>
                </c:pt>
                <c:pt idx="22">
                  <c:v>All Others</c:v>
                </c:pt>
                <c:pt idx="23">
                  <c:v>Savian</c:v>
                </c:pt>
                <c:pt idx="24">
                  <c:v>Moët &amp; Chan</c:v>
                </c:pt>
                <c:pt idx="25">
                  <c:v>Nicolas</c:v>
                </c:pt>
                <c:pt idx="26">
                  <c:v>Deutz</c:v>
                </c:pt>
                <c:pt idx="27">
                  <c:v>Roederer</c:v>
                </c:pt>
                <c:pt idx="28">
                  <c:v>Henriot</c:v>
                </c:pt>
                <c:pt idx="29">
                  <c:v>Campari: Al</c:v>
                </c:pt>
                <c:pt idx="30">
                  <c:v>Veuve Clicq</c:v>
                </c:pt>
                <c:pt idx="31">
                  <c:v>Taittinger</c:v>
                </c:pt>
                <c:pt idx="32">
                  <c:v>Canard Duch</c:v>
                </c:pt>
                <c:pt idx="33">
                  <c:v>De Venoge</c:v>
                </c:pt>
                <c:pt idx="34">
                  <c:v>Nicolas Feu</c:v>
                </c:pt>
                <c:pt idx="35">
                  <c:v>Piper Heids</c:v>
                </c:pt>
                <c:pt idx="36">
                  <c:v>Veuve Clicq</c:v>
                </c:pt>
                <c:pt idx="37">
                  <c:v>Campari: Al</c:v>
                </c:pt>
                <c:pt idx="38">
                  <c:v>Bollinger</c:v>
                </c:pt>
                <c:pt idx="39">
                  <c:v>Ruinart</c:v>
                </c:pt>
                <c:pt idx="40">
                  <c:v>Nicolas</c:v>
                </c:pt>
                <c:pt idx="41">
                  <c:v>Vranken</c:v>
                </c:pt>
                <c:pt idx="42">
                  <c:v>De Venoge</c:v>
                </c:pt>
                <c:pt idx="43">
                  <c:v>Lanson</c:v>
                </c:pt>
                <c:pt idx="44">
                  <c:v>All Others</c:v>
                </c:pt>
                <c:pt idx="45">
                  <c:v>De Venoge</c:v>
                </c:pt>
                <c:pt idx="46">
                  <c:v>Veuve Clicq</c:v>
                </c:pt>
                <c:pt idx="47">
                  <c:v>Laurent Per</c:v>
                </c:pt>
                <c:pt idx="48">
                  <c:v>Roederer</c:v>
                </c:pt>
                <c:pt idx="49">
                  <c:v>Nicolas</c:v>
                </c:pt>
                <c:pt idx="50">
                  <c:v>Roederer</c:v>
                </c:pt>
                <c:pt idx="51">
                  <c:v>Roederer</c:v>
                </c:pt>
                <c:pt idx="52">
                  <c:v>Canard Duch</c:v>
                </c:pt>
                <c:pt idx="53">
                  <c:v>Veuve Clicq</c:v>
                </c:pt>
                <c:pt idx="54">
                  <c:v>Krug</c:v>
                </c:pt>
                <c:pt idx="55">
                  <c:v>Roederer</c:v>
                </c:pt>
                <c:pt idx="56">
                  <c:v>Canard Duch</c:v>
                </c:pt>
                <c:pt idx="57">
                  <c:v>Nicolas</c:v>
                </c:pt>
                <c:pt idx="58">
                  <c:v>Laurent Per</c:v>
                </c:pt>
                <c:pt idx="59">
                  <c:v>Roederer</c:v>
                </c:pt>
                <c:pt idx="60">
                  <c:v>Nicolas Feu</c:v>
                </c:pt>
                <c:pt idx="61">
                  <c:v>Roederer</c:v>
                </c:pt>
                <c:pt idx="62">
                  <c:v>Roederer</c:v>
                </c:pt>
                <c:pt idx="63">
                  <c:v>De Venoge</c:v>
                </c:pt>
                <c:pt idx="64">
                  <c:v>All Others</c:v>
                </c:pt>
                <c:pt idx="65">
                  <c:v>Demoiselle</c:v>
                </c:pt>
                <c:pt idx="66">
                  <c:v>All Others</c:v>
                </c:pt>
                <c:pt idx="67">
                  <c:v>Nicolas</c:v>
                </c:pt>
                <c:pt idx="68">
                  <c:v>Canard Duch</c:v>
                </c:pt>
                <c:pt idx="69">
                  <c:v>Deutz</c:v>
                </c:pt>
                <c:pt idx="70">
                  <c:v>Piper Heids</c:v>
                </c:pt>
                <c:pt idx="71">
                  <c:v>Henriot</c:v>
                </c:pt>
                <c:pt idx="72">
                  <c:v>Nicolas</c:v>
                </c:pt>
                <c:pt idx="73">
                  <c:v>All Others</c:v>
                </c:pt>
                <c:pt idx="74">
                  <c:v>All Others</c:v>
                </c:pt>
                <c:pt idx="75">
                  <c:v>Ruinart</c:v>
                </c:pt>
                <c:pt idx="76">
                  <c:v>Roederer</c:v>
                </c:pt>
                <c:pt idx="77">
                  <c:v>Bollinger</c:v>
                </c:pt>
                <c:pt idx="78">
                  <c:v>Vranken</c:v>
                </c:pt>
                <c:pt idx="79">
                  <c:v>All Others</c:v>
                </c:pt>
                <c:pt idx="80">
                  <c:v>Besserat De</c:v>
                </c:pt>
              </c:strCache>
            </c:strRef>
          </c:cat>
          <c:val>
            <c:numRef>
              <c:f>Sheet1!$C$2:$C$82</c:f>
              <c:numCache>
                <c:formatCode>General</c:formatCode>
                <c:ptCount val="81"/>
                <c:pt idx="0">
                  <c:v>0.15262918732760408</c:v>
                </c:pt>
                <c:pt idx="1">
                  <c:v>0.27927541893206209</c:v>
                </c:pt>
                <c:pt idx="2">
                  <c:v>0.35464731580541786</c:v>
                </c:pt>
                <c:pt idx="3">
                  <c:v>0.41970734546150296</c:v>
                </c:pt>
                <c:pt idx="4">
                  <c:v>0.46938128796696382</c:v>
                </c:pt>
                <c:pt idx="5">
                  <c:v>0.51799693872670172</c:v>
                </c:pt>
                <c:pt idx="6">
                  <c:v>0.55029177761125025</c:v>
                </c:pt>
                <c:pt idx="7">
                  <c:v>0.57971268674564336</c:v>
                </c:pt>
                <c:pt idx="8">
                  <c:v>0.60794177203080413</c:v>
                </c:pt>
                <c:pt idx="9">
                  <c:v>0.63482158516557985</c:v>
                </c:pt>
                <c:pt idx="10">
                  <c:v>0.66168944020153386</c:v>
                </c:pt>
                <c:pt idx="11">
                  <c:v>0.68804509000462388</c:v>
                </c:pt>
                <c:pt idx="12">
                  <c:v>0.71147698464580122</c:v>
                </c:pt>
                <c:pt idx="13">
                  <c:v>0.73344999123072763</c:v>
                </c:pt>
                <c:pt idx="14">
                  <c:v>0.74943597633890857</c:v>
                </c:pt>
                <c:pt idx="15">
                  <c:v>0.76376975079322063</c:v>
                </c:pt>
                <c:pt idx="16">
                  <c:v>0.77773481720052939</c:v>
                </c:pt>
                <c:pt idx="17">
                  <c:v>0.78887378625296967</c:v>
                </c:pt>
                <c:pt idx="18">
                  <c:v>0.79932117859021989</c:v>
                </c:pt>
                <c:pt idx="19">
                  <c:v>0.80951944386868413</c:v>
                </c:pt>
                <c:pt idx="20">
                  <c:v>0.81970973708126726</c:v>
                </c:pt>
                <c:pt idx="21">
                  <c:v>0.82986614901385547</c:v>
                </c:pt>
                <c:pt idx="22">
                  <c:v>0.83990098694175608</c:v>
                </c:pt>
                <c:pt idx="23">
                  <c:v>0.84983418102967201</c:v>
                </c:pt>
                <c:pt idx="24">
                  <c:v>0.85750131539087038</c:v>
                </c:pt>
                <c:pt idx="25">
                  <c:v>0.86488145538034722</c:v>
                </c:pt>
                <c:pt idx="26">
                  <c:v>0.87222372805688864</c:v>
                </c:pt>
                <c:pt idx="27">
                  <c:v>0.8795022242063808</c:v>
                </c:pt>
                <c:pt idx="28">
                  <c:v>0.88598351376775775</c:v>
                </c:pt>
                <c:pt idx="29">
                  <c:v>0.89220371817152699</c:v>
                </c:pt>
                <c:pt idx="30">
                  <c:v>0.89753703024601794</c:v>
                </c:pt>
                <c:pt idx="31">
                  <c:v>0.90284642612286548</c:v>
                </c:pt>
                <c:pt idx="32">
                  <c:v>0.9081478499338318</c:v>
                </c:pt>
                <c:pt idx="33">
                  <c:v>0.9134233645306844</c:v>
                </c:pt>
                <c:pt idx="34">
                  <c:v>0.9185553819416763</c:v>
                </c:pt>
                <c:pt idx="35">
                  <c:v>0.92363956695738125</c:v>
                </c:pt>
                <c:pt idx="36">
                  <c:v>0.92821154674022222</c:v>
                </c:pt>
                <c:pt idx="37">
                  <c:v>0.93257226677721261</c:v>
                </c:pt>
                <c:pt idx="38">
                  <c:v>0.9369309937977327</c:v>
                </c:pt>
                <c:pt idx="39">
                  <c:v>0.94108842615475374</c:v>
                </c:pt>
                <c:pt idx="40">
                  <c:v>0.94485323426712797</c:v>
                </c:pt>
                <c:pt idx="41">
                  <c:v>0.94838286643600822</c:v>
                </c:pt>
                <c:pt idx="42">
                  <c:v>0.95178494555079007</c:v>
                </c:pt>
                <c:pt idx="43">
                  <c:v>0.95472265182799476</c:v>
                </c:pt>
                <c:pt idx="44">
                  <c:v>0.95751088186992783</c:v>
                </c:pt>
                <c:pt idx="45">
                  <c:v>0.96021540522010884</c:v>
                </c:pt>
                <c:pt idx="46">
                  <c:v>0.962866117125592</c:v>
                </c:pt>
                <c:pt idx="47">
                  <c:v>0.96548494076755054</c:v>
                </c:pt>
                <c:pt idx="48">
                  <c:v>0.96796624627305927</c:v>
                </c:pt>
                <c:pt idx="49">
                  <c:v>0.97038776128445936</c:v>
                </c:pt>
                <c:pt idx="50">
                  <c:v>0.97267574419235014</c:v>
                </c:pt>
                <c:pt idx="51">
                  <c:v>0.97494778296847862</c:v>
                </c:pt>
                <c:pt idx="52">
                  <c:v>0.97710024075638979</c:v>
                </c:pt>
                <c:pt idx="53">
                  <c:v>0.97894178797493603</c:v>
                </c:pt>
                <c:pt idx="54">
                  <c:v>0.98072553771584392</c:v>
                </c:pt>
                <c:pt idx="55">
                  <c:v>0.98241960171558884</c:v>
                </c:pt>
                <c:pt idx="56">
                  <c:v>0.98398611266123526</c:v>
                </c:pt>
                <c:pt idx="57">
                  <c:v>0.98534734291044201</c:v>
                </c:pt>
                <c:pt idx="58">
                  <c:v>0.98651325754556052</c:v>
                </c:pt>
                <c:pt idx="59">
                  <c:v>0.9876532629665653</c:v>
                </c:pt>
                <c:pt idx="60">
                  <c:v>0.98876138012404546</c:v>
                </c:pt>
                <c:pt idx="61">
                  <c:v>0.98986152521564452</c:v>
                </c:pt>
                <c:pt idx="62">
                  <c:v>0.99094771919195157</c:v>
                </c:pt>
                <c:pt idx="63">
                  <c:v>0.99201996205296661</c:v>
                </c:pt>
                <c:pt idx="64">
                  <c:v>0.99302842838693239</c:v>
                </c:pt>
                <c:pt idx="65">
                  <c:v>0.99388143943621565</c:v>
                </c:pt>
                <c:pt idx="66">
                  <c:v>0.99471850635373671</c:v>
                </c:pt>
                <c:pt idx="67">
                  <c:v>0.99544994339833248</c:v>
                </c:pt>
                <c:pt idx="68">
                  <c:v>0.99613155503117101</c:v>
                </c:pt>
                <c:pt idx="69">
                  <c:v>0.99674939013696029</c:v>
                </c:pt>
                <c:pt idx="70">
                  <c:v>0.99735128111098725</c:v>
                </c:pt>
                <c:pt idx="71">
                  <c:v>0.99785352126149984</c:v>
                </c:pt>
                <c:pt idx="72">
                  <c:v>0.99828600583555238</c:v>
                </c:pt>
                <c:pt idx="73">
                  <c:v>0.99868460912960999</c:v>
                </c:pt>
                <c:pt idx="74">
                  <c:v>0.99902541494602926</c:v>
                </c:pt>
                <c:pt idx="75">
                  <c:v>0.99931838836716158</c:v>
                </c:pt>
                <c:pt idx="76">
                  <c:v>0.99955356431065556</c:v>
                </c:pt>
                <c:pt idx="77">
                  <c:v>0.99974489389180321</c:v>
                </c:pt>
                <c:pt idx="78">
                  <c:v>0.99987244694590161</c:v>
                </c:pt>
                <c:pt idx="79">
                  <c:v>0.99994020950589135</c:v>
                </c:pt>
                <c:pt idx="8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4</c:f>
              <c:strCache>
                <c:ptCount val="93"/>
                <c:pt idx="0">
                  <c:v>Ruinart</c:v>
                </c:pt>
                <c:pt idx="1">
                  <c:v>Heidsieck &amp;</c:v>
                </c:pt>
                <c:pt idx="2">
                  <c:v>Nicolas</c:v>
                </c:pt>
                <c:pt idx="3">
                  <c:v>Deutz</c:v>
                </c:pt>
                <c:pt idx="4">
                  <c:v>De Bligny</c:v>
                </c:pt>
                <c:pt idx="5">
                  <c:v>Besserat De</c:v>
                </c:pt>
                <c:pt idx="6">
                  <c:v>Canard Duch</c:v>
                </c:pt>
                <c:pt idx="7">
                  <c:v>Ayala</c:v>
                </c:pt>
                <c:pt idx="8">
                  <c:v>Laurent Per</c:v>
                </c:pt>
                <c:pt idx="9">
                  <c:v>Ruinart</c:v>
                </c:pt>
                <c:pt idx="10">
                  <c:v>Taittinger</c:v>
                </c:pt>
                <c:pt idx="11">
                  <c:v>Bollinger</c:v>
                </c:pt>
                <c:pt idx="12">
                  <c:v>Roederer</c:v>
                </c:pt>
                <c:pt idx="13">
                  <c:v>Demoiselle</c:v>
                </c:pt>
                <c:pt idx="14">
                  <c:v>Ruinart</c:v>
                </c:pt>
                <c:pt idx="15">
                  <c:v>Deutz</c:v>
                </c:pt>
                <c:pt idx="16">
                  <c:v>Perrier Jou</c:v>
                </c:pt>
                <c:pt idx="17">
                  <c:v>All Others</c:v>
                </c:pt>
                <c:pt idx="18">
                  <c:v>Pommery</c:v>
                </c:pt>
                <c:pt idx="19">
                  <c:v>Laurent Per</c:v>
                </c:pt>
                <c:pt idx="20">
                  <c:v>Lanson</c:v>
                </c:pt>
                <c:pt idx="21">
                  <c:v>Campari: Al</c:v>
                </c:pt>
                <c:pt idx="22">
                  <c:v>De Venoge</c:v>
                </c:pt>
                <c:pt idx="23">
                  <c:v>Moët &amp; Chan</c:v>
                </c:pt>
                <c:pt idx="24">
                  <c:v>Taittinger</c:v>
                </c:pt>
                <c:pt idx="25">
                  <c:v>Veuve Clicq</c:v>
                </c:pt>
                <c:pt idx="26">
                  <c:v>Roederer</c:v>
                </c:pt>
                <c:pt idx="27">
                  <c:v>Savian</c:v>
                </c:pt>
                <c:pt idx="28">
                  <c:v>Roederer</c:v>
                </c:pt>
                <c:pt idx="29">
                  <c:v>Roederer</c:v>
                </c:pt>
                <c:pt idx="30">
                  <c:v>De Venoge</c:v>
                </c:pt>
                <c:pt idx="31">
                  <c:v>Henriot</c:v>
                </c:pt>
                <c:pt idx="32">
                  <c:v>Bollinger</c:v>
                </c:pt>
                <c:pt idx="33">
                  <c:v>Ruinart</c:v>
                </c:pt>
                <c:pt idx="34">
                  <c:v>All Others</c:v>
                </c:pt>
                <c:pt idx="35">
                  <c:v>Nicolas</c:v>
                </c:pt>
                <c:pt idx="36">
                  <c:v>Veuve Clicq</c:v>
                </c:pt>
                <c:pt idx="37">
                  <c:v>All Others</c:v>
                </c:pt>
                <c:pt idx="38">
                  <c:v>All Others</c:v>
                </c:pt>
                <c:pt idx="39">
                  <c:v>Canard Duch</c:v>
                </c:pt>
                <c:pt idx="40">
                  <c:v>Krug</c:v>
                </c:pt>
                <c:pt idx="41">
                  <c:v>Veuve Clicq</c:v>
                </c:pt>
                <c:pt idx="42">
                  <c:v>Henriot</c:v>
                </c:pt>
                <c:pt idx="43">
                  <c:v>Deutz</c:v>
                </c:pt>
                <c:pt idx="44">
                  <c:v>Nicolas Feu</c:v>
                </c:pt>
                <c:pt idx="45">
                  <c:v>Piper Heids</c:v>
                </c:pt>
                <c:pt idx="46">
                  <c:v>Canard Duch</c:v>
                </c:pt>
                <c:pt idx="47">
                  <c:v>Canard Duch</c:v>
                </c:pt>
                <c:pt idx="48">
                  <c:v>Veuve Clicq</c:v>
                </c:pt>
                <c:pt idx="49">
                  <c:v>Campari: Al</c:v>
                </c:pt>
                <c:pt idx="50">
                  <c:v>De Venoge</c:v>
                </c:pt>
                <c:pt idx="51">
                  <c:v>Nicolas</c:v>
                </c:pt>
                <c:pt idx="52">
                  <c:v>Deutz</c:v>
                </c:pt>
                <c:pt idx="53">
                  <c:v>Nicolas</c:v>
                </c:pt>
                <c:pt idx="54">
                  <c:v>Canard Duch</c:v>
                </c:pt>
                <c:pt idx="55">
                  <c:v>Nicolas</c:v>
                </c:pt>
                <c:pt idx="56">
                  <c:v>Roederer</c:v>
                </c:pt>
                <c:pt idx="57">
                  <c:v>Roederer</c:v>
                </c:pt>
                <c:pt idx="58">
                  <c:v>Laurent Per</c:v>
                </c:pt>
                <c:pt idx="59">
                  <c:v>Demoiselle</c:v>
                </c:pt>
                <c:pt idx="60">
                  <c:v>Nicolas</c:v>
                </c:pt>
                <c:pt idx="61">
                  <c:v>Roederer</c:v>
                </c:pt>
                <c:pt idx="62">
                  <c:v>Vranken</c:v>
                </c:pt>
                <c:pt idx="63">
                  <c:v>All Others</c:v>
                </c:pt>
                <c:pt idx="64">
                  <c:v>Pommery</c:v>
                </c:pt>
                <c:pt idx="65">
                  <c:v>Nicolas</c:v>
                </c:pt>
                <c:pt idx="66">
                  <c:v>Roederer</c:v>
                </c:pt>
                <c:pt idx="67">
                  <c:v>Pommery</c:v>
                </c:pt>
                <c:pt idx="68">
                  <c:v>Nicolas Feu</c:v>
                </c:pt>
                <c:pt idx="69">
                  <c:v>Moët &amp; Chan</c:v>
                </c:pt>
                <c:pt idx="70">
                  <c:v>Laurent Per</c:v>
                </c:pt>
                <c:pt idx="71">
                  <c:v>Ruinart</c:v>
                </c:pt>
                <c:pt idx="72">
                  <c:v>Pommery</c:v>
                </c:pt>
                <c:pt idx="73">
                  <c:v>Bollinger</c:v>
                </c:pt>
                <c:pt idx="74">
                  <c:v>All Others</c:v>
                </c:pt>
                <c:pt idx="75">
                  <c:v>Roederer</c:v>
                </c:pt>
                <c:pt idx="76">
                  <c:v>All Others</c:v>
                </c:pt>
                <c:pt idx="77">
                  <c:v>All Others</c:v>
                </c:pt>
                <c:pt idx="78">
                  <c:v>Martel</c:v>
                </c:pt>
                <c:pt idx="79">
                  <c:v>Vranken</c:v>
                </c:pt>
                <c:pt idx="80">
                  <c:v>Bollinger</c:v>
                </c:pt>
                <c:pt idx="81">
                  <c:v>Henriot</c:v>
                </c:pt>
                <c:pt idx="82">
                  <c:v>Piper Heids</c:v>
                </c:pt>
                <c:pt idx="83">
                  <c:v>Nicolas Feu</c:v>
                </c:pt>
                <c:pt idx="84">
                  <c:v>Moët &amp; Chan</c:v>
                </c:pt>
                <c:pt idx="85">
                  <c:v>Laurent Per</c:v>
                </c:pt>
                <c:pt idx="86">
                  <c:v>Vranken</c:v>
                </c:pt>
                <c:pt idx="87">
                  <c:v>Roederer</c:v>
                </c:pt>
                <c:pt idx="88">
                  <c:v>All Others</c:v>
                </c:pt>
                <c:pt idx="89">
                  <c:v>All Others</c:v>
                </c:pt>
                <c:pt idx="90">
                  <c:v>Besserat De</c:v>
                </c:pt>
                <c:pt idx="91">
                  <c:v>All Others</c:v>
                </c:pt>
                <c:pt idx="92">
                  <c:v>Nicolas</c:v>
                </c:pt>
              </c:strCache>
            </c:strRef>
          </c:cat>
          <c:val>
            <c:numRef>
              <c:f>Sheet1!$B$2:$B$94</c:f>
              <c:numCache>
                <c:formatCode>General</c:formatCode>
                <c:ptCount val="93"/>
                <c:pt idx="0">
                  <c:v>1</c:v>
                </c:pt>
                <c:pt idx="1">
                  <c:v>1</c:v>
                </c:pt>
                <c:pt idx="2">
                  <c:v>1</c:v>
                </c:pt>
                <c:pt idx="3">
                  <c:v>1</c:v>
                </c:pt>
                <c:pt idx="4">
                  <c:v>1</c:v>
                </c:pt>
                <c:pt idx="5">
                  <c:v>0.93</c:v>
                </c:pt>
                <c:pt idx="6">
                  <c:v>1</c:v>
                </c:pt>
                <c:pt idx="7">
                  <c:v>0.83</c:v>
                </c:pt>
                <c:pt idx="8">
                  <c:v>1</c:v>
                </c:pt>
                <c:pt idx="9">
                  <c:v>0.98</c:v>
                </c:pt>
                <c:pt idx="10">
                  <c:v>0.9</c:v>
                </c:pt>
                <c:pt idx="11">
                  <c:v>1</c:v>
                </c:pt>
                <c:pt idx="12">
                  <c:v>0.66</c:v>
                </c:pt>
                <c:pt idx="13">
                  <c:v>0.79</c:v>
                </c:pt>
                <c:pt idx="14">
                  <c:v>0.7</c:v>
                </c:pt>
                <c:pt idx="15">
                  <c:v>0.77</c:v>
                </c:pt>
                <c:pt idx="16">
                  <c:v>0.69</c:v>
                </c:pt>
                <c:pt idx="17">
                  <c:v>0.86</c:v>
                </c:pt>
                <c:pt idx="18">
                  <c:v>0.89</c:v>
                </c:pt>
                <c:pt idx="19">
                  <c:v>0.63</c:v>
                </c:pt>
                <c:pt idx="20">
                  <c:v>0.68</c:v>
                </c:pt>
                <c:pt idx="21">
                  <c:v>0.56000000000000005</c:v>
                </c:pt>
                <c:pt idx="22">
                  <c:v>0.44</c:v>
                </c:pt>
                <c:pt idx="23">
                  <c:v>0.61</c:v>
                </c:pt>
                <c:pt idx="24">
                  <c:v>0.56999999999999995</c:v>
                </c:pt>
                <c:pt idx="25">
                  <c:v>0.75</c:v>
                </c:pt>
                <c:pt idx="26">
                  <c:v>0.51</c:v>
                </c:pt>
                <c:pt idx="27">
                  <c:v>0.63</c:v>
                </c:pt>
                <c:pt idx="28">
                  <c:v>0.53</c:v>
                </c:pt>
                <c:pt idx="29">
                  <c:v>0.59</c:v>
                </c:pt>
                <c:pt idx="30">
                  <c:v>0.63</c:v>
                </c:pt>
                <c:pt idx="31">
                  <c:v>0.68</c:v>
                </c:pt>
                <c:pt idx="32">
                  <c:v>0.42</c:v>
                </c:pt>
                <c:pt idx="33">
                  <c:v>0.56999999999999995</c:v>
                </c:pt>
                <c:pt idx="34">
                  <c:v>0.56999999999999995</c:v>
                </c:pt>
                <c:pt idx="35">
                  <c:v>0.69</c:v>
                </c:pt>
                <c:pt idx="36">
                  <c:v>0.63</c:v>
                </c:pt>
                <c:pt idx="37">
                  <c:v>0.47</c:v>
                </c:pt>
                <c:pt idx="38">
                  <c:v>0.32</c:v>
                </c:pt>
                <c:pt idx="39">
                  <c:v>0.54</c:v>
                </c:pt>
                <c:pt idx="40">
                  <c:v>0.48</c:v>
                </c:pt>
                <c:pt idx="41">
                  <c:v>0.65</c:v>
                </c:pt>
                <c:pt idx="42">
                  <c:v>0.62</c:v>
                </c:pt>
                <c:pt idx="43">
                  <c:v>0.77</c:v>
                </c:pt>
                <c:pt idx="44">
                  <c:v>0.51</c:v>
                </c:pt>
                <c:pt idx="45">
                  <c:v>0.44</c:v>
                </c:pt>
                <c:pt idx="46">
                  <c:v>0.74</c:v>
                </c:pt>
                <c:pt idx="47">
                  <c:v>0.61</c:v>
                </c:pt>
                <c:pt idx="48">
                  <c:v>0.37</c:v>
                </c:pt>
                <c:pt idx="49">
                  <c:v>0.51</c:v>
                </c:pt>
                <c:pt idx="50">
                  <c:v>0.6</c:v>
                </c:pt>
                <c:pt idx="51">
                  <c:v>0.63</c:v>
                </c:pt>
                <c:pt idx="52">
                  <c:v>0.2</c:v>
                </c:pt>
                <c:pt idx="53">
                  <c:v>0.49</c:v>
                </c:pt>
                <c:pt idx="54">
                  <c:v>0.63</c:v>
                </c:pt>
                <c:pt idx="55">
                  <c:v>0.34</c:v>
                </c:pt>
                <c:pt idx="56">
                  <c:v>0.49</c:v>
                </c:pt>
                <c:pt idx="57">
                  <c:v>0.34</c:v>
                </c:pt>
                <c:pt idx="58">
                  <c:v>0.36</c:v>
                </c:pt>
                <c:pt idx="59">
                  <c:v>0.48</c:v>
                </c:pt>
                <c:pt idx="60">
                  <c:v>0.25</c:v>
                </c:pt>
                <c:pt idx="61">
                  <c:v>0.25</c:v>
                </c:pt>
                <c:pt idx="62">
                  <c:v>0.27</c:v>
                </c:pt>
                <c:pt idx="63">
                  <c:v>0.26</c:v>
                </c:pt>
                <c:pt idx="64">
                  <c:v>0.44</c:v>
                </c:pt>
                <c:pt idx="65">
                  <c:v>0.44</c:v>
                </c:pt>
                <c:pt idx="66">
                  <c:v>0.36</c:v>
                </c:pt>
                <c:pt idx="67">
                  <c:v>0.41</c:v>
                </c:pt>
                <c:pt idx="68">
                  <c:v>0.27</c:v>
                </c:pt>
                <c:pt idx="69">
                  <c:v>0.26</c:v>
                </c:pt>
                <c:pt idx="70">
                  <c:v>0.25</c:v>
                </c:pt>
                <c:pt idx="71">
                  <c:v>0.11</c:v>
                </c:pt>
                <c:pt idx="72">
                  <c:v>0.39</c:v>
                </c:pt>
                <c:pt idx="73">
                  <c:v>0.09</c:v>
                </c:pt>
                <c:pt idx="74">
                  <c:v>0.1</c:v>
                </c:pt>
                <c:pt idx="75">
                  <c:v>0.08</c:v>
                </c:pt>
                <c:pt idx="76">
                  <c:v>0.13</c:v>
                </c:pt>
                <c:pt idx="77">
                  <c:v>0.09</c:v>
                </c:pt>
                <c:pt idx="78">
                  <c:v>0.18</c:v>
                </c:pt>
                <c:pt idx="79">
                  <c:v>0.19</c:v>
                </c:pt>
                <c:pt idx="80">
                  <c:v>0.27</c:v>
                </c:pt>
                <c:pt idx="81">
                  <c:v>0.08</c:v>
                </c:pt>
                <c:pt idx="82">
                  <c:v>0.1</c:v>
                </c:pt>
                <c:pt idx="83">
                  <c:v>0.05</c:v>
                </c:pt>
                <c:pt idx="84">
                  <c:v>0.06</c:v>
                </c:pt>
                <c:pt idx="85">
                  <c:v>0.13</c:v>
                </c:pt>
                <c:pt idx="86">
                  <c:v>7.0000000000000007E-2</c:v>
                </c:pt>
                <c:pt idx="87">
                  <c:v>0.08</c:v>
                </c:pt>
                <c:pt idx="88">
                  <c:v>7.0000000000000007E-2</c:v>
                </c:pt>
                <c:pt idx="89">
                  <c:v>7.0000000000000007E-2</c:v>
                </c:pt>
                <c:pt idx="90">
                  <c:v>0.11</c:v>
                </c:pt>
                <c:pt idx="91">
                  <c:v>0.08</c:v>
                </c:pt>
                <c:pt idx="92">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4</c:f>
              <c:strCache>
                <c:ptCount val="93"/>
                <c:pt idx="0">
                  <c:v>Ruinart</c:v>
                </c:pt>
                <c:pt idx="1">
                  <c:v>Heidsieck &amp;</c:v>
                </c:pt>
                <c:pt idx="2">
                  <c:v>Nicolas</c:v>
                </c:pt>
                <c:pt idx="3">
                  <c:v>Deutz</c:v>
                </c:pt>
                <c:pt idx="4">
                  <c:v>De Bligny</c:v>
                </c:pt>
                <c:pt idx="5">
                  <c:v>Besserat De</c:v>
                </c:pt>
                <c:pt idx="6">
                  <c:v>Canard Duch</c:v>
                </c:pt>
                <c:pt idx="7">
                  <c:v>Ayala</c:v>
                </c:pt>
                <c:pt idx="8">
                  <c:v>Laurent Per</c:v>
                </c:pt>
                <c:pt idx="9">
                  <c:v>Ruinart</c:v>
                </c:pt>
                <c:pt idx="10">
                  <c:v>Taittinger</c:v>
                </c:pt>
                <c:pt idx="11">
                  <c:v>Bollinger</c:v>
                </c:pt>
                <c:pt idx="12">
                  <c:v>Roederer</c:v>
                </c:pt>
                <c:pt idx="13">
                  <c:v>Demoiselle</c:v>
                </c:pt>
                <c:pt idx="14">
                  <c:v>Ruinart</c:v>
                </c:pt>
                <c:pt idx="15">
                  <c:v>Deutz</c:v>
                </c:pt>
                <c:pt idx="16">
                  <c:v>Perrier Jou</c:v>
                </c:pt>
                <c:pt idx="17">
                  <c:v>All Others</c:v>
                </c:pt>
                <c:pt idx="18">
                  <c:v>Pommery</c:v>
                </c:pt>
                <c:pt idx="19">
                  <c:v>Laurent Per</c:v>
                </c:pt>
                <c:pt idx="20">
                  <c:v>Lanson</c:v>
                </c:pt>
                <c:pt idx="21">
                  <c:v>Campari: Al</c:v>
                </c:pt>
                <c:pt idx="22">
                  <c:v>De Venoge</c:v>
                </c:pt>
                <c:pt idx="23">
                  <c:v>Moët &amp; Chan</c:v>
                </c:pt>
                <c:pt idx="24">
                  <c:v>Taittinger</c:v>
                </c:pt>
                <c:pt idx="25">
                  <c:v>Veuve Clicq</c:v>
                </c:pt>
                <c:pt idx="26">
                  <c:v>Roederer</c:v>
                </c:pt>
                <c:pt idx="27">
                  <c:v>Savian</c:v>
                </c:pt>
                <c:pt idx="28">
                  <c:v>Roederer</c:v>
                </c:pt>
                <c:pt idx="29">
                  <c:v>Roederer</c:v>
                </c:pt>
                <c:pt idx="30">
                  <c:v>De Venoge</c:v>
                </c:pt>
                <c:pt idx="31">
                  <c:v>Henriot</c:v>
                </c:pt>
                <c:pt idx="32">
                  <c:v>Bollinger</c:v>
                </c:pt>
                <c:pt idx="33">
                  <c:v>Ruinart</c:v>
                </c:pt>
                <c:pt idx="34">
                  <c:v>All Others</c:v>
                </c:pt>
                <c:pt idx="35">
                  <c:v>Nicolas</c:v>
                </c:pt>
                <c:pt idx="36">
                  <c:v>Veuve Clicq</c:v>
                </c:pt>
                <c:pt idx="37">
                  <c:v>All Others</c:v>
                </c:pt>
                <c:pt idx="38">
                  <c:v>All Others</c:v>
                </c:pt>
                <c:pt idx="39">
                  <c:v>Canard Duch</c:v>
                </c:pt>
                <c:pt idx="40">
                  <c:v>Krug</c:v>
                </c:pt>
                <c:pt idx="41">
                  <c:v>Veuve Clicq</c:v>
                </c:pt>
                <c:pt idx="42">
                  <c:v>Henriot</c:v>
                </c:pt>
                <c:pt idx="43">
                  <c:v>Deutz</c:v>
                </c:pt>
                <c:pt idx="44">
                  <c:v>Nicolas Feu</c:v>
                </c:pt>
                <c:pt idx="45">
                  <c:v>Piper Heids</c:v>
                </c:pt>
                <c:pt idx="46">
                  <c:v>Canard Duch</c:v>
                </c:pt>
                <c:pt idx="47">
                  <c:v>Canard Duch</c:v>
                </c:pt>
                <c:pt idx="48">
                  <c:v>Veuve Clicq</c:v>
                </c:pt>
                <c:pt idx="49">
                  <c:v>Campari: Al</c:v>
                </c:pt>
                <c:pt idx="50">
                  <c:v>De Venoge</c:v>
                </c:pt>
                <c:pt idx="51">
                  <c:v>Nicolas</c:v>
                </c:pt>
                <c:pt idx="52">
                  <c:v>Deutz</c:v>
                </c:pt>
                <c:pt idx="53">
                  <c:v>Nicolas</c:v>
                </c:pt>
                <c:pt idx="54">
                  <c:v>Canard Duch</c:v>
                </c:pt>
                <c:pt idx="55">
                  <c:v>Nicolas</c:v>
                </c:pt>
                <c:pt idx="56">
                  <c:v>Roederer</c:v>
                </c:pt>
                <c:pt idx="57">
                  <c:v>Roederer</c:v>
                </c:pt>
                <c:pt idx="58">
                  <c:v>Laurent Per</c:v>
                </c:pt>
                <c:pt idx="59">
                  <c:v>Demoiselle</c:v>
                </c:pt>
                <c:pt idx="60">
                  <c:v>Nicolas</c:v>
                </c:pt>
                <c:pt idx="61">
                  <c:v>Roederer</c:v>
                </c:pt>
                <c:pt idx="62">
                  <c:v>Vranken</c:v>
                </c:pt>
                <c:pt idx="63">
                  <c:v>All Others</c:v>
                </c:pt>
                <c:pt idx="64">
                  <c:v>Pommery</c:v>
                </c:pt>
                <c:pt idx="65">
                  <c:v>Nicolas</c:v>
                </c:pt>
                <c:pt idx="66">
                  <c:v>Roederer</c:v>
                </c:pt>
                <c:pt idx="67">
                  <c:v>Pommery</c:v>
                </c:pt>
                <c:pt idx="68">
                  <c:v>Nicolas Feu</c:v>
                </c:pt>
                <c:pt idx="69">
                  <c:v>Moët &amp; Chan</c:v>
                </c:pt>
                <c:pt idx="70">
                  <c:v>Laurent Per</c:v>
                </c:pt>
                <c:pt idx="71">
                  <c:v>Ruinart</c:v>
                </c:pt>
                <c:pt idx="72">
                  <c:v>Pommery</c:v>
                </c:pt>
                <c:pt idx="73">
                  <c:v>Bollinger</c:v>
                </c:pt>
                <c:pt idx="74">
                  <c:v>All Others</c:v>
                </c:pt>
                <c:pt idx="75">
                  <c:v>Roederer</c:v>
                </c:pt>
                <c:pt idx="76">
                  <c:v>All Others</c:v>
                </c:pt>
                <c:pt idx="77">
                  <c:v>All Others</c:v>
                </c:pt>
                <c:pt idx="78">
                  <c:v>Martel</c:v>
                </c:pt>
                <c:pt idx="79">
                  <c:v>Vranken</c:v>
                </c:pt>
                <c:pt idx="80">
                  <c:v>Bollinger</c:v>
                </c:pt>
                <c:pt idx="81">
                  <c:v>Henriot</c:v>
                </c:pt>
                <c:pt idx="82">
                  <c:v>Piper Heids</c:v>
                </c:pt>
                <c:pt idx="83">
                  <c:v>Nicolas Feu</c:v>
                </c:pt>
                <c:pt idx="84">
                  <c:v>Moët &amp; Chan</c:v>
                </c:pt>
                <c:pt idx="85">
                  <c:v>Laurent Per</c:v>
                </c:pt>
                <c:pt idx="86">
                  <c:v>Vranken</c:v>
                </c:pt>
                <c:pt idx="87">
                  <c:v>Roederer</c:v>
                </c:pt>
                <c:pt idx="88">
                  <c:v>All Others</c:v>
                </c:pt>
                <c:pt idx="89">
                  <c:v>All Others</c:v>
                </c:pt>
                <c:pt idx="90">
                  <c:v>Besserat De</c:v>
                </c:pt>
                <c:pt idx="91">
                  <c:v>All Others</c:v>
                </c:pt>
                <c:pt idx="92">
                  <c:v>Nicolas</c:v>
                </c:pt>
              </c:strCache>
            </c:strRef>
          </c:cat>
          <c:val>
            <c:numRef>
              <c:f>Sheet1!$C$2:$C$94</c:f>
              <c:numCache>
                <c:formatCode>General</c:formatCode>
                <c:ptCount val="93"/>
                <c:pt idx="0">
                  <c:v>0.1286707403561464</c:v>
                </c:pt>
                <c:pt idx="1">
                  <c:v>0.21352120804468999</c:v>
                </c:pt>
                <c:pt idx="2">
                  <c:v>0.29313901008126375</c:v>
                </c:pt>
                <c:pt idx="3">
                  <c:v>0.36309009735806264</c:v>
                </c:pt>
                <c:pt idx="4">
                  <c:v>0.42065145163289647</c:v>
                </c:pt>
                <c:pt idx="5">
                  <c:v>0.46581291238993616</c:v>
                </c:pt>
                <c:pt idx="6">
                  <c:v>0.50695080887866506</c:v>
                </c:pt>
                <c:pt idx="7">
                  <c:v>0.54701169068951283</c:v>
                </c:pt>
                <c:pt idx="8">
                  <c:v>0.57795249349218947</c:v>
                </c:pt>
                <c:pt idx="9">
                  <c:v>0.60645680459905571</c:v>
                </c:pt>
                <c:pt idx="10">
                  <c:v>0.63317692912633772</c:v>
                </c:pt>
                <c:pt idx="11">
                  <c:v>0.65541016986350342</c:v>
                </c:pt>
                <c:pt idx="12">
                  <c:v>0.67597098969520464</c:v>
                </c:pt>
                <c:pt idx="13">
                  <c:v>0.69631234238499795</c:v>
                </c:pt>
                <c:pt idx="14">
                  <c:v>0.71601967888705753</c:v>
                </c:pt>
                <c:pt idx="15">
                  <c:v>0.73549738773138018</c:v>
                </c:pt>
                <c:pt idx="16">
                  <c:v>0.74914092838665214</c:v>
                </c:pt>
                <c:pt idx="17">
                  <c:v>0.76092103043887316</c:v>
                </c:pt>
                <c:pt idx="18">
                  <c:v>0.77237599598456397</c:v>
                </c:pt>
                <c:pt idx="19">
                  <c:v>0.78339812355593652</c:v>
                </c:pt>
                <c:pt idx="20">
                  <c:v>0.79425158656454653</c:v>
                </c:pt>
                <c:pt idx="21">
                  <c:v>0.80503595806551886</c:v>
                </c:pt>
                <c:pt idx="22">
                  <c:v>0.81443849941373803</c:v>
                </c:pt>
                <c:pt idx="23">
                  <c:v>0.82360328469155697</c:v>
                </c:pt>
                <c:pt idx="24">
                  <c:v>0.83265020798575873</c:v>
                </c:pt>
                <c:pt idx="25">
                  <c:v>0.84145937520956038</c:v>
                </c:pt>
                <c:pt idx="26">
                  <c:v>0.84994340592683182</c:v>
                </c:pt>
                <c:pt idx="27">
                  <c:v>0.85841930823143997</c:v>
                </c:pt>
                <c:pt idx="28">
                  <c:v>0.86654568879152827</c:v>
                </c:pt>
                <c:pt idx="29">
                  <c:v>0.87442821697171891</c:v>
                </c:pt>
                <c:pt idx="30">
                  <c:v>0.88148977547292084</c:v>
                </c:pt>
                <c:pt idx="31">
                  <c:v>0.88834609155437572</c:v>
                </c:pt>
                <c:pt idx="32">
                  <c:v>0.89498903680342012</c:v>
                </c:pt>
                <c:pt idx="33">
                  <c:v>0.90149583114035503</c:v>
                </c:pt>
                <c:pt idx="34">
                  <c:v>0.90796198341397361</c:v>
                </c:pt>
                <c:pt idx="35">
                  <c:v>0.9140074903322688</c:v>
                </c:pt>
                <c:pt idx="36">
                  <c:v>0.91998390574292632</c:v>
                </c:pt>
                <c:pt idx="37">
                  <c:v>0.92569817984519398</c:v>
                </c:pt>
                <c:pt idx="38">
                  <c:v>0.93118079418655886</c:v>
                </c:pt>
                <c:pt idx="39">
                  <c:v>0.93606393809400879</c:v>
                </c:pt>
                <c:pt idx="40">
                  <c:v>0.94079670636718848</c:v>
                </c:pt>
                <c:pt idx="41">
                  <c:v>0.94539738793459027</c:v>
                </c:pt>
                <c:pt idx="42">
                  <c:v>0.94949207581370454</c:v>
                </c:pt>
                <c:pt idx="43">
                  <c:v>0.95355628214533161</c:v>
                </c:pt>
                <c:pt idx="44">
                  <c:v>0.95740102133505078</c:v>
                </c:pt>
                <c:pt idx="45">
                  <c:v>0.96117463691396654</c:v>
                </c:pt>
                <c:pt idx="46">
                  <c:v>0.96467798277182903</c:v>
                </c:pt>
                <c:pt idx="47">
                  <c:v>0.96762046815592706</c:v>
                </c:pt>
                <c:pt idx="48">
                  <c:v>0.97051824727037717</c:v>
                </c:pt>
                <c:pt idx="49">
                  <c:v>0.97303399098965426</c:v>
                </c:pt>
                <c:pt idx="50">
                  <c:v>0.97543187272531418</c:v>
                </c:pt>
                <c:pt idx="51">
                  <c:v>0.9777423740248441</c:v>
                </c:pt>
                <c:pt idx="52">
                  <c:v>0.97963222996905064</c:v>
                </c:pt>
                <c:pt idx="53">
                  <c:v>0.9814306412707956</c:v>
                </c:pt>
                <c:pt idx="54">
                  <c:v>0.98294252602616083</c:v>
                </c:pt>
                <c:pt idx="55">
                  <c:v>0.98432842038524571</c:v>
                </c:pt>
                <c:pt idx="56">
                  <c:v>0.98571025053799888</c:v>
                </c:pt>
                <c:pt idx="57">
                  <c:v>0.98695592977864255</c:v>
                </c:pt>
                <c:pt idx="58">
                  <c:v>0.98814267802747768</c:v>
                </c:pt>
                <c:pt idx="59">
                  <c:v>0.9892542384591777</c:v>
                </c:pt>
                <c:pt idx="60">
                  <c:v>0.99028654686741102</c:v>
                </c:pt>
                <c:pt idx="61">
                  <c:v>0.99120099329202715</c:v>
                </c:pt>
                <c:pt idx="62">
                  <c:v>0.99198741721719697</c:v>
                </c:pt>
                <c:pt idx="63">
                  <c:v>0.99269458911890007</c:v>
                </c:pt>
                <c:pt idx="64">
                  <c:v>0.99335705475095526</c:v>
                </c:pt>
                <c:pt idx="65">
                  <c:v>0.99400732776401557</c:v>
                </c:pt>
                <c:pt idx="66">
                  <c:v>0.99462508712642284</c:v>
                </c:pt>
                <c:pt idx="67">
                  <c:v>0.99523065386983522</c:v>
                </c:pt>
                <c:pt idx="68">
                  <c:v>0.99571835862963043</c:v>
                </c:pt>
                <c:pt idx="69">
                  <c:v>0.99612274715962734</c:v>
                </c:pt>
                <c:pt idx="70">
                  <c:v>0.99647226890414731</c:v>
                </c:pt>
                <c:pt idx="71">
                  <c:v>0.99680553382334069</c:v>
                </c:pt>
                <c:pt idx="72">
                  <c:v>0.99708596406022298</c:v>
                </c:pt>
                <c:pt idx="73">
                  <c:v>0.9973501374717787</c:v>
                </c:pt>
                <c:pt idx="74">
                  <c:v>0.99761024667700282</c:v>
                </c:pt>
                <c:pt idx="75">
                  <c:v>0.99786222746956366</c:v>
                </c:pt>
                <c:pt idx="76">
                  <c:v>0.99809185512730059</c:v>
                </c:pt>
                <c:pt idx="77">
                  <c:v>0.99831945068187167</c:v>
                </c:pt>
                <c:pt idx="78">
                  <c:v>0.99852062889528725</c:v>
                </c:pt>
                <c:pt idx="79">
                  <c:v>0.9987157107992054</c:v>
                </c:pt>
                <c:pt idx="80">
                  <c:v>0.99891079270312355</c:v>
                </c:pt>
                <c:pt idx="81">
                  <c:v>0.99908148936905183</c:v>
                </c:pt>
                <c:pt idx="82">
                  <c:v>0.99924202551915109</c:v>
                </c:pt>
                <c:pt idx="83">
                  <c:v>0.99935785539960242</c:v>
                </c:pt>
                <c:pt idx="84">
                  <c:v>0.99945742845472729</c:v>
                </c:pt>
                <c:pt idx="85">
                  <c:v>0.99955700150985216</c:v>
                </c:pt>
                <c:pt idx="86">
                  <c:v>0.99963625353331886</c:v>
                </c:pt>
                <c:pt idx="87">
                  <c:v>0.99970737714412239</c:v>
                </c:pt>
                <c:pt idx="88">
                  <c:v>0.99977646865176006</c:v>
                </c:pt>
                <c:pt idx="89">
                  <c:v>0.99984556015939774</c:v>
                </c:pt>
                <c:pt idx="90">
                  <c:v>0.99990652325437213</c:v>
                </c:pt>
                <c:pt idx="91">
                  <c:v>0.99995732583351749</c:v>
                </c:pt>
                <c:pt idx="92">
                  <c:v>0.999999999999999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Savian</c:v>
                </c:pt>
                <c:pt idx="5">
                  <c:v>Chateau Moncontour</c:v>
                </c:pt>
                <c:pt idx="6">
                  <c:v>Kriter</c:v>
                </c:pt>
                <c:pt idx="7">
                  <c:v>Contarini</c:v>
                </c:pt>
                <c:pt idx="8">
                  <c:v>De Chanceny</c:v>
                </c:pt>
                <c:pt idx="9">
                  <c:v>Others</c:v>
                </c:pt>
              </c:strCache>
            </c:strRef>
          </c:cat>
          <c:val>
            <c:numRef>
              <c:f>Sheet1!$B$2:$B$11</c:f>
              <c:numCache>
                <c:formatCode>General</c:formatCode>
                <c:ptCount val="10"/>
                <c:pt idx="0">
                  <c:v>0.12373370128999915</c:v>
                </c:pt>
                <c:pt idx="1">
                  <c:v>0.11690400202508525</c:v>
                </c:pt>
                <c:pt idx="2">
                  <c:v>8.2135075171362912E-2</c:v>
                </c:pt>
                <c:pt idx="3">
                  <c:v>6.7125619810098625E-2</c:v>
                </c:pt>
                <c:pt idx="4">
                  <c:v>4.3817285690886623E-2</c:v>
                </c:pt>
                <c:pt idx="5">
                  <c:v>3.4654767636358219E-2</c:v>
                </c:pt>
                <c:pt idx="6">
                  <c:v>3.265946305460285E-2</c:v>
                </c:pt>
                <c:pt idx="7">
                  <c:v>1.895539352667603E-2</c:v>
                </c:pt>
                <c:pt idx="8">
                  <c:v>1.6136157202205754E-2</c:v>
                </c:pt>
                <c:pt idx="9">
                  <c:v>0.463878534592724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Savian</c:v>
                </c:pt>
                <c:pt idx="5">
                  <c:v>Chateau Moncontour</c:v>
                </c:pt>
                <c:pt idx="6">
                  <c:v>Kriter</c:v>
                </c:pt>
                <c:pt idx="7">
                  <c:v>Contarini</c:v>
                </c:pt>
                <c:pt idx="8">
                  <c:v>De Chanceny</c:v>
                </c:pt>
                <c:pt idx="9">
                  <c:v>Others</c:v>
                </c:pt>
              </c:strCache>
            </c:strRef>
          </c:cat>
          <c:val>
            <c:numRef>
              <c:f>Sheet1!$C$2:$C$11</c:f>
              <c:numCache>
                <c:formatCode>General</c:formatCode>
                <c:ptCount val="10"/>
                <c:pt idx="0">
                  <c:v>9.2316513761467892E-2</c:v>
                </c:pt>
                <c:pt idx="1">
                  <c:v>9.4036697247706441E-2</c:v>
                </c:pt>
                <c:pt idx="2">
                  <c:v>5.5045871559633038E-2</c:v>
                </c:pt>
                <c:pt idx="3">
                  <c:v>8.1995412844036705E-2</c:v>
                </c:pt>
                <c:pt idx="4">
                  <c:v>3.3830275229357804E-2</c:v>
                </c:pt>
                <c:pt idx="5">
                  <c:v>4.7591743119266061E-2</c:v>
                </c:pt>
                <c:pt idx="6">
                  <c:v>3.7844036697247715E-2</c:v>
                </c:pt>
                <c:pt idx="7">
                  <c:v>5.0458715596330285E-2</c:v>
                </c:pt>
                <c:pt idx="8">
                  <c:v>2.9816513761467895E-2</c:v>
                </c:pt>
                <c:pt idx="9">
                  <c:v>0.477064220183486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Savian</c:v>
                </c:pt>
                <c:pt idx="5">
                  <c:v>Chateau Moncontour</c:v>
                </c:pt>
                <c:pt idx="6">
                  <c:v>Kriter</c:v>
                </c:pt>
                <c:pt idx="7">
                  <c:v>Contarini</c:v>
                </c:pt>
                <c:pt idx="8">
                  <c:v>De Chanceny</c:v>
                </c:pt>
                <c:pt idx="9">
                  <c:v>Others</c:v>
                </c:pt>
              </c:strCache>
            </c:strRef>
          </c:cat>
          <c:val>
            <c:numRef>
              <c:f>Sheet1!$D$2:$D$11</c:f>
              <c:numCache>
                <c:formatCode>General</c:formatCode>
                <c:ptCount val="10"/>
                <c:pt idx="0">
                  <c:v>74.609029552185092</c:v>
                </c:pt>
                <c:pt idx="1">
                  <c:v>80.439245550830719</c:v>
                </c:pt>
                <c:pt idx="2">
                  <c:v>67.0187145318706</c:v>
                </c:pt>
                <c:pt idx="3">
                  <c:v>122.15218731090363</c:v>
                </c:pt>
                <c:pt idx="4">
                  <c:v>77.20760128323974</c:v>
                </c:pt>
                <c:pt idx="5">
                  <c:v>137.33101205196064</c:v>
                </c:pt>
                <c:pt idx="6">
                  <c:v>115.87464446055607</c:v>
                </c:pt>
                <c:pt idx="7">
                  <c:v>266.19714080490843</c:v>
                </c:pt>
                <c:pt idx="8">
                  <c:v>184.78075906072661</c:v>
                </c:pt>
                <c:pt idx="9">
                  <c:v>102.842486687239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1</c:f>
              <c:strCache>
                <c:ptCount val="80"/>
                <c:pt idx="0">
                  <c:v>Ruinart</c:v>
                </c:pt>
                <c:pt idx="1">
                  <c:v>Ayala</c:v>
                </c:pt>
                <c:pt idx="2">
                  <c:v>Nicolas</c:v>
                </c:pt>
                <c:pt idx="3">
                  <c:v>Deutz</c:v>
                </c:pt>
                <c:pt idx="4">
                  <c:v>De Bligny</c:v>
                </c:pt>
                <c:pt idx="5">
                  <c:v>Laurent Per</c:v>
                </c:pt>
                <c:pt idx="6">
                  <c:v>Canard Duch</c:v>
                </c:pt>
                <c:pt idx="7">
                  <c:v>Deutz</c:v>
                </c:pt>
                <c:pt idx="8">
                  <c:v>Heidsieck &amp;</c:v>
                </c:pt>
                <c:pt idx="9">
                  <c:v>Besserat De</c:v>
                </c:pt>
                <c:pt idx="10">
                  <c:v>Bollinger</c:v>
                </c:pt>
                <c:pt idx="11">
                  <c:v>All Others</c:v>
                </c:pt>
                <c:pt idx="12">
                  <c:v>Taittinger</c:v>
                </c:pt>
                <c:pt idx="13">
                  <c:v>Demoiselle</c:v>
                </c:pt>
                <c:pt idx="14">
                  <c:v>Ruinart</c:v>
                </c:pt>
                <c:pt idx="15">
                  <c:v>Pommery</c:v>
                </c:pt>
                <c:pt idx="16">
                  <c:v>Perrier Jou</c:v>
                </c:pt>
                <c:pt idx="17">
                  <c:v>Laurent Per</c:v>
                </c:pt>
                <c:pt idx="18">
                  <c:v>Taittinger</c:v>
                </c:pt>
                <c:pt idx="19">
                  <c:v>Roederer</c:v>
                </c:pt>
                <c:pt idx="20">
                  <c:v>Ruinart</c:v>
                </c:pt>
                <c:pt idx="21">
                  <c:v>Savian</c:v>
                </c:pt>
                <c:pt idx="22">
                  <c:v>Henriot</c:v>
                </c:pt>
                <c:pt idx="23">
                  <c:v>All Others</c:v>
                </c:pt>
                <c:pt idx="24">
                  <c:v>Campari: Al</c:v>
                </c:pt>
                <c:pt idx="25">
                  <c:v>Roederer</c:v>
                </c:pt>
                <c:pt idx="26">
                  <c:v>Veuve Clicq</c:v>
                </c:pt>
                <c:pt idx="27">
                  <c:v>Canard Duch</c:v>
                </c:pt>
                <c:pt idx="28">
                  <c:v>Moët &amp; Chan</c:v>
                </c:pt>
                <c:pt idx="29">
                  <c:v>Ruinart</c:v>
                </c:pt>
                <c:pt idx="30">
                  <c:v>De Venoge</c:v>
                </c:pt>
                <c:pt idx="31">
                  <c:v>Veuve Clicq</c:v>
                </c:pt>
                <c:pt idx="32">
                  <c:v>Nicolas Feu</c:v>
                </c:pt>
                <c:pt idx="33">
                  <c:v>Canard Duch</c:v>
                </c:pt>
                <c:pt idx="34">
                  <c:v>Deutz</c:v>
                </c:pt>
                <c:pt idx="35">
                  <c:v>Veuve Clicq</c:v>
                </c:pt>
                <c:pt idx="36">
                  <c:v>Bollinger</c:v>
                </c:pt>
                <c:pt idx="37">
                  <c:v>Piper Heids</c:v>
                </c:pt>
                <c:pt idx="38">
                  <c:v>All Others</c:v>
                </c:pt>
                <c:pt idx="39">
                  <c:v>Krug</c:v>
                </c:pt>
                <c:pt idx="40">
                  <c:v>Canard Duch</c:v>
                </c:pt>
                <c:pt idx="41">
                  <c:v>Campari: Al</c:v>
                </c:pt>
                <c:pt idx="42">
                  <c:v>Nicolas</c:v>
                </c:pt>
                <c:pt idx="43">
                  <c:v>Lanson</c:v>
                </c:pt>
                <c:pt idx="44">
                  <c:v>Canard Duch</c:v>
                </c:pt>
                <c:pt idx="45">
                  <c:v>Nicolas</c:v>
                </c:pt>
                <c:pt idx="46">
                  <c:v>Roederer</c:v>
                </c:pt>
                <c:pt idx="47">
                  <c:v>Henriot</c:v>
                </c:pt>
                <c:pt idx="48">
                  <c:v>De Venoge</c:v>
                </c:pt>
                <c:pt idx="49">
                  <c:v>Roederer</c:v>
                </c:pt>
                <c:pt idx="50">
                  <c:v>Nicolas</c:v>
                </c:pt>
                <c:pt idx="51">
                  <c:v>All Others</c:v>
                </c:pt>
                <c:pt idx="52">
                  <c:v>Demoiselle</c:v>
                </c:pt>
                <c:pt idx="53">
                  <c:v>De Venoge</c:v>
                </c:pt>
                <c:pt idx="54">
                  <c:v>Nicolas</c:v>
                </c:pt>
                <c:pt idx="55">
                  <c:v>All Others</c:v>
                </c:pt>
                <c:pt idx="56">
                  <c:v>Deutz</c:v>
                </c:pt>
                <c:pt idx="57">
                  <c:v>Nicolas Feu</c:v>
                </c:pt>
                <c:pt idx="58">
                  <c:v>Laurent Per</c:v>
                </c:pt>
                <c:pt idx="59">
                  <c:v>Nicolas</c:v>
                </c:pt>
                <c:pt idx="60">
                  <c:v>All Others</c:v>
                </c:pt>
                <c:pt idx="61">
                  <c:v>Vranken</c:v>
                </c:pt>
                <c:pt idx="62">
                  <c:v>Roederer</c:v>
                </c:pt>
                <c:pt idx="63">
                  <c:v>Demoiselle</c:v>
                </c:pt>
                <c:pt idx="64">
                  <c:v>All Others</c:v>
                </c:pt>
                <c:pt idx="65">
                  <c:v>Roederer</c:v>
                </c:pt>
                <c:pt idx="66">
                  <c:v>Vranken</c:v>
                </c:pt>
                <c:pt idx="67">
                  <c:v>All Others</c:v>
                </c:pt>
                <c:pt idx="68">
                  <c:v>Veuve Clicq</c:v>
                </c:pt>
                <c:pt idx="69">
                  <c:v>Nicolas Feu</c:v>
                </c:pt>
                <c:pt idx="70">
                  <c:v>Nicolas</c:v>
                </c:pt>
                <c:pt idx="71">
                  <c:v>Laurent Per</c:v>
                </c:pt>
                <c:pt idx="72">
                  <c:v>Piper Heids</c:v>
                </c:pt>
                <c:pt idx="73">
                  <c:v>Roederer</c:v>
                </c:pt>
                <c:pt idx="74">
                  <c:v>All Others</c:v>
                </c:pt>
                <c:pt idx="75">
                  <c:v>Canard Duch</c:v>
                </c:pt>
                <c:pt idx="76">
                  <c:v>Demoiselle</c:v>
                </c:pt>
                <c:pt idx="77">
                  <c:v>Roederer</c:v>
                </c:pt>
                <c:pt idx="78">
                  <c:v>Pommery</c:v>
                </c:pt>
                <c:pt idx="79">
                  <c:v>Pommery</c:v>
                </c:pt>
              </c:strCache>
            </c:strRef>
          </c:cat>
          <c:val>
            <c:numRef>
              <c:f>Sheet1!$B$2:$B$81</c:f>
              <c:numCache>
                <c:formatCode>General</c:formatCode>
                <c:ptCount val="80"/>
                <c:pt idx="0">
                  <c:v>1</c:v>
                </c:pt>
                <c:pt idx="1">
                  <c:v>1</c:v>
                </c:pt>
                <c:pt idx="2">
                  <c:v>1</c:v>
                </c:pt>
                <c:pt idx="3">
                  <c:v>1</c:v>
                </c:pt>
                <c:pt idx="4">
                  <c:v>1</c:v>
                </c:pt>
                <c:pt idx="5">
                  <c:v>1</c:v>
                </c:pt>
                <c:pt idx="6">
                  <c:v>1</c:v>
                </c:pt>
                <c:pt idx="7">
                  <c:v>1</c:v>
                </c:pt>
                <c:pt idx="8">
                  <c:v>1</c:v>
                </c:pt>
                <c:pt idx="9">
                  <c:v>1</c:v>
                </c:pt>
                <c:pt idx="10">
                  <c:v>1</c:v>
                </c:pt>
                <c:pt idx="11">
                  <c:v>1</c:v>
                </c:pt>
                <c:pt idx="12">
                  <c:v>0.93</c:v>
                </c:pt>
                <c:pt idx="13">
                  <c:v>0.85</c:v>
                </c:pt>
                <c:pt idx="14">
                  <c:v>0.71</c:v>
                </c:pt>
                <c:pt idx="15">
                  <c:v>1</c:v>
                </c:pt>
                <c:pt idx="16">
                  <c:v>0.8</c:v>
                </c:pt>
                <c:pt idx="17">
                  <c:v>0.72</c:v>
                </c:pt>
                <c:pt idx="18">
                  <c:v>0.64</c:v>
                </c:pt>
                <c:pt idx="19">
                  <c:v>0.91</c:v>
                </c:pt>
                <c:pt idx="20">
                  <c:v>0.39</c:v>
                </c:pt>
                <c:pt idx="21">
                  <c:v>0.94</c:v>
                </c:pt>
                <c:pt idx="22">
                  <c:v>0.91</c:v>
                </c:pt>
                <c:pt idx="23">
                  <c:v>0.76</c:v>
                </c:pt>
                <c:pt idx="24">
                  <c:v>0.69</c:v>
                </c:pt>
                <c:pt idx="25">
                  <c:v>0.66</c:v>
                </c:pt>
                <c:pt idx="26">
                  <c:v>0.79</c:v>
                </c:pt>
                <c:pt idx="27">
                  <c:v>0.41</c:v>
                </c:pt>
                <c:pt idx="28">
                  <c:v>0.74</c:v>
                </c:pt>
                <c:pt idx="29">
                  <c:v>0.88</c:v>
                </c:pt>
                <c:pt idx="30">
                  <c:v>0.71</c:v>
                </c:pt>
                <c:pt idx="31">
                  <c:v>0.79</c:v>
                </c:pt>
                <c:pt idx="32">
                  <c:v>0.59</c:v>
                </c:pt>
                <c:pt idx="33">
                  <c:v>0.88</c:v>
                </c:pt>
                <c:pt idx="34">
                  <c:v>0.74</c:v>
                </c:pt>
                <c:pt idx="35">
                  <c:v>0.51</c:v>
                </c:pt>
                <c:pt idx="36">
                  <c:v>0.59</c:v>
                </c:pt>
                <c:pt idx="37">
                  <c:v>1</c:v>
                </c:pt>
                <c:pt idx="38">
                  <c:v>0.65</c:v>
                </c:pt>
                <c:pt idx="39">
                  <c:v>0.28000000000000003</c:v>
                </c:pt>
                <c:pt idx="40">
                  <c:v>0.59</c:v>
                </c:pt>
                <c:pt idx="41">
                  <c:v>0.74</c:v>
                </c:pt>
                <c:pt idx="42">
                  <c:v>0.56000000000000005</c:v>
                </c:pt>
                <c:pt idx="43">
                  <c:v>0.62</c:v>
                </c:pt>
                <c:pt idx="44">
                  <c:v>0.47</c:v>
                </c:pt>
                <c:pt idx="45">
                  <c:v>0.64</c:v>
                </c:pt>
                <c:pt idx="46">
                  <c:v>0.35</c:v>
                </c:pt>
                <c:pt idx="47">
                  <c:v>0.81</c:v>
                </c:pt>
                <c:pt idx="48">
                  <c:v>0.84</c:v>
                </c:pt>
                <c:pt idx="49">
                  <c:v>0.28000000000000003</c:v>
                </c:pt>
                <c:pt idx="50">
                  <c:v>0.3</c:v>
                </c:pt>
                <c:pt idx="51">
                  <c:v>0.43</c:v>
                </c:pt>
                <c:pt idx="52">
                  <c:v>0.43</c:v>
                </c:pt>
                <c:pt idx="53">
                  <c:v>0.35</c:v>
                </c:pt>
                <c:pt idx="54">
                  <c:v>0.51</c:v>
                </c:pt>
                <c:pt idx="55">
                  <c:v>0.35</c:v>
                </c:pt>
                <c:pt idx="56">
                  <c:v>0.35</c:v>
                </c:pt>
                <c:pt idx="57">
                  <c:v>0.46</c:v>
                </c:pt>
                <c:pt idx="58">
                  <c:v>0.26</c:v>
                </c:pt>
                <c:pt idx="59">
                  <c:v>0.34</c:v>
                </c:pt>
                <c:pt idx="60">
                  <c:v>0.39</c:v>
                </c:pt>
                <c:pt idx="61">
                  <c:v>0.44</c:v>
                </c:pt>
                <c:pt idx="62">
                  <c:v>0.16</c:v>
                </c:pt>
                <c:pt idx="63">
                  <c:v>0.36</c:v>
                </c:pt>
                <c:pt idx="64">
                  <c:v>0.11</c:v>
                </c:pt>
                <c:pt idx="65">
                  <c:v>0.3</c:v>
                </c:pt>
                <c:pt idx="66">
                  <c:v>0.11</c:v>
                </c:pt>
                <c:pt idx="67">
                  <c:v>0.33</c:v>
                </c:pt>
                <c:pt idx="68">
                  <c:v>0.09</c:v>
                </c:pt>
                <c:pt idx="69">
                  <c:v>0.3</c:v>
                </c:pt>
                <c:pt idx="70">
                  <c:v>0.11</c:v>
                </c:pt>
                <c:pt idx="71">
                  <c:v>0.28000000000000003</c:v>
                </c:pt>
                <c:pt idx="72">
                  <c:v>7.0000000000000007E-2</c:v>
                </c:pt>
                <c:pt idx="73">
                  <c:v>0.13</c:v>
                </c:pt>
                <c:pt idx="74">
                  <c:v>0.16</c:v>
                </c:pt>
                <c:pt idx="75">
                  <c:v>0.17</c:v>
                </c:pt>
                <c:pt idx="76">
                  <c:v>0.12</c:v>
                </c:pt>
                <c:pt idx="77">
                  <c:v>0.22</c:v>
                </c:pt>
                <c:pt idx="78">
                  <c:v>0.31</c:v>
                </c:pt>
                <c:pt idx="79">
                  <c:v>0.3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1</c:f>
              <c:strCache>
                <c:ptCount val="80"/>
                <c:pt idx="0">
                  <c:v>Ruinart</c:v>
                </c:pt>
                <c:pt idx="1">
                  <c:v>Ayala</c:v>
                </c:pt>
                <c:pt idx="2">
                  <c:v>Nicolas</c:v>
                </c:pt>
                <c:pt idx="3">
                  <c:v>Deutz</c:v>
                </c:pt>
                <c:pt idx="4">
                  <c:v>De Bligny</c:v>
                </c:pt>
                <c:pt idx="5">
                  <c:v>Laurent Per</c:v>
                </c:pt>
                <c:pt idx="6">
                  <c:v>Canard Duch</c:v>
                </c:pt>
                <c:pt idx="7">
                  <c:v>Deutz</c:v>
                </c:pt>
                <c:pt idx="8">
                  <c:v>Heidsieck &amp;</c:v>
                </c:pt>
                <c:pt idx="9">
                  <c:v>Besserat De</c:v>
                </c:pt>
                <c:pt idx="10">
                  <c:v>Bollinger</c:v>
                </c:pt>
                <c:pt idx="11">
                  <c:v>All Others</c:v>
                </c:pt>
                <c:pt idx="12">
                  <c:v>Taittinger</c:v>
                </c:pt>
                <c:pt idx="13">
                  <c:v>Demoiselle</c:v>
                </c:pt>
                <c:pt idx="14">
                  <c:v>Ruinart</c:v>
                </c:pt>
                <c:pt idx="15">
                  <c:v>Pommery</c:v>
                </c:pt>
                <c:pt idx="16">
                  <c:v>Perrier Jou</c:v>
                </c:pt>
                <c:pt idx="17">
                  <c:v>Laurent Per</c:v>
                </c:pt>
                <c:pt idx="18">
                  <c:v>Taittinger</c:v>
                </c:pt>
                <c:pt idx="19">
                  <c:v>Roederer</c:v>
                </c:pt>
                <c:pt idx="20">
                  <c:v>Ruinart</c:v>
                </c:pt>
                <c:pt idx="21">
                  <c:v>Savian</c:v>
                </c:pt>
                <c:pt idx="22">
                  <c:v>Henriot</c:v>
                </c:pt>
                <c:pt idx="23">
                  <c:v>All Others</c:v>
                </c:pt>
                <c:pt idx="24">
                  <c:v>Campari: Al</c:v>
                </c:pt>
                <c:pt idx="25">
                  <c:v>Roederer</c:v>
                </c:pt>
                <c:pt idx="26">
                  <c:v>Veuve Clicq</c:v>
                </c:pt>
                <c:pt idx="27">
                  <c:v>Canard Duch</c:v>
                </c:pt>
                <c:pt idx="28">
                  <c:v>Moët &amp; Chan</c:v>
                </c:pt>
                <c:pt idx="29">
                  <c:v>Ruinart</c:v>
                </c:pt>
                <c:pt idx="30">
                  <c:v>De Venoge</c:v>
                </c:pt>
                <c:pt idx="31">
                  <c:v>Veuve Clicq</c:v>
                </c:pt>
                <c:pt idx="32">
                  <c:v>Nicolas Feu</c:v>
                </c:pt>
                <c:pt idx="33">
                  <c:v>Canard Duch</c:v>
                </c:pt>
                <c:pt idx="34">
                  <c:v>Deutz</c:v>
                </c:pt>
                <c:pt idx="35">
                  <c:v>Veuve Clicq</c:v>
                </c:pt>
                <c:pt idx="36">
                  <c:v>Bollinger</c:v>
                </c:pt>
                <c:pt idx="37">
                  <c:v>Piper Heids</c:v>
                </c:pt>
                <c:pt idx="38">
                  <c:v>All Others</c:v>
                </c:pt>
                <c:pt idx="39">
                  <c:v>Krug</c:v>
                </c:pt>
                <c:pt idx="40">
                  <c:v>Canard Duch</c:v>
                </c:pt>
                <c:pt idx="41">
                  <c:v>Campari: Al</c:v>
                </c:pt>
                <c:pt idx="42">
                  <c:v>Nicolas</c:v>
                </c:pt>
                <c:pt idx="43">
                  <c:v>Lanson</c:v>
                </c:pt>
                <c:pt idx="44">
                  <c:v>Canard Duch</c:v>
                </c:pt>
                <c:pt idx="45">
                  <c:v>Nicolas</c:v>
                </c:pt>
                <c:pt idx="46">
                  <c:v>Roederer</c:v>
                </c:pt>
                <c:pt idx="47">
                  <c:v>Henriot</c:v>
                </c:pt>
                <c:pt idx="48">
                  <c:v>De Venoge</c:v>
                </c:pt>
                <c:pt idx="49">
                  <c:v>Roederer</c:v>
                </c:pt>
                <c:pt idx="50">
                  <c:v>Nicolas</c:v>
                </c:pt>
                <c:pt idx="51">
                  <c:v>All Others</c:v>
                </c:pt>
                <c:pt idx="52">
                  <c:v>Demoiselle</c:v>
                </c:pt>
                <c:pt idx="53">
                  <c:v>De Venoge</c:v>
                </c:pt>
                <c:pt idx="54">
                  <c:v>Nicolas</c:v>
                </c:pt>
                <c:pt idx="55">
                  <c:v>All Others</c:v>
                </c:pt>
                <c:pt idx="56">
                  <c:v>Deutz</c:v>
                </c:pt>
                <c:pt idx="57">
                  <c:v>Nicolas Feu</c:v>
                </c:pt>
                <c:pt idx="58">
                  <c:v>Laurent Per</c:v>
                </c:pt>
                <c:pt idx="59">
                  <c:v>Nicolas</c:v>
                </c:pt>
                <c:pt idx="60">
                  <c:v>All Others</c:v>
                </c:pt>
                <c:pt idx="61">
                  <c:v>Vranken</c:v>
                </c:pt>
                <c:pt idx="62">
                  <c:v>Roederer</c:v>
                </c:pt>
                <c:pt idx="63">
                  <c:v>Demoiselle</c:v>
                </c:pt>
                <c:pt idx="64">
                  <c:v>All Others</c:v>
                </c:pt>
                <c:pt idx="65">
                  <c:v>Roederer</c:v>
                </c:pt>
                <c:pt idx="66">
                  <c:v>Vranken</c:v>
                </c:pt>
                <c:pt idx="67">
                  <c:v>All Others</c:v>
                </c:pt>
                <c:pt idx="68">
                  <c:v>Veuve Clicq</c:v>
                </c:pt>
                <c:pt idx="69">
                  <c:v>Nicolas Feu</c:v>
                </c:pt>
                <c:pt idx="70">
                  <c:v>Nicolas</c:v>
                </c:pt>
                <c:pt idx="71">
                  <c:v>Laurent Per</c:v>
                </c:pt>
                <c:pt idx="72">
                  <c:v>Piper Heids</c:v>
                </c:pt>
                <c:pt idx="73">
                  <c:v>Roederer</c:v>
                </c:pt>
                <c:pt idx="74">
                  <c:v>All Others</c:v>
                </c:pt>
                <c:pt idx="75">
                  <c:v>Canard Duch</c:v>
                </c:pt>
                <c:pt idx="76">
                  <c:v>Demoiselle</c:v>
                </c:pt>
                <c:pt idx="77">
                  <c:v>Roederer</c:v>
                </c:pt>
                <c:pt idx="78">
                  <c:v>Pommery</c:v>
                </c:pt>
                <c:pt idx="79">
                  <c:v>Pommery</c:v>
                </c:pt>
              </c:strCache>
            </c:strRef>
          </c:cat>
          <c:val>
            <c:numRef>
              <c:f>Sheet1!$C$2:$C$81</c:f>
              <c:numCache>
                <c:formatCode>General</c:formatCode>
                <c:ptCount val="80"/>
                <c:pt idx="0">
                  <c:v>0.18894381678006431</c:v>
                </c:pt>
                <c:pt idx="1">
                  <c:v>0.27087230833011083</c:v>
                </c:pt>
                <c:pt idx="2">
                  <c:v>0.33946830265848671</c:v>
                </c:pt>
                <c:pt idx="3">
                  <c:v>0.40621439993311104</c:v>
                </c:pt>
                <c:pt idx="4">
                  <c:v>0.46726797030410072</c:v>
                </c:pt>
                <c:pt idx="5">
                  <c:v>0.50667670000661913</c:v>
                </c:pt>
                <c:pt idx="6">
                  <c:v>0.54514132028999129</c:v>
                </c:pt>
                <c:pt idx="7">
                  <c:v>0.57857185160411495</c:v>
                </c:pt>
                <c:pt idx="8">
                  <c:v>0.60768944025807969</c:v>
                </c:pt>
                <c:pt idx="9">
                  <c:v>0.6354204770713795</c:v>
                </c:pt>
                <c:pt idx="10">
                  <c:v>0.66142703358033461</c:v>
                </c:pt>
                <c:pt idx="11">
                  <c:v>0.6809467571060781</c:v>
                </c:pt>
                <c:pt idx="12">
                  <c:v>0.6993795354702953</c:v>
                </c:pt>
                <c:pt idx="13">
                  <c:v>0.71761722111321291</c:v>
                </c:pt>
                <c:pt idx="14">
                  <c:v>0.73261149026452477</c:v>
                </c:pt>
                <c:pt idx="15">
                  <c:v>0.74682190473204357</c:v>
                </c:pt>
                <c:pt idx="16">
                  <c:v>0.76062471476398996</c:v>
                </c:pt>
                <c:pt idx="17">
                  <c:v>0.77353567235570964</c:v>
                </c:pt>
                <c:pt idx="18">
                  <c:v>0.78557219650017585</c:v>
                </c:pt>
                <c:pt idx="19">
                  <c:v>0.79711750504279832</c:v>
                </c:pt>
                <c:pt idx="20">
                  <c:v>0.807896377894601</c:v>
                </c:pt>
                <c:pt idx="21">
                  <c:v>0.81843138484477918</c:v>
                </c:pt>
                <c:pt idx="22">
                  <c:v>0.82893852140620028</c:v>
                </c:pt>
                <c:pt idx="23">
                  <c:v>0.83935159540556625</c:v>
                </c:pt>
                <c:pt idx="24">
                  <c:v>0.84932919458060274</c:v>
                </c:pt>
                <c:pt idx="25">
                  <c:v>0.85924060158234117</c:v>
                </c:pt>
                <c:pt idx="26">
                  <c:v>0.86898130245294247</c:v>
                </c:pt>
                <c:pt idx="27">
                  <c:v>0.87845375083175681</c:v>
                </c:pt>
                <c:pt idx="28">
                  <c:v>0.88694725180547851</c:v>
                </c:pt>
                <c:pt idx="29">
                  <c:v>0.89505753493379026</c:v>
                </c:pt>
                <c:pt idx="30">
                  <c:v>0.90287866277874729</c:v>
                </c:pt>
                <c:pt idx="31">
                  <c:v>0.91007619067526457</c:v>
                </c:pt>
                <c:pt idx="32">
                  <c:v>0.91651076667955667</c:v>
                </c:pt>
                <c:pt idx="33">
                  <c:v>0.92179220534902429</c:v>
                </c:pt>
                <c:pt idx="34">
                  <c:v>0.92696216246346363</c:v>
                </c:pt>
                <c:pt idx="35">
                  <c:v>0.93187083468330523</c:v>
                </c:pt>
                <c:pt idx="36">
                  <c:v>0.93618029354486954</c:v>
                </c:pt>
                <c:pt idx="37">
                  <c:v>0.94036433565702693</c:v>
                </c:pt>
                <c:pt idx="38">
                  <c:v>0.94440554202680427</c:v>
                </c:pt>
                <c:pt idx="39">
                  <c:v>0.94838404002187815</c:v>
                </c:pt>
                <c:pt idx="40">
                  <c:v>0.95231376483662711</c:v>
                </c:pt>
                <c:pt idx="41">
                  <c:v>0.95621910306121372</c:v>
                </c:pt>
                <c:pt idx="42">
                  <c:v>0.96001295973077194</c:v>
                </c:pt>
                <c:pt idx="43">
                  <c:v>0.96356295049870566</c:v>
                </c:pt>
                <c:pt idx="44">
                  <c:v>0.96696662172566472</c:v>
                </c:pt>
                <c:pt idx="45">
                  <c:v>0.96972230641402157</c:v>
                </c:pt>
                <c:pt idx="46">
                  <c:v>0.97233515535999826</c:v>
                </c:pt>
                <c:pt idx="47">
                  <c:v>0.97470413840435055</c:v>
                </c:pt>
                <c:pt idx="48">
                  <c:v>0.97694770469929593</c:v>
                </c:pt>
                <c:pt idx="49">
                  <c:v>0.97906237044623978</c:v>
                </c:pt>
                <c:pt idx="50">
                  <c:v>0.98117006859599432</c:v>
                </c:pt>
                <c:pt idx="51">
                  <c:v>0.98323247736401864</c:v>
                </c:pt>
                <c:pt idx="52">
                  <c:v>0.98511721240371652</c:v>
                </c:pt>
                <c:pt idx="53">
                  <c:v>0.98690788488135928</c:v>
                </c:pt>
                <c:pt idx="54">
                  <c:v>0.9886463003800825</c:v>
                </c:pt>
                <c:pt idx="55">
                  <c:v>0.98988304888117817</c:v>
                </c:pt>
                <c:pt idx="56">
                  <c:v>0.99096302644551526</c:v>
                </c:pt>
                <c:pt idx="57">
                  <c:v>0.99200119842671663</c:v>
                </c:pt>
                <c:pt idx="58">
                  <c:v>0.99302891901213419</c:v>
                </c:pt>
                <c:pt idx="59">
                  <c:v>0.99383019268890038</c:v>
                </c:pt>
                <c:pt idx="60">
                  <c:v>0.99443288984577238</c:v>
                </c:pt>
                <c:pt idx="61">
                  <c:v>0.99499029762091407</c:v>
                </c:pt>
                <c:pt idx="62">
                  <c:v>0.99545015903540601</c:v>
                </c:pt>
                <c:pt idx="63">
                  <c:v>0.99590653665130324</c:v>
                </c:pt>
                <c:pt idx="64">
                  <c:v>0.99635246287141666</c:v>
                </c:pt>
                <c:pt idx="65">
                  <c:v>0.99677748629996221</c:v>
                </c:pt>
                <c:pt idx="66">
                  <c:v>0.99718160693693991</c:v>
                </c:pt>
                <c:pt idx="67">
                  <c:v>0.99757179237953908</c:v>
                </c:pt>
                <c:pt idx="68">
                  <c:v>0.99793410743338118</c:v>
                </c:pt>
                <c:pt idx="69">
                  <c:v>0.99823719791111443</c:v>
                </c:pt>
                <c:pt idx="70">
                  <c:v>0.99849151520852286</c:v>
                </c:pt>
                <c:pt idx="71">
                  <c:v>0.9987458325059313</c:v>
                </c:pt>
                <c:pt idx="72">
                  <c:v>0.99897924701177188</c:v>
                </c:pt>
                <c:pt idx="73">
                  <c:v>0.9991917587260446</c:v>
                </c:pt>
                <c:pt idx="74">
                  <c:v>0.99939033524593879</c:v>
                </c:pt>
                <c:pt idx="75">
                  <c:v>0.99958891176583298</c:v>
                </c:pt>
                <c:pt idx="76">
                  <c:v>0.99974219890399696</c:v>
                </c:pt>
                <c:pt idx="77">
                  <c:v>0.99985368045902534</c:v>
                </c:pt>
                <c:pt idx="78">
                  <c:v>0.99995122681967519</c:v>
                </c:pt>
                <c:pt idx="7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0</c:f>
              <c:strCache>
                <c:ptCount val="79"/>
                <c:pt idx="0">
                  <c:v>Ruinart</c:v>
                </c:pt>
                <c:pt idx="1">
                  <c:v>Nicolas</c:v>
                </c:pt>
                <c:pt idx="2">
                  <c:v>Deutz</c:v>
                </c:pt>
                <c:pt idx="3">
                  <c:v>Canard Duch</c:v>
                </c:pt>
                <c:pt idx="4">
                  <c:v>Heidsieck &amp;</c:v>
                </c:pt>
                <c:pt idx="5">
                  <c:v>Taittinger</c:v>
                </c:pt>
                <c:pt idx="6">
                  <c:v>De Bligny</c:v>
                </c:pt>
                <c:pt idx="7">
                  <c:v>Ayala</c:v>
                </c:pt>
                <c:pt idx="8">
                  <c:v>Deutz</c:v>
                </c:pt>
                <c:pt idx="9">
                  <c:v>Besserat De</c:v>
                </c:pt>
                <c:pt idx="10">
                  <c:v>Demoiselle</c:v>
                </c:pt>
                <c:pt idx="11">
                  <c:v>Bollinger</c:v>
                </c:pt>
                <c:pt idx="12">
                  <c:v>Perrier Jou</c:v>
                </c:pt>
                <c:pt idx="13">
                  <c:v>Taittinger</c:v>
                </c:pt>
                <c:pt idx="14">
                  <c:v>Laurent Per</c:v>
                </c:pt>
                <c:pt idx="15">
                  <c:v>Ruinart</c:v>
                </c:pt>
                <c:pt idx="16">
                  <c:v>Savian</c:v>
                </c:pt>
                <c:pt idx="17">
                  <c:v>All Others</c:v>
                </c:pt>
                <c:pt idx="18">
                  <c:v>Laurent Per</c:v>
                </c:pt>
                <c:pt idx="19">
                  <c:v>Veuve Clicq</c:v>
                </c:pt>
                <c:pt idx="20">
                  <c:v>Nicolas</c:v>
                </c:pt>
                <c:pt idx="21">
                  <c:v>Roederer</c:v>
                </c:pt>
                <c:pt idx="22">
                  <c:v>Moët &amp; Chan</c:v>
                </c:pt>
                <c:pt idx="23">
                  <c:v>Pommery</c:v>
                </c:pt>
                <c:pt idx="24">
                  <c:v>Ruinart</c:v>
                </c:pt>
                <c:pt idx="25">
                  <c:v>Roederer</c:v>
                </c:pt>
                <c:pt idx="26">
                  <c:v>Piper Heids</c:v>
                </c:pt>
                <c:pt idx="27">
                  <c:v>Canard Duch</c:v>
                </c:pt>
                <c:pt idx="28">
                  <c:v>Veuve Clicq</c:v>
                </c:pt>
                <c:pt idx="29">
                  <c:v>Canard Duch</c:v>
                </c:pt>
                <c:pt idx="30">
                  <c:v>Campari: Al</c:v>
                </c:pt>
                <c:pt idx="31">
                  <c:v>Krug</c:v>
                </c:pt>
                <c:pt idx="32">
                  <c:v>De Venoge</c:v>
                </c:pt>
                <c:pt idx="33">
                  <c:v>Bollinger</c:v>
                </c:pt>
                <c:pt idx="34">
                  <c:v>Henriot</c:v>
                </c:pt>
                <c:pt idx="35">
                  <c:v>Deutz</c:v>
                </c:pt>
                <c:pt idx="36">
                  <c:v>Nicolas Feu</c:v>
                </c:pt>
                <c:pt idx="37">
                  <c:v>Canard Duch</c:v>
                </c:pt>
                <c:pt idx="38">
                  <c:v>Ruinart</c:v>
                </c:pt>
                <c:pt idx="39">
                  <c:v>Veuve Clicq</c:v>
                </c:pt>
                <c:pt idx="40">
                  <c:v>All Others</c:v>
                </c:pt>
                <c:pt idx="41">
                  <c:v>Nicolas</c:v>
                </c:pt>
                <c:pt idx="42">
                  <c:v>Henriot</c:v>
                </c:pt>
                <c:pt idx="43">
                  <c:v>Lanson</c:v>
                </c:pt>
                <c:pt idx="44">
                  <c:v>De Venoge</c:v>
                </c:pt>
                <c:pt idx="45">
                  <c:v>Vranken</c:v>
                </c:pt>
                <c:pt idx="46">
                  <c:v>Roederer</c:v>
                </c:pt>
                <c:pt idx="47">
                  <c:v>Nicolas</c:v>
                </c:pt>
                <c:pt idx="48">
                  <c:v>Nicolas</c:v>
                </c:pt>
                <c:pt idx="49">
                  <c:v>All Others</c:v>
                </c:pt>
                <c:pt idx="50">
                  <c:v>Veuve Clicq</c:v>
                </c:pt>
                <c:pt idx="51">
                  <c:v>Roederer</c:v>
                </c:pt>
                <c:pt idx="52">
                  <c:v>Canard Duch</c:v>
                </c:pt>
                <c:pt idx="53">
                  <c:v>Nicolas</c:v>
                </c:pt>
                <c:pt idx="54">
                  <c:v>Roederer</c:v>
                </c:pt>
                <c:pt idx="55">
                  <c:v>De Venoge</c:v>
                </c:pt>
                <c:pt idx="56">
                  <c:v>Campari: Al</c:v>
                </c:pt>
                <c:pt idx="57">
                  <c:v>Pommery</c:v>
                </c:pt>
                <c:pt idx="58">
                  <c:v>Roederer</c:v>
                </c:pt>
                <c:pt idx="59">
                  <c:v>Canard Duch</c:v>
                </c:pt>
                <c:pt idx="60">
                  <c:v>Nicolas Feu</c:v>
                </c:pt>
                <c:pt idx="61">
                  <c:v>Moët &amp; Chan</c:v>
                </c:pt>
                <c:pt idx="62">
                  <c:v>All Others</c:v>
                </c:pt>
                <c:pt idx="63">
                  <c:v>Demoiselle</c:v>
                </c:pt>
                <c:pt idx="64">
                  <c:v>Nicolas</c:v>
                </c:pt>
                <c:pt idx="65">
                  <c:v>Ruinart</c:v>
                </c:pt>
                <c:pt idx="66">
                  <c:v>Laurent Per</c:v>
                </c:pt>
                <c:pt idx="67">
                  <c:v>All Others</c:v>
                </c:pt>
                <c:pt idx="68">
                  <c:v>Laurent Per</c:v>
                </c:pt>
                <c:pt idx="69">
                  <c:v>Ruinart</c:v>
                </c:pt>
                <c:pt idx="70">
                  <c:v>Roederer</c:v>
                </c:pt>
                <c:pt idx="71">
                  <c:v>All Others</c:v>
                </c:pt>
                <c:pt idx="72">
                  <c:v>Moët &amp; Chan</c:v>
                </c:pt>
                <c:pt idx="73">
                  <c:v>All Others</c:v>
                </c:pt>
                <c:pt idx="74">
                  <c:v>Roederer</c:v>
                </c:pt>
                <c:pt idx="75">
                  <c:v>Henriot</c:v>
                </c:pt>
                <c:pt idx="76">
                  <c:v>All Others</c:v>
                </c:pt>
                <c:pt idx="77">
                  <c:v>Nicolas Feu</c:v>
                </c:pt>
                <c:pt idx="78">
                  <c:v>Pommery</c:v>
                </c:pt>
              </c:strCache>
            </c:strRef>
          </c:cat>
          <c:val>
            <c:numRef>
              <c:f>Sheet1!$B$2:$B$80</c:f>
              <c:numCache>
                <c:formatCode>General</c:formatCode>
                <c:ptCount val="79"/>
                <c:pt idx="0">
                  <c:v>1</c:v>
                </c:pt>
                <c:pt idx="1">
                  <c:v>1</c:v>
                </c:pt>
                <c:pt idx="2">
                  <c:v>0.89</c:v>
                </c:pt>
                <c:pt idx="3">
                  <c:v>1</c:v>
                </c:pt>
                <c:pt idx="4">
                  <c:v>0.91</c:v>
                </c:pt>
                <c:pt idx="5">
                  <c:v>0.87</c:v>
                </c:pt>
                <c:pt idx="6">
                  <c:v>0.92</c:v>
                </c:pt>
                <c:pt idx="7">
                  <c:v>0.89</c:v>
                </c:pt>
                <c:pt idx="8">
                  <c:v>0.85</c:v>
                </c:pt>
                <c:pt idx="9">
                  <c:v>0.79</c:v>
                </c:pt>
                <c:pt idx="10">
                  <c:v>0.85</c:v>
                </c:pt>
                <c:pt idx="11">
                  <c:v>0.87</c:v>
                </c:pt>
                <c:pt idx="12">
                  <c:v>0.87</c:v>
                </c:pt>
                <c:pt idx="13">
                  <c:v>0.64</c:v>
                </c:pt>
                <c:pt idx="14">
                  <c:v>1</c:v>
                </c:pt>
                <c:pt idx="15">
                  <c:v>0.51</c:v>
                </c:pt>
                <c:pt idx="16">
                  <c:v>0.83</c:v>
                </c:pt>
                <c:pt idx="17">
                  <c:v>0.79</c:v>
                </c:pt>
                <c:pt idx="18">
                  <c:v>0.83</c:v>
                </c:pt>
                <c:pt idx="19">
                  <c:v>0.56000000000000005</c:v>
                </c:pt>
                <c:pt idx="20">
                  <c:v>0.62</c:v>
                </c:pt>
                <c:pt idx="21">
                  <c:v>0.38</c:v>
                </c:pt>
                <c:pt idx="22">
                  <c:v>0.56000000000000005</c:v>
                </c:pt>
                <c:pt idx="23">
                  <c:v>0.8</c:v>
                </c:pt>
                <c:pt idx="24">
                  <c:v>0.76</c:v>
                </c:pt>
                <c:pt idx="25">
                  <c:v>0.64</c:v>
                </c:pt>
                <c:pt idx="26">
                  <c:v>0.87</c:v>
                </c:pt>
                <c:pt idx="27">
                  <c:v>0.73</c:v>
                </c:pt>
                <c:pt idx="28">
                  <c:v>0.71</c:v>
                </c:pt>
                <c:pt idx="29">
                  <c:v>0.87</c:v>
                </c:pt>
                <c:pt idx="30">
                  <c:v>0.5</c:v>
                </c:pt>
                <c:pt idx="31">
                  <c:v>0.31</c:v>
                </c:pt>
                <c:pt idx="32">
                  <c:v>0.65</c:v>
                </c:pt>
                <c:pt idx="33">
                  <c:v>0.31</c:v>
                </c:pt>
                <c:pt idx="34">
                  <c:v>0.59</c:v>
                </c:pt>
                <c:pt idx="35">
                  <c:v>0.62</c:v>
                </c:pt>
                <c:pt idx="36">
                  <c:v>0.77</c:v>
                </c:pt>
                <c:pt idx="37">
                  <c:v>0.74</c:v>
                </c:pt>
                <c:pt idx="38">
                  <c:v>0.73</c:v>
                </c:pt>
                <c:pt idx="39">
                  <c:v>0.73</c:v>
                </c:pt>
                <c:pt idx="40">
                  <c:v>0.55000000000000004</c:v>
                </c:pt>
                <c:pt idx="41">
                  <c:v>0.59</c:v>
                </c:pt>
                <c:pt idx="42">
                  <c:v>0.59</c:v>
                </c:pt>
                <c:pt idx="43">
                  <c:v>0.73</c:v>
                </c:pt>
                <c:pt idx="44">
                  <c:v>0.74</c:v>
                </c:pt>
                <c:pt idx="45">
                  <c:v>0.8</c:v>
                </c:pt>
                <c:pt idx="46">
                  <c:v>0.39</c:v>
                </c:pt>
                <c:pt idx="47">
                  <c:v>0.56999999999999995</c:v>
                </c:pt>
                <c:pt idx="48">
                  <c:v>0.59</c:v>
                </c:pt>
                <c:pt idx="49">
                  <c:v>0.39</c:v>
                </c:pt>
                <c:pt idx="50">
                  <c:v>0.24</c:v>
                </c:pt>
                <c:pt idx="51">
                  <c:v>0.34</c:v>
                </c:pt>
                <c:pt idx="52">
                  <c:v>0.25</c:v>
                </c:pt>
                <c:pt idx="53">
                  <c:v>0.44</c:v>
                </c:pt>
                <c:pt idx="54">
                  <c:v>0.48</c:v>
                </c:pt>
                <c:pt idx="55">
                  <c:v>0.73</c:v>
                </c:pt>
                <c:pt idx="56">
                  <c:v>0.74</c:v>
                </c:pt>
                <c:pt idx="57">
                  <c:v>0.51</c:v>
                </c:pt>
                <c:pt idx="58">
                  <c:v>0.79</c:v>
                </c:pt>
                <c:pt idx="59">
                  <c:v>0.31</c:v>
                </c:pt>
                <c:pt idx="60">
                  <c:v>0.73</c:v>
                </c:pt>
                <c:pt idx="61">
                  <c:v>0.2</c:v>
                </c:pt>
                <c:pt idx="62">
                  <c:v>0.5</c:v>
                </c:pt>
                <c:pt idx="63">
                  <c:v>0.44</c:v>
                </c:pt>
                <c:pt idx="64">
                  <c:v>0.33</c:v>
                </c:pt>
                <c:pt idx="65">
                  <c:v>0.14000000000000001</c:v>
                </c:pt>
                <c:pt idx="66">
                  <c:v>0.25</c:v>
                </c:pt>
                <c:pt idx="67">
                  <c:v>0.28000000000000003</c:v>
                </c:pt>
                <c:pt idx="68">
                  <c:v>0.13</c:v>
                </c:pt>
                <c:pt idx="69">
                  <c:v>0.13</c:v>
                </c:pt>
                <c:pt idx="70">
                  <c:v>0.28000000000000003</c:v>
                </c:pt>
                <c:pt idx="71">
                  <c:v>0.16</c:v>
                </c:pt>
                <c:pt idx="72">
                  <c:v>0.2</c:v>
                </c:pt>
                <c:pt idx="73">
                  <c:v>0.15</c:v>
                </c:pt>
                <c:pt idx="74">
                  <c:v>0.38</c:v>
                </c:pt>
                <c:pt idx="75">
                  <c:v>0.12</c:v>
                </c:pt>
                <c:pt idx="76">
                  <c:v>0.1</c:v>
                </c:pt>
                <c:pt idx="77">
                  <c:v>0.17</c:v>
                </c:pt>
                <c:pt idx="78">
                  <c:v>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0</c:f>
              <c:strCache>
                <c:ptCount val="79"/>
                <c:pt idx="0">
                  <c:v>Ruinart</c:v>
                </c:pt>
                <c:pt idx="1">
                  <c:v>Nicolas</c:v>
                </c:pt>
                <c:pt idx="2">
                  <c:v>Deutz</c:v>
                </c:pt>
                <c:pt idx="3">
                  <c:v>Canard Duch</c:v>
                </c:pt>
                <c:pt idx="4">
                  <c:v>Heidsieck &amp;</c:v>
                </c:pt>
                <c:pt idx="5">
                  <c:v>Taittinger</c:v>
                </c:pt>
                <c:pt idx="6">
                  <c:v>De Bligny</c:v>
                </c:pt>
                <c:pt idx="7">
                  <c:v>Ayala</c:v>
                </c:pt>
                <c:pt idx="8">
                  <c:v>Deutz</c:v>
                </c:pt>
                <c:pt idx="9">
                  <c:v>Besserat De</c:v>
                </c:pt>
                <c:pt idx="10">
                  <c:v>Demoiselle</c:v>
                </c:pt>
                <c:pt idx="11">
                  <c:v>Bollinger</c:v>
                </c:pt>
                <c:pt idx="12">
                  <c:v>Perrier Jou</c:v>
                </c:pt>
                <c:pt idx="13">
                  <c:v>Taittinger</c:v>
                </c:pt>
                <c:pt idx="14">
                  <c:v>Laurent Per</c:v>
                </c:pt>
                <c:pt idx="15">
                  <c:v>Ruinart</c:v>
                </c:pt>
                <c:pt idx="16">
                  <c:v>Savian</c:v>
                </c:pt>
                <c:pt idx="17">
                  <c:v>All Others</c:v>
                </c:pt>
                <c:pt idx="18">
                  <c:v>Laurent Per</c:v>
                </c:pt>
                <c:pt idx="19">
                  <c:v>Veuve Clicq</c:v>
                </c:pt>
                <c:pt idx="20">
                  <c:v>Nicolas</c:v>
                </c:pt>
                <c:pt idx="21">
                  <c:v>Roederer</c:v>
                </c:pt>
                <c:pt idx="22">
                  <c:v>Moët &amp; Chan</c:v>
                </c:pt>
                <c:pt idx="23">
                  <c:v>Pommery</c:v>
                </c:pt>
                <c:pt idx="24">
                  <c:v>Ruinart</c:v>
                </c:pt>
                <c:pt idx="25">
                  <c:v>Roederer</c:v>
                </c:pt>
                <c:pt idx="26">
                  <c:v>Piper Heids</c:v>
                </c:pt>
                <c:pt idx="27">
                  <c:v>Canard Duch</c:v>
                </c:pt>
                <c:pt idx="28">
                  <c:v>Veuve Clicq</c:v>
                </c:pt>
                <c:pt idx="29">
                  <c:v>Canard Duch</c:v>
                </c:pt>
                <c:pt idx="30">
                  <c:v>Campari: Al</c:v>
                </c:pt>
                <c:pt idx="31">
                  <c:v>Krug</c:v>
                </c:pt>
                <c:pt idx="32">
                  <c:v>De Venoge</c:v>
                </c:pt>
                <c:pt idx="33">
                  <c:v>Bollinger</c:v>
                </c:pt>
                <c:pt idx="34">
                  <c:v>Henriot</c:v>
                </c:pt>
                <c:pt idx="35">
                  <c:v>Deutz</c:v>
                </c:pt>
                <c:pt idx="36">
                  <c:v>Nicolas Feu</c:v>
                </c:pt>
                <c:pt idx="37">
                  <c:v>Canard Duch</c:v>
                </c:pt>
                <c:pt idx="38">
                  <c:v>Ruinart</c:v>
                </c:pt>
                <c:pt idx="39">
                  <c:v>Veuve Clicq</c:v>
                </c:pt>
                <c:pt idx="40">
                  <c:v>All Others</c:v>
                </c:pt>
                <c:pt idx="41">
                  <c:v>Nicolas</c:v>
                </c:pt>
                <c:pt idx="42">
                  <c:v>Henriot</c:v>
                </c:pt>
                <c:pt idx="43">
                  <c:v>Lanson</c:v>
                </c:pt>
                <c:pt idx="44">
                  <c:v>De Venoge</c:v>
                </c:pt>
                <c:pt idx="45">
                  <c:v>Vranken</c:v>
                </c:pt>
                <c:pt idx="46">
                  <c:v>Roederer</c:v>
                </c:pt>
                <c:pt idx="47">
                  <c:v>Nicolas</c:v>
                </c:pt>
                <c:pt idx="48">
                  <c:v>Nicolas</c:v>
                </c:pt>
                <c:pt idx="49">
                  <c:v>All Others</c:v>
                </c:pt>
                <c:pt idx="50">
                  <c:v>Veuve Clicq</c:v>
                </c:pt>
                <c:pt idx="51">
                  <c:v>Roederer</c:v>
                </c:pt>
                <c:pt idx="52">
                  <c:v>Canard Duch</c:v>
                </c:pt>
                <c:pt idx="53">
                  <c:v>Nicolas</c:v>
                </c:pt>
                <c:pt idx="54">
                  <c:v>Roederer</c:v>
                </c:pt>
                <c:pt idx="55">
                  <c:v>De Venoge</c:v>
                </c:pt>
                <c:pt idx="56">
                  <c:v>Campari: Al</c:v>
                </c:pt>
                <c:pt idx="57">
                  <c:v>Pommery</c:v>
                </c:pt>
                <c:pt idx="58">
                  <c:v>Roederer</c:v>
                </c:pt>
                <c:pt idx="59">
                  <c:v>Canard Duch</c:v>
                </c:pt>
                <c:pt idx="60">
                  <c:v>Nicolas Feu</c:v>
                </c:pt>
                <c:pt idx="61">
                  <c:v>Moët &amp; Chan</c:v>
                </c:pt>
                <c:pt idx="62">
                  <c:v>All Others</c:v>
                </c:pt>
                <c:pt idx="63">
                  <c:v>Demoiselle</c:v>
                </c:pt>
                <c:pt idx="64">
                  <c:v>Nicolas</c:v>
                </c:pt>
                <c:pt idx="65">
                  <c:v>Ruinart</c:v>
                </c:pt>
                <c:pt idx="66">
                  <c:v>Laurent Per</c:v>
                </c:pt>
                <c:pt idx="67">
                  <c:v>All Others</c:v>
                </c:pt>
                <c:pt idx="68">
                  <c:v>Laurent Per</c:v>
                </c:pt>
                <c:pt idx="69">
                  <c:v>Ruinart</c:v>
                </c:pt>
                <c:pt idx="70">
                  <c:v>Roederer</c:v>
                </c:pt>
                <c:pt idx="71">
                  <c:v>All Others</c:v>
                </c:pt>
                <c:pt idx="72">
                  <c:v>Moët &amp; Chan</c:v>
                </c:pt>
                <c:pt idx="73">
                  <c:v>All Others</c:v>
                </c:pt>
                <c:pt idx="74">
                  <c:v>Roederer</c:v>
                </c:pt>
                <c:pt idx="75">
                  <c:v>Henriot</c:v>
                </c:pt>
                <c:pt idx="76">
                  <c:v>All Others</c:v>
                </c:pt>
                <c:pt idx="77">
                  <c:v>Nicolas Feu</c:v>
                </c:pt>
                <c:pt idx="78">
                  <c:v>Pommery</c:v>
                </c:pt>
              </c:strCache>
            </c:strRef>
          </c:cat>
          <c:val>
            <c:numRef>
              <c:f>Sheet1!$C$2:$C$80</c:f>
              <c:numCache>
                <c:formatCode>General</c:formatCode>
                <c:ptCount val="79"/>
                <c:pt idx="0">
                  <c:v>0.15466328450255312</c:v>
                </c:pt>
                <c:pt idx="1">
                  <c:v>0.23980517980319954</c:v>
                </c:pt>
                <c:pt idx="2">
                  <c:v>0.28483259702111807</c:v>
                </c:pt>
                <c:pt idx="3">
                  <c:v>0.32636154894315228</c:v>
                </c:pt>
                <c:pt idx="4">
                  <c:v>0.36658447002022698</c:v>
                </c:pt>
                <c:pt idx="5">
                  <c:v>0.40560037342109356</c:v>
                </c:pt>
                <c:pt idx="6">
                  <c:v>0.44433338205409889</c:v>
                </c:pt>
                <c:pt idx="7">
                  <c:v>0.48123700452160134</c:v>
                </c:pt>
                <c:pt idx="8">
                  <c:v>0.51525981526971654</c:v>
                </c:pt>
                <c:pt idx="9">
                  <c:v>0.5472080643868491</c:v>
                </c:pt>
                <c:pt idx="10">
                  <c:v>0.57326738741966965</c:v>
                </c:pt>
                <c:pt idx="11">
                  <c:v>0.59709655669918382</c:v>
                </c:pt>
                <c:pt idx="12">
                  <c:v>0.61823822568401599</c:v>
                </c:pt>
                <c:pt idx="13">
                  <c:v>0.63552781091313715</c:v>
                </c:pt>
                <c:pt idx="14">
                  <c:v>0.65270423823511381</c:v>
                </c:pt>
                <c:pt idx="15">
                  <c:v>0.66912156459666272</c:v>
                </c:pt>
                <c:pt idx="16">
                  <c:v>0.68471378121861626</c:v>
                </c:pt>
                <c:pt idx="17">
                  <c:v>0.70004667763669703</c:v>
                </c:pt>
                <c:pt idx="18">
                  <c:v>0.71455917922798007</c:v>
                </c:pt>
                <c:pt idx="19">
                  <c:v>0.72898681238890473</c:v>
                </c:pt>
                <c:pt idx="20">
                  <c:v>0.74264119985100863</c:v>
                </c:pt>
                <c:pt idx="21">
                  <c:v>0.75525359158482352</c:v>
                </c:pt>
                <c:pt idx="22">
                  <c:v>0.76708330779422218</c:v>
                </c:pt>
                <c:pt idx="23">
                  <c:v>0.77854054589260357</c:v>
                </c:pt>
                <c:pt idx="24">
                  <c:v>0.78834756451179422</c:v>
                </c:pt>
                <c:pt idx="25">
                  <c:v>0.79802728048544724</c:v>
                </c:pt>
                <c:pt idx="26">
                  <c:v>0.80735337799927376</c:v>
                </c:pt>
                <c:pt idx="27">
                  <c:v>0.8166323263851234</c:v>
                </c:pt>
                <c:pt idx="28">
                  <c:v>0.82583112125341229</c:v>
                </c:pt>
                <c:pt idx="29">
                  <c:v>0.83490732838896131</c:v>
                </c:pt>
                <c:pt idx="30">
                  <c:v>0.84375721971022133</c:v>
                </c:pt>
                <c:pt idx="31">
                  <c:v>0.85210733027492647</c:v>
                </c:pt>
                <c:pt idx="32">
                  <c:v>0.86031599345570098</c:v>
                </c:pt>
                <c:pt idx="33">
                  <c:v>0.868501082072487</c:v>
                </c:pt>
                <c:pt idx="34">
                  <c:v>0.87654943821814013</c:v>
                </c:pt>
                <c:pt idx="35">
                  <c:v>0.88436676363670652</c:v>
                </c:pt>
                <c:pt idx="36">
                  <c:v>0.89205678640973529</c:v>
                </c:pt>
                <c:pt idx="37">
                  <c:v>0.89964779601401268</c:v>
                </c:pt>
                <c:pt idx="38">
                  <c:v>0.90690876172245194</c:v>
                </c:pt>
                <c:pt idx="39">
                  <c:v>0.9141320081285097</c:v>
                </c:pt>
                <c:pt idx="40">
                  <c:v>0.92035097810865996</c:v>
                </c:pt>
                <c:pt idx="41">
                  <c:v>0.92631062788493734</c:v>
                </c:pt>
                <c:pt idx="42">
                  <c:v>0.93219012414365399</c:v>
                </c:pt>
                <c:pt idx="43">
                  <c:v>0.93779144054730712</c:v>
                </c:pt>
                <c:pt idx="44">
                  <c:v>0.94292598058398913</c:v>
                </c:pt>
                <c:pt idx="45">
                  <c:v>0.94805109079507577</c:v>
                </c:pt>
                <c:pt idx="46">
                  <c:v>0.95231808687698327</c:v>
                </c:pt>
                <c:pt idx="47">
                  <c:v>0.95627861362704103</c:v>
                </c:pt>
                <c:pt idx="48">
                  <c:v>0.95997510526042829</c:v>
                </c:pt>
                <c:pt idx="49">
                  <c:v>0.96340756177714504</c:v>
                </c:pt>
                <c:pt idx="50">
                  <c:v>0.96667499634594267</c:v>
                </c:pt>
                <c:pt idx="51">
                  <c:v>0.96965482123408142</c:v>
                </c:pt>
                <c:pt idx="52">
                  <c:v>0.97249791365108718</c:v>
                </c:pt>
                <c:pt idx="53">
                  <c:v>0.97499210252106405</c:v>
                </c:pt>
                <c:pt idx="54">
                  <c:v>0.97732126944312181</c:v>
                </c:pt>
                <c:pt idx="55">
                  <c:v>0.97956085302202356</c:v>
                </c:pt>
                <c:pt idx="56">
                  <c:v>0.98163069974020856</c:v>
                </c:pt>
                <c:pt idx="57">
                  <c:v>0.98362039294083281</c:v>
                </c:pt>
                <c:pt idx="58">
                  <c:v>0.98551578788550331</c:v>
                </c:pt>
                <c:pt idx="59">
                  <c:v>0.98707642402153795</c:v>
                </c:pt>
                <c:pt idx="60">
                  <c:v>0.98829287152334144</c:v>
                </c:pt>
                <c:pt idx="61">
                  <c:v>0.98947159972276344</c:v>
                </c:pt>
                <c:pt idx="62">
                  <c:v>0.99063618318379232</c:v>
                </c:pt>
                <c:pt idx="63">
                  <c:v>0.9916498894352952</c:v>
                </c:pt>
                <c:pt idx="64">
                  <c:v>0.99258815708203507</c:v>
                </c:pt>
                <c:pt idx="65">
                  <c:v>0.99343684138561883</c:v>
                </c:pt>
                <c:pt idx="66">
                  <c:v>0.99424780638682109</c:v>
                </c:pt>
                <c:pt idx="67">
                  <c:v>0.99500690734724884</c:v>
                </c:pt>
                <c:pt idx="68">
                  <c:v>0.99569528461571122</c:v>
                </c:pt>
                <c:pt idx="69">
                  <c:v>0.9963836618841736</c:v>
                </c:pt>
                <c:pt idx="70">
                  <c:v>0.99703431985025448</c:v>
                </c:pt>
                <c:pt idx="71">
                  <c:v>0.99756239008359548</c:v>
                </c:pt>
                <c:pt idx="72">
                  <c:v>0.99803388136336424</c:v>
                </c:pt>
                <c:pt idx="73">
                  <c:v>0.99850065773033536</c:v>
                </c:pt>
                <c:pt idx="74">
                  <c:v>0.99894857444611573</c:v>
                </c:pt>
                <c:pt idx="75">
                  <c:v>0.99934462712112149</c:v>
                </c:pt>
                <c:pt idx="76">
                  <c:v>0.99966052627856661</c:v>
                </c:pt>
                <c:pt idx="77">
                  <c:v>0.99986798244166486</c:v>
                </c:pt>
                <c:pt idx="7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0.96</c:v>
                </c:pt>
                <c:pt idx="1">
                  <c:v>0.86</c:v>
                </c:pt>
                <c:pt idx="2">
                  <c:v>0.4</c:v>
                </c:pt>
                <c:pt idx="3">
                  <c:v>0.21</c:v>
                </c:pt>
                <c:pt idx="4">
                  <c:v>0.13</c:v>
                </c:pt>
                <c:pt idx="5">
                  <c:v>0.3</c:v>
                </c:pt>
                <c:pt idx="6">
                  <c:v>0.06</c:v>
                </c:pt>
                <c:pt idx="7">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63520340586565749</c:v>
                </c:pt>
                <c:pt idx="1">
                  <c:v>0.80078524124881734</c:v>
                </c:pt>
                <c:pt idx="2">
                  <c:v>0.96386944181646161</c:v>
                </c:pt>
                <c:pt idx="3">
                  <c:v>0.9772374645222327</c:v>
                </c:pt>
                <c:pt idx="4">
                  <c:v>0.98918637653736985</c:v>
                </c:pt>
                <c:pt idx="5">
                  <c:v>0.99602649006622512</c:v>
                </c:pt>
                <c:pt idx="6">
                  <c:v>0.99961210974456005</c:v>
                </c:pt>
                <c:pt idx="7">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0.95</c:v>
                </c:pt>
                <c:pt idx="1">
                  <c:v>0.55000000000000004</c:v>
                </c:pt>
                <c:pt idx="2">
                  <c:v>0.28000000000000003</c:v>
                </c:pt>
                <c:pt idx="3">
                  <c:v>0.3</c:v>
                </c:pt>
                <c:pt idx="4">
                  <c:v>0.21</c:v>
                </c:pt>
                <c:pt idx="5">
                  <c:v>0.22</c:v>
                </c:pt>
                <c:pt idx="6">
                  <c:v>0.05</c:v>
                </c:pt>
                <c:pt idx="7">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77254149827613761</c:v>
                </c:pt>
                <c:pt idx="1">
                  <c:v>0.87501427038381618</c:v>
                </c:pt>
                <c:pt idx="2">
                  <c:v>0.93239262963216651</c:v>
                </c:pt>
                <c:pt idx="3">
                  <c:v>0.95707468548074059</c:v>
                </c:pt>
                <c:pt idx="4">
                  <c:v>0.97942781469050377</c:v>
                </c:pt>
                <c:pt idx="5">
                  <c:v>0.9967806014110554</c:v>
                </c:pt>
                <c:pt idx="6">
                  <c:v>0.99851588008311054</c:v>
                </c:pt>
                <c:pt idx="7">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B$2:$B$9</c:f>
              <c:numCache>
                <c:formatCode>General</c:formatCode>
                <c:ptCount val="8"/>
                <c:pt idx="0">
                  <c:v>1</c:v>
                </c:pt>
                <c:pt idx="1">
                  <c:v>0.84</c:v>
                </c:pt>
                <c:pt idx="2">
                  <c:v>0.5</c:v>
                </c:pt>
                <c:pt idx="3">
                  <c:v>0.65</c:v>
                </c:pt>
                <c:pt idx="4">
                  <c:v>0.16</c:v>
                </c:pt>
                <c:pt idx="5">
                  <c:v>0.3</c:v>
                </c:pt>
                <c:pt idx="6">
                  <c:v>0.03</c:v>
                </c:pt>
                <c:pt idx="7">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Malard</c:v>
                </c:pt>
                <c:pt idx="1">
                  <c:v>Vesselle</c:v>
                </c:pt>
                <c:pt idx="2">
                  <c:v>Louis Marti</c:v>
                </c:pt>
                <c:pt idx="3">
                  <c:v>Nicolas</c:v>
                </c:pt>
                <c:pt idx="4">
                  <c:v>Louis Marti</c:v>
                </c:pt>
                <c:pt idx="5">
                  <c:v>Nicolas</c:v>
                </c:pt>
                <c:pt idx="6">
                  <c:v>Nicolas</c:v>
                </c:pt>
                <c:pt idx="7">
                  <c:v>All Others</c:v>
                </c:pt>
              </c:strCache>
            </c:strRef>
          </c:cat>
          <c:val>
            <c:numRef>
              <c:f>Sheet1!$C$2:$C$9</c:f>
              <c:numCache>
                <c:formatCode>General</c:formatCode>
                <c:ptCount val="8"/>
                <c:pt idx="0">
                  <c:v>0.72186333756417298</c:v>
                </c:pt>
                <c:pt idx="1">
                  <c:v>0.89052228768446773</c:v>
                </c:pt>
                <c:pt idx="2">
                  <c:v>0.95356811336124425</c:v>
                </c:pt>
                <c:pt idx="3">
                  <c:v>0.97165968893856447</c:v>
                </c:pt>
                <c:pt idx="4">
                  <c:v>0.98791369087085845</c:v>
                </c:pt>
                <c:pt idx="5">
                  <c:v>0.99780248924924708</c:v>
                </c:pt>
                <c:pt idx="6">
                  <c:v>0.99922329361395812</c:v>
                </c:pt>
                <c:pt idx="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Malard</c:v>
                </c:pt>
                <c:pt idx="1">
                  <c:v>Vesselle</c:v>
                </c:pt>
                <c:pt idx="2">
                  <c:v>Louis Marti</c:v>
                </c:pt>
                <c:pt idx="3">
                  <c:v>Nicolas</c:v>
                </c:pt>
                <c:pt idx="4">
                  <c:v>Louis Marti</c:v>
                </c:pt>
                <c:pt idx="5">
                  <c:v>Nicolas</c:v>
                </c:pt>
              </c:strCache>
            </c:strRef>
          </c:cat>
          <c:val>
            <c:numRef>
              <c:f>Sheet1!$B$2:$B$7</c:f>
              <c:numCache>
                <c:formatCode>General</c:formatCode>
                <c:ptCount val="6"/>
                <c:pt idx="0">
                  <c:v>1</c:v>
                </c:pt>
                <c:pt idx="1">
                  <c:v>0.77</c:v>
                </c:pt>
                <c:pt idx="2">
                  <c:v>0.47</c:v>
                </c:pt>
                <c:pt idx="3">
                  <c:v>0.62</c:v>
                </c:pt>
                <c:pt idx="4">
                  <c:v>0.3</c:v>
                </c:pt>
                <c:pt idx="5">
                  <c:v>0.1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Malard</c:v>
                </c:pt>
                <c:pt idx="1">
                  <c:v>Vesselle</c:v>
                </c:pt>
                <c:pt idx="2">
                  <c:v>Louis Marti</c:v>
                </c:pt>
                <c:pt idx="3">
                  <c:v>Nicolas</c:v>
                </c:pt>
                <c:pt idx="4">
                  <c:v>Louis Marti</c:v>
                </c:pt>
                <c:pt idx="5">
                  <c:v>Nicolas</c:v>
                </c:pt>
              </c:strCache>
            </c:strRef>
          </c:cat>
          <c:val>
            <c:numRef>
              <c:f>Sheet1!$C$2:$C$7</c:f>
              <c:numCache>
                <c:formatCode>General</c:formatCode>
                <c:ptCount val="6"/>
                <c:pt idx="0">
                  <c:v>0.50260811548492756</c:v>
                </c:pt>
                <c:pt idx="1">
                  <c:v>0.87593255292048289</c:v>
                </c:pt>
                <c:pt idx="2">
                  <c:v>0.96127251774125078</c:v>
                </c:pt>
                <c:pt idx="3">
                  <c:v>0.98007521077212356</c:v>
                </c:pt>
                <c:pt idx="4">
                  <c:v>0.99620913446958215</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1</c:v>
                </c:pt>
                <c:pt idx="1">
                  <c:v>0.85</c:v>
                </c:pt>
                <c:pt idx="2">
                  <c:v>0.61</c:v>
                </c:pt>
                <c:pt idx="3">
                  <c:v>0.56000000000000005</c:v>
                </c:pt>
                <c:pt idx="4">
                  <c:v>0.19</c:v>
                </c:pt>
                <c:pt idx="5">
                  <c:v>7.0000000000000007E-2</c:v>
                </c:pt>
                <c:pt idx="6">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3767437376922764</c:v>
                </c:pt>
                <c:pt idx="1">
                  <c:v>0.86694575650329819</c:v>
                </c:pt>
                <c:pt idx="2">
                  <c:v>0.9607529917237011</c:v>
                </c:pt>
                <c:pt idx="3">
                  <c:v>0.98167095859096354</c:v>
                </c:pt>
                <c:pt idx="4">
                  <c:v>0.99088367737582106</c:v>
                </c:pt>
                <c:pt idx="5">
                  <c:v>0.99686023933789603</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1</c:v>
                </c:pt>
                <c:pt idx="1">
                  <c:v>0.64</c:v>
                </c:pt>
                <c:pt idx="2">
                  <c:v>0.34</c:v>
                </c:pt>
                <c:pt idx="3">
                  <c:v>0.28000000000000003</c:v>
                </c:pt>
                <c:pt idx="4">
                  <c:v>0.32</c:v>
                </c:pt>
                <c:pt idx="5">
                  <c:v>0.15</c:v>
                </c:pt>
                <c:pt idx="6">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5811143432535246</c:v>
                </c:pt>
                <c:pt idx="1">
                  <c:v>0.90093980756321335</c:v>
                </c:pt>
                <c:pt idx="2">
                  <c:v>0.95211456701722996</c:v>
                </c:pt>
                <c:pt idx="3">
                  <c:v>0.9787200716043859</c:v>
                </c:pt>
                <c:pt idx="4">
                  <c:v>0.98939360035802204</c:v>
                </c:pt>
                <c:pt idx="5">
                  <c:v>0.99829939583799521</c:v>
                </c:pt>
                <c:pt idx="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B$2:$B$8</c:f>
              <c:numCache>
                <c:formatCode>General</c:formatCode>
                <c:ptCount val="7"/>
                <c:pt idx="0">
                  <c:v>0.97</c:v>
                </c:pt>
                <c:pt idx="1">
                  <c:v>0.7</c:v>
                </c:pt>
                <c:pt idx="2">
                  <c:v>0.3</c:v>
                </c:pt>
                <c:pt idx="3">
                  <c:v>0.22</c:v>
                </c:pt>
                <c:pt idx="4">
                  <c:v>0.27</c:v>
                </c:pt>
                <c:pt idx="5">
                  <c:v>0.44</c:v>
                </c:pt>
                <c:pt idx="6">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C$2:$C$8</c:f>
              <c:numCache>
                <c:formatCode>General</c:formatCode>
                <c:ptCount val="7"/>
                <c:pt idx="0">
                  <c:v>0.72513671428274384</c:v>
                </c:pt>
                <c:pt idx="1">
                  <c:v>0.92158942049778547</c:v>
                </c:pt>
                <c:pt idx="2">
                  <c:v>0.97538103258270425</c:v>
                </c:pt>
                <c:pt idx="3">
                  <c:v>0.98384380263239968</c:v>
                </c:pt>
                <c:pt idx="4">
                  <c:v>0.99166198823113549</c:v>
                </c:pt>
                <c:pt idx="5">
                  <c:v>0.99841972844280868</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B$2:$B$8</c:f>
              <c:numCache>
                <c:formatCode>General</c:formatCode>
                <c:ptCount val="7"/>
                <c:pt idx="0">
                  <c:v>1</c:v>
                </c:pt>
                <c:pt idx="1">
                  <c:v>0.8</c:v>
                </c:pt>
                <c:pt idx="2">
                  <c:v>0.66</c:v>
                </c:pt>
                <c:pt idx="3">
                  <c:v>0.85</c:v>
                </c:pt>
                <c:pt idx="4">
                  <c:v>0.13</c:v>
                </c:pt>
                <c:pt idx="5">
                  <c:v>0.38</c:v>
                </c:pt>
                <c:pt idx="6">
                  <c:v>0.2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Nicolas</c:v>
                </c:pt>
                <c:pt idx="4">
                  <c:v>Louis Marti</c:v>
                </c:pt>
                <c:pt idx="5">
                  <c:v>Nicolas</c:v>
                </c:pt>
                <c:pt idx="6">
                  <c:v>Nicolas</c:v>
                </c:pt>
              </c:strCache>
            </c:strRef>
          </c:cat>
          <c:val>
            <c:numRef>
              <c:f>Sheet1!$C$2:$C$8</c:f>
              <c:numCache>
                <c:formatCode>General</c:formatCode>
                <c:ptCount val="7"/>
                <c:pt idx="0">
                  <c:v>0.66992230048652968</c:v>
                </c:pt>
                <c:pt idx="1">
                  <c:v>0.84051630237455521</c:v>
                </c:pt>
                <c:pt idx="2">
                  <c:v>0.93651514051267148</c:v>
                </c:pt>
                <c:pt idx="3">
                  <c:v>0.96516229758187488</c:v>
                </c:pt>
                <c:pt idx="4">
                  <c:v>0.98033911843729571</c:v>
                </c:pt>
                <c:pt idx="5">
                  <c:v>0.99132234405635022</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Patriarche</c:v>
                </c:pt>
                <c:pt idx="2">
                  <c:v>Bouvet-Ladubay</c:v>
                </c:pt>
                <c:pt idx="3">
                  <c:v>Mure</c:v>
                </c:pt>
                <c:pt idx="4">
                  <c:v>Savian</c:v>
                </c:pt>
                <c:pt idx="5">
                  <c:v>Chateau Moncontour</c:v>
                </c:pt>
                <c:pt idx="6">
                  <c:v>Contarini</c:v>
                </c:pt>
                <c:pt idx="7">
                  <c:v>Kriter</c:v>
                </c:pt>
                <c:pt idx="8">
                  <c:v>De Chanceny</c:v>
                </c:pt>
                <c:pt idx="9">
                  <c:v>Others</c:v>
                </c:pt>
              </c:strCache>
            </c:strRef>
          </c:cat>
          <c:val>
            <c:numRef>
              <c:f>Sheet1!$B$2:$B$11</c:f>
              <c:numCache>
                <c:formatCode>General</c:formatCode>
                <c:ptCount val="10"/>
                <c:pt idx="0">
                  <c:v>0.13416577923479012</c:v>
                </c:pt>
                <c:pt idx="1">
                  <c:v>0.1060254884355446</c:v>
                </c:pt>
                <c:pt idx="2">
                  <c:v>8.6474146151329756E-2</c:v>
                </c:pt>
                <c:pt idx="3">
                  <c:v>5.9301330103777326E-2</c:v>
                </c:pt>
                <c:pt idx="4">
                  <c:v>4.4357673327625927E-2</c:v>
                </c:pt>
                <c:pt idx="5">
                  <c:v>3.7460065565555117E-2</c:v>
                </c:pt>
                <c:pt idx="6">
                  <c:v>2.6358466796127317E-2</c:v>
                </c:pt>
                <c:pt idx="7">
                  <c:v>2.2836580289964017E-2</c:v>
                </c:pt>
                <c:pt idx="8">
                  <c:v>1.8166252531790942E-2</c:v>
                </c:pt>
                <c:pt idx="9">
                  <c:v>0.4648542175634948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Patriarche</c:v>
                </c:pt>
                <c:pt idx="2">
                  <c:v>Bouvet-Ladubay</c:v>
                </c:pt>
                <c:pt idx="3">
                  <c:v>Mure</c:v>
                </c:pt>
                <c:pt idx="4">
                  <c:v>Savian</c:v>
                </c:pt>
                <c:pt idx="5">
                  <c:v>Chateau Moncontour</c:v>
                </c:pt>
                <c:pt idx="6">
                  <c:v>Contarini</c:v>
                </c:pt>
                <c:pt idx="7">
                  <c:v>Kriter</c:v>
                </c:pt>
                <c:pt idx="8">
                  <c:v>De Chanceny</c:v>
                </c:pt>
                <c:pt idx="9">
                  <c:v>Others</c:v>
                </c:pt>
              </c:strCache>
            </c:strRef>
          </c:cat>
          <c:val>
            <c:numRef>
              <c:f>Sheet1!$C$2:$C$11</c:f>
              <c:numCache>
                <c:formatCode>General</c:formatCode>
                <c:ptCount val="10"/>
                <c:pt idx="0">
                  <c:v>0.10318471337579617</c:v>
                </c:pt>
                <c:pt idx="1">
                  <c:v>8.5987261146496824E-2</c:v>
                </c:pt>
                <c:pt idx="2">
                  <c:v>7.7707006369426762E-2</c:v>
                </c:pt>
                <c:pt idx="3">
                  <c:v>4.2038216560509559E-2</c:v>
                </c:pt>
                <c:pt idx="4">
                  <c:v>4.4585987261146494E-2</c:v>
                </c:pt>
                <c:pt idx="5">
                  <c:v>3.7579617834394903E-2</c:v>
                </c:pt>
                <c:pt idx="6">
                  <c:v>7.3885350318471349E-2</c:v>
                </c:pt>
                <c:pt idx="7">
                  <c:v>3.6942675159235674E-2</c:v>
                </c:pt>
                <c:pt idx="8">
                  <c:v>2.3566878980891721E-2</c:v>
                </c:pt>
                <c:pt idx="9">
                  <c:v>0.474522292993630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Patriarche</c:v>
                </c:pt>
                <c:pt idx="2">
                  <c:v>Bouvet-Ladubay</c:v>
                </c:pt>
                <c:pt idx="3">
                  <c:v>Mure</c:v>
                </c:pt>
                <c:pt idx="4">
                  <c:v>Savian</c:v>
                </c:pt>
                <c:pt idx="5">
                  <c:v>Chateau Moncontour</c:v>
                </c:pt>
                <c:pt idx="6">
                  <c:v>Contarini</c:v>
                </c:pt>
                <c:pt idx="7">
                  <c:v>Kriter</c:v>
                </c:pt>
                <c:pt idx="8">
                  <c:v>De Chanceny</c:v>
                </c:pt>
                <c:pt idx="9">
                  <c:v>Others</c:v>
                </c:pt>
              </c:strCache>
            </c:strRef>
          </c:cat>
          <c:val>
            <c:numRef>
              <c:f>Sheet1!$D$2:$D$11</c:f>
              <c:numCache>
                <c:formatCode>General</c:formatCode>
                <c:ptCount val="10"/>
                <c:pt idx="0">
                  <c:v>76.908369603863676</c:v>
                </c:pt>
                <c:pt idx="1">
                  <c:v>81.100556493800553</c:v>
                </c:pt>
                <c:pt idx="2">
                  <c:v>89.861548020884186</c:v>
                </c:pt>
                <c:pt idx="3">
                  <c:v>70.889163003498709</c:v>
                </c:pt>
                <c:pt idx="4">
                  <c:v>100.51471124699043</c:v>
                </c:pt>
                <c:pt idx="5">
                  <c:v>100.31914591454884</c:v>
                </c:pt>
                <c:pt idx="6">
                  <c:v>280.30974217865679</c:v>
                </c:pt>
                <c:pt idx="7">
                  <c:v>161.76973386628671</c:v>
                </c:pt>
                <c:pt idx="8">
                  <c:v>129.72889669814776</c:v>
                </c:pt>
                <c:pt idx="9">
                  <c:v>102.07980804838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B$2:$B$8</c:f>
              <c:numCache>
                <c:formatCode>General</c:formatCode>
                <c:ptCount val="7"/>
                <c:pt idx="0">
                  <c:v>1</c:v>
                </c:pt>
                <c:pt idx="1">
                  <c:v>0.89</c:v>
                </c:pt>
                <c:pt idx="2">
                  <c:v>0.39</c:v>
                </c:pt>
                <c:pt idx="3">
                  <c:v>0.56000000000000005</c:v>
                </c:pt>
                <c:pt idx="4">
                  <c:v>0.48</c:v>
                </c:pt>
                <c:pt idx="5">
                  <c:v>0.46</c:v>
                </c:pt>
                <c:pt idx="6">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Malard</c:v>
                </c:pt>
                <c:pt idx="1">
                  <c:v>Vesselle</c:v>
                </c:pt>
                <c:pt idx="2">
                  <c:v>Louis Marti</c:v>
                </c:pt>
                <c:pt idx="3">
                  <c:v>Louis Marti</c:v>
                </c:pt>
                <c:pt idx="4">
                  <c:v>Nicolas</c:v>
                </c:pt>
                <c:pt idx="5">
                  <c:v>Nicolas</c:v>
                </c:pt>
                <c:pt idx="6">
                  <c:v>Nicolas</c:v>
                </c:pt>
              </c:strCache>
            </c:strRef>
          </c:cat>
          <c:val>
            <c:numRef>
              <c:f>Sheet1!$C$2:$C$8</c:f>
              <c:numCache>
                <c:formatCode>General</c:formatCode>
                <c:ptCount val="7"/>
                <c:pt idx="0">
                  <c:v>0.60792170576521443</c:v>
                </c:pt>
                <c:pt idx="1">
                  <c:v>0.93753946281995237</c:v>
                </c:pt>
                <c:pt idx="2">
                  <c:v>0.96767691485744811</c:v>
                </c:pt>
                <c:pt idx="3">
                  <c:v>0.98059643498955751</c:v>
                </c:pt>
                <c:pt idx="4">
                  <c:v>0.99033464471319632</c:v>
                </c:pt>
                <c:pt idx="5">
                  <c:v>0.99630870853368303</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Malard</c:v>
                </c:pt>
                <c:pt idx="1">
                  <c:v>Vesselle</c:v>
                </c:pt>
                <c:pt idx="2">
                  <c:v>Louis Marti</c:v>
                </c:pt>
                <c:pt idx="3">
                  <c:v>Nicolas</c:v>
                </c:pt>
                <c:pt idx="4">
                  <c:v>Louis Marti</c:v>
                </c:pt>
              </c:strCache>
            </c:strRef>
          </c:cat>
          <c:val>
            <c:numRef>
              <c:f>Sheet1!$B$2:$B$6</c:f>
              <c:numCache>
                <c:formatCode>General</c:formatCode>
                <c:ptCount val="5"/>
                <c:pt idx="0">
                  <c:v>1</c:v>
                </c:pt>
                <c:pt idx="1">
                  <c:v>0.89</c:v>
                </c:pt>
                <c:pt idx="2">
                  <c:v>0.72</c:v>
                </c:pt>
                <c:pt idx="3">
                  <c:v>0.53</c:v>
                </c:pt>
                <c:pt idx="4">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Malard</c:v>
                </c:pt>
                <c:pt idx="1">
                  <c:v>Vesselle</c:v>
                </c:pt>
                <c:pt idx="2">
                  <c:v>Louis Marti</c:v>
                </c:pt>
                <c:pt idx="3">
                  <c:v>Nicolas</c:v>
                </c:pt>
                <c:pt idx="4">
                  <c:v>Louis Marti</c:v>
                </c:pt>
              </c:strCache>
            </c:strRef>
          </c:cat>
          <c:val>
            <c:numRef>
              <c:f>Sheet1!$C$2:$C$6</c:f>
              <c:numCache>
                <c:formatCode>General</c:formatCode>
                <c:ptCount val="5"/>
                <c:pt idx="0">
                  <c:v>0.74352378373499417</c:v>
                </c:pt>
                <c:pt idx="1">
                  <c:v>0.89597436591750168</c:v>
                </c:pt>
                <c:pt idx="2">
                  <c:v>0.97012365736979878</c:v>
                </c:pt>
                <c:pt idx="3">
                  <c:v>0.99273400126365197</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Malard</c:v>
                </c:pt>
                <c:pt idx="1">
                  <c:v>Vesselle</c:v>
                </c:pt>
                <c:pt idx="2">
                  <c:v>Louis Marti</c:v>
                </c:pt>
                <c:pt idx="3">
                  <c:v>Nicolas</c:v>
                </c:pt>
                <c:pt idx="4">
                  <c:v>Louis Marti</c:v>
                </c:pt>
                <c:pt idx="5">
                  <c:v>Nicolas</c:v>
                </c:pt>
              </c:strCache>
            </c:strRef>
          </c:cat>
          <c:val>
            <c:numRef>
              <c:f>Sheet1!$B$2:$B$7</c:f>
              <c:numCache>
                <c:formatCode>General</c:formatCode>
                <c:ptCount val="6"/>
                <c:pt idx="0">
                  <c:v>1</c:v>
                </c:pt>
                <c:pt idx="1">
                  <c:v>0.69</c:v>
                </c:pt>
                <c:pt idx="2">
                  <c:v>0.28000000000000003</c:v>
                </c:pt>
                <c:pt idx="3">
                  <c:v>0.32</c:v>
                </c:pt>
                <c:pt idx="4">
                  <c:v>0.2</c:v>
                </c:pt>
                <c:pt idx="5">
                  <c:v>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Malard</c:v>
                </c:pt>
                <c:pt idx="1">
                  <c:v>Vesselle</c:v>
                </c:pt>
                <c:pt idx="2">
                  <c:v>Louis Marti</c:v>
                </c:pt>
                <c:pt idx="3">
                  <c:v>Nicolas</c:v>
                </c:pt>
                <c:pt idx="4">
                  <c:v>Louis Marti</c:v>
                </c:pt>
                <c:pt idx="5">
                  <c:v>Nicolas</c:v>
                </c:pt>
              </c:strCache>
            </c:strRef>
          </c:cat>
          <c:val>
            <c:numRef>
              <c:f>Sheet1!$C$2:$C$7</c:f>
              <c:numCache>
                <c:formatCode>General</c:formatCode>
                <c:ptCount val="6"/>
                <c:pt idx="0">
                  <c:v>0.7339686011091151</c:v>
                </c:pt>
                <c:pt idx="1">
                  <c:v>0.92345544013121927</c:v>
                </c:pt>
                <c:pt idx="2">
                  <c:v>0.96641412169022889</c:v>
                </c:pt>
                <c:pt idx="3">
                  <c:v>0.98430055455752563</c:v>
                </c:pt>
                <c:pt idx="4">
                  <c:v>0.9941419979692259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B$2:$B$7</c:f>
              <c:numCache>
                <c:formatCode>General</c:formatCode>
                <c:ptCount val="6"/>
                <c:pt idx="0">
                  <c:v>0.96</c:v>
                </c:pt>
                <c:pt idx="1">
                  <c:v>0.62</c:v>
                </c:pt>
                <c:pt idx="2">
                  <c:v>0.55000000000000004</c:v>
                </c:pt>
                <c:pt idx="3">
                  <c:v>0.3</c:v>
                </c:pt>
                <c:pt idx="4">
                  <c:v>7.0000000000000007E-2</c:v>
                </c:pt>
                <c:pt idx="5">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C$2:$C$7</c:f>
              <c:numCache>
                <c:formatCode>General</c:formatCode>
                <c:ptCount val="6"/>
                <c:pt idx="0">
                  <c:v>0.66794395195882184</c:v>
                </c:pt>
                <c:pt idx="1">
                  <c:v>0.78676961204842244</c:v>
                </c:pt>
                <c:pt idx="2">
                  <c:v>0.89303212277189969</c:v>
                </c:pt>
                <c:pt idx="3">
                  <c:v>0.99557716137641783</c:v>
                </c:pt>
                <c:pt idx="4">
                  <c:v>0.99918024973787045</c:v>
                </c:pt>
                <c:pt idx="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B$2:$B$7</c:f>
              <c:numCache>
                <c:formatCode>General</c:formatCode>
                <c:ptCount val="6"/>
                <c:pt idx="0">
                  <c:v>0.88</c:v>
                </c:pt>
                <c:pt idx="1">
                  <c:v>0.38</c:v>
                </c:pt>
                <c:pt idx="2">
                  <c:v>0.55000000000000004</c:v>
                </c:pt>
                <c:pt idx="3">
                  <c:v>0.59</c:v>
                </c:pt>
                <c:pt idx="4">
                  <c:v>0.15</c:v>
                </c:pt>
                <c:pt idx="5">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C$2:$C$7</c:f>
              <c:numCache>
                <c:formatCode>General</c:formatCode>
                <c:ptCount val="6"/>
                <c:pt idx="0">
                  <c:v>0.66379571324775977</c:v>
                </c:pt>
                <c:pt idx="1">
                  <c:v>0.80096573020101725</c:v>
                </c:pt>
                <c:pt idx="2">
                  <c:v>0.93274703317994678</c:v>
                </c:pt>
                <c:pt idx="3">
                  <c:v>0.99205316057156701</c:v>
                </c:pt>
                <c:pt idx="4">
                  <c:v>0.99833494792928079</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1</c:v>
                </c:pt>
                <c:pt idx="1">
                  <c:v>0.56999999999999995</c:v>
                </c:pt>
                <c:pt idx="2">
                  <c:v>0.56000000000000005</c:v>
                </c:pt>
                <c:pt idx="3">
                  <c:v>0.61</c:v>
                </c:pt>
                <c:pt idx="4">
                  <c:v>0.13</c:v>
                </c:pt>
                <c:pt idx="5">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9514372433494021</c:v>
                </c:pt>
                <c:pt idx="1">
                  <c:v>0.83357882520978399</c:v>
                </c:pt>
                <c:pt idx="2">
                  <c:v>0.9208177111230138</c:v>
                </c:pt>
                <c:pt idx="3">
                  <c:v>0.98937689698268172</c:v>
                </c:pt>
                <c:pt idx="4">
                  <c:v>0.9961390823067309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B$2:$B$7</c:f>
              <c:numCache>
                <c:formatCode>General</c:formatCode>
                <c:ptCount val="6"/>
                <c:pt idx="0">
                  <c:v>0.82</c:v>
                </c:pt>
                <c:pt idx="1">
                  <c:v>0.8</c:v>
                </c:pt>
                <c:pt idx="2">
                  <c:v>0.63</c:v>
                </c:pt>
                <c:pt idx="3">
                  <c:v>0.53</c:v>
                </c:pt>
                <c:pt idx="4">
                  <c:v>0.28000000000000003</c:v>
                </c:pt>
                <c:pt idx="5">
                  <c:v>0.3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Moët &amp; Chan</c:v>
                </c:pt>
                <c:pt idx="3">
                  <c:v>Nicolas Feu</c:v>
                </c:pt>
                <c:pt idx="4">
                  <c:v>Canard Duch</c:v>
                </c:pt>
                <c:pt idx="5">
                  <c:v>Piper Heids</c:v>
                </c:pt>
              </c:strCache>
            </c:strRef>
          </c:cat>
          <c:val>
            <c:numRef>
              <c:f>Sheet1!$C$2:$C$7</c:f>
              <c:numCache>
                <c:formatCode>General</c:formatCode>
                <c:ptCount val="6"/>
                <c:pt idx="0">
                  <c:v>0.636853919482261</c:v>
                </c:pt>
                <c:pt idx="1">
                  <c:v>0.78302189312888082</c:v>
                </c:pt>
                <c:pt idx="2">
                  <c:v>0.8862490161210389</c:v>
                </c:pt>
                <c:pt idx="3">
                  <c:v>0.98863073200594687</c:v>
                </c:pt>
                <c:pt idx="4">
                  <c:v>0.99521907704865453</c:v>
                </c:pt>
                <c:pt idx="5">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1</c:v>
                </c:pt>
                <c:pt idx="1">
                  <c:v>0.45</c:v>
                </c:pt>
                <c:pt idx="2">
                  <c:v>0.56999999999999995</c:v>
                </c:pt>
                <c:pt idx="3">
                  <c:v>0.56999999999999995</c:v>
                </c:pt>
                <c:pt idx="4">
                  <c:v>0.28000000000000003</c:v>
                </c:pt>
                <c:pt idx="5">
                  <c:v>0.1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6165368243514577</c:v>
                </c:pt>
                <c:pt idx="1">
                  <c:v>0.77481728375230907</c:v>
                </c:pt>
                <c:pt idx="2">
                  <c:v>0.86725965785880654</c:v>
                </c:pt>
                <c:pt idx="3">
                  <c:v>0.95950124487992938</c:v>
                </c:pt>
                <c:pt idx="4">
                  <c:v>0.98684844590795928</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89</c:v>
                </c:pt>
                <c:pt idx="1">
                  <c:v>0.36</c:v>
                </c:pt>
                <c:pt idx="2">
                  <c:v>0.51</c:v>
                </c:pt>
                <c:pt idx="3">
                  <c:v>0.28000000000000003</c:v>
                </c:pt>
                <c:pt idx="4">
                  <c:v>0.14000000000000001</c:v>
                </c:pt>
                <c:pt idx="5">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73278557003347444</c:v>
                </c:pt>
                <c:pt idx="1">
                  <c:v>0.82969541040750272</c:v>
                </c:pt>
                <c:pt idx="2">
                  <c:v>0.92289816582288986</c:v>
                </c:pt>
                <c:pt idx="3">
                  <c:v>0.96467203364041276</c:v>
                </c:pt>
                <c:pt idx="4">
                  <c:v>0.9950203336376463</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93</c:v>
                </c:pt>
                <c:pt idx="1">
                  <c:v>0.55000000000000004</c:v>
                </c:pt>
                <c:pt idx="2">
                  <c:v>0.47</c:v>
                </c:pt>
                <c:pt idx="3">
                  <c:v>0.45</c:v>
                </c:pt>
                <c:pt idx="4">
                  <c:v>0.22</c:v>
                </c:pt>
                <c:pt idx="5">
                  <c:v>0.1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77029667437594707</c:v>
                </c:pt>
                <c:pt idx="1">
                  <c:v>0.92298030145944654</c:v>
                </c:pt>
                <c:pt idx="2">
                  <c:v>0.96048329212855887</c:v>
                </c:pt>
                <c:pt idx="3">
                  <c:v>0.9896921604593667</c:v>
                </c:pt>
                <c:pt idx="4">
                  <c:v>0.99722864662253763</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Bouvet-Ladubay</c:v>
                </c:pt>
                <c:pt idx="2">
                  <c:v>Mure</c:v>
                </c:pt>
                <c:pt idx="3">
                  <c:v>Patriarche</c:v>
                </c:pt>
                <c:pt idx="4">
                  <c:v>Savian</c:v>
                </c:pt>
                <c:pt idx="5">
                  <c:v>Chateau Moncontour</c:v>
                </c:pt>
                <c:pt idx="6">
                  <c:v>Kriter</c:v>
                </c:pt>
                <c:pt idx="7">
                  <c:v>De Chanceny</c:v>
                </c:pt>
                <c:pt idx="8">
                  <c:v>Contarini</c:v>
                </c:pt>
                <c:pt idx="9">
                  <c:v>Others</c:v>
                </c:pt>
              </c:strCache>
            </c:strRef>
          </c:cat>
          <c:val>
            <c:numRef>
              <c:f>Sheet1!$B$2:$B$11</c:f>
              <c:numCache>
                <c:formatCode>General</c:formatCode>
                <c:ptCount val="10"/>
                <c:pt idx="0">
                  <c:v>0.14234548719707824</c:v>
                </c:pt>
                <c:pt idx="1">
                  <c:v>0.11120079097641196</c:v>
                </c:pt>
                <c:pt idx="2">
                  <c:v>0.10395689985673641</c:v>
                </c:pt>
                <c:pt idx="3">
                  <c:v>9.6016868782663092E-2</c:v>
                </c:pt>
                <c:pt idx="4">
                  <c:v>3.9922113036986222E-2</c:v>
                </c:pt>
                <c:pt idx="5">
                  <c:v>3.639096834076555E-2</c:v>
                </c:pt>
                <c:pt idx="6">
                  <c:v>2.9439657781634012E-2</c:v>
                </c:pt>
                <c:pt idx="7">
                  <c:v>2.6977945479125891E-2</c:v>
                </c:pt>
                <c:pt idx="8">
                  <c:v>1.2510341209467504E-2</c:v>
                </c:pt>
                <c:pt idx="9">
                  <c:v>0.4012389273391311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Bouvet-Ladubay</c:v>
                </c:pt>
                <c:pt idx="2">
                  <c:v>Mure</c:v>
                </c:pt>
                <c:pt idx="3">
                  <c:v>Patriarche</c:v>
                </c:pt>
                <c:pt idx="4">
                  <c:v>Savian</c:v>
                </c:pt>
                <c:pt idx="5">
                  <c:v>Chateau Moncontour</c:v>
                </c:pt>
                <c:pt idx="6">
                  <c:v>Kriter</c:v>
                </c:pt>
                <c:pt idx="7">
                  <c:v>De Chanceny</c:v>
                </c:pt>
                <c:pt idx="8">
                  <c:v>Contarini</c:v>
                </c:pt>
                <c:pt idx="9">
                  <c:v>Others</c:v>
                </c:pt>
              </c:strCache>
            </c:strRef>
          </c:cat>
          <c:val>
            <c:numRef>
              <c:f>Sheet1!$C$2:$C$11</c:f>
              <c:numCache>
                <c:formatCode>General</c:formatCode>
                <c:ptCount val="10"/>
                <c:pt idx="0">
                  <c:v>8.1339712918660309E-2</c:v>
                </c:pt>
                <c:pt idx="1">
                  <c:v>8.3732057416267977E-2</c:v>
                </c:pt>
                <c:pt idx="2">
                  <c:v>4.605263157894738E-2</c:v>
                </c:pt>
                <c:pt idx="3">
                  <c:v>9.8086124401913916E-2</c:v>
                </c:pt>
                <c:pt idx="4">
                  <c:v>5.4425837320574183E-2</c:v>
                </c:pt>
                <c:pt idx="5">
                  <c:v>5.2033492822966522E-2</c:v>
                </c:pt>
                <c:pt idx="6">
                  <c:v>4.545454545454547E-2</c:v>
                </c:pt>
                <c:pt idx="7">
                  <c:v>3.1100478468899531E-2</c:v>
                </c:pt>
                <c:pt idx="8">
                  <c:v>5.8014354066985657E-2</c:v>
                </c:pt>
                <c:pt idx="9">
                  <c:v>0.4497607655502393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Bouvet-Ladubay</c:v>
                </c:pt>
                <c:pt idx="2">
                  <c:v>Mure</c:v>
                </c:pt>
                <c:pt idx="3">
                  <c:v>Patriarche</c:v>
                </c:pt>
                <c:pt idx="4">
                  <c:v>Savian</c:v>
                </c:pt>
                <c:pt idx="5">
                  <c:v>Chateau Moncontour</c:v>
                </c:pt>
                <c:pt idx="6">
                  <c:v>Kriter</c:v>
                </c:pt>
                <c:pt idx="7">
                  <c:v>De Chanceny</c:v>
                </c:pt>
                <c:pt idx="8">
                  <c:v>Contarini</c:v>
                </c:pt>
                <c:pt idx="9">
                  <c:v>Others</c:v>
                </c:pt>
              </c:strCache>
            </c:strRef>
          </c:cat>
          <c:val>
            <c:numRef>
              <c:f>Sheet1!$D$2:$D$11</c:f>
              <c:numCache>
                <c:formatCode>General</c:formatCode>
                <c:ptCount val="10"/>
                <c:pt idx="0">
                  <c:v>57.142459884270835</c:v>
                </c:pt>
                <c:pt idx="1">
                  <c:v>75.298077181869445</c:v>
                </c:pt>
                <c:pt idx="2">
                  <c:v>44.299735411899327</c:v>
                </c:pt>
                <c:pt idx="3">
                  <c:v>102.1550959175045</c:v>
                </c:pt>
                <c:pt idx="4">
                  <c:v>136.3300516436864</c:v>
                </c:pt>
                <c:pt idx="5">
                  <c:v>142.98463381277503</c:v>
                </c:pt>
                <c:pt idx="6">
                  <c:v>154.39902797682103</c:v>
                </c:pt>
                <c:pt idx="7">
                  <c:v>115.28112284519013</c:v>
                </c:pt>
                <c:pt idx="8">
                  <c:v>463.73118922673262</c:v>
                </c:pt>
                <c:pt idx="9">
                  <c:v>112.093003670627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B$2:$B$7</c:f>
              <c:numCache>
                <c:formatCode>General</c:formatCode>
                <c:ptCount val="6"/>
                <c:pt idx="0">
                  <c:v>0.93</c:v>
                </c:pt>
                <c:pt idx="1">
                  <c:v>0.36</c:v>
                </c:pt>
                <c:pt idx="2">
                  <c:v>0.22</c:v>
                </c:pt>
                <c:pt idx="3">
                  <c:v>0.27</c:v>
                </c:pt>
                <c:pt idx="4">
                  <c:v>0.45</c:v>
                </c:pt>
                <c:pt idx="5">
                  <c:v>0.2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Canard Duch</c:v>
                </c:pt>
                <c:pt idx="5">
                  <c:v>Piper Heids</c:v>
                </c:pt>
              </c:strCache>
            </c:strRef>
          </c:cat>
          <c:val>
            <c:numRef>
              <c:f>Sheet1!$C$2:$C$7</c:f>
              <c:numCache>
                <c:formatCode>General</c:formatCode>
                <c:ptCount val="6"/>
                <c:pt idx="0">
                  <c:v>0.85043167896589977</c:v>
                </c:pt>
                <c:pt idx="1">
                  <c:v>0.90729754497660731</c:v>
                </c:pt>
                <c:pt idx="2">
                  <c:v>0.94626923262431872</c:v>
                </c:pt>
                <c:pt idx="3">
                  <c:v>0.97289345487869583</c:v>
                </c:pt>
                <c:pt idx="4">
                  <c:v>0.98750783774658757</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Nicolas Feu</c:v>
                </c:pt>
                <c:pt idx="2">
                  <c:v>Moët &amp; Chan</c:v>
                </c:pt>
                <c:pt idx="3">
                  <c:v>Moët &amp; Chan</c:v>
                </c:pt>
                <c:pt idx="4">
                  <c:v>Piper Heids</c:v>
                </c:pt>
                <c:pt idx="5">
                  <c:v>Canard Duch</c:v>
                </c:pt>
              </c:strCache>
            </c:strRef>
          </c:cat>
          <c:val>
            <c:numRef>
              <c:f>Sheet1!$B$2:$B$7</c:f>
              <c:numCache>
                <c:formatCode>General</c:formatCode>
                <c:ptCount val="6"/>
                <c:pt idx="0">
                  <c:v>1</c:v>
                </c:pt>
                <c:pt idx="1">
                  <c:v>0.56999999999999995</c:v>
                </c:pt>
                <c:pt idx="2">
                  <c:v>0.5</c:v>
                </c:pt>
                <c:pt idx="3">
                  <c:v>0.31</c:v>
                </c:pt>
                <c:pt idx="4">
                  <c:v>0.41</c:v>
                </c:pt>
                <c:pt idx="5">
                  <c:v>0.1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Nicolas Feu</c:v>
                </c:pt>
                <c:pt idx="2">
                  <c:v>Moët &amp; Chan</c:v>
                </c:pt>
                <c:pt idx="3">
                  <c:v>Moët &amp; Chan</c:v>
                </c:pt>
                <c:pt idx="4">
                  <c:v>Piper Heids</c:v>
                </c:pt>
                <c:pt idx="5">
                  <c:v>Canard Duch</c:v>
                </c:pt>
              </c:strCache>
            </c:strRef>
          </c:cat>
          <c:val>
            <c:numRef>
              <c:f>Sheet1!$C$2:$C$7</c:f>
              <c:numCache>
                <c:formatCode>General</c:formatCode>
                <c:ptCount val="6"/>
                <c:pt idx="0">
                  <c:v>0.73463030071841817</c:v>
                </c:pt>
                <c:pt idx="1">
                  <c:v>0.8954161103693814</c:v>
                </c:pt>
                <c:pt idx="2">
                  <c:v>0.93057409879839792</c:v>
                </c:pt>
                <c:pt idx="3">
                  <c:v>0.95975586496280763</c:v>
                </c:pt>
                <c:pt idx="4">
                  <c:v>0.98308856252781496</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Nicolas Feu</c:v>
                </c:pt>
                <c:pt idx="1">
                  <c:v>Moët &amp; Chan</c:v>
                </c:pt>
                <c:pt idx="2">
                  <c:v>Moët &amp; Chan</c:v>
                </c:pt>
                <c:pt idx="3">
                  <c:v>Nicolas Feu</c:v>
                </c:pt>
                <c:pt idx="4">
                  <c:v>Canard Duch</c:v>
                </c:pt>
              </c:strCache>
            </c:strRef>
          </c:cat>
          <c:val>
            <c:numRef>
              <c:f>Sheet1!$B$2:$B$6</c:f>
              <c:numCache>
                <c:formatCode>General</c:formatCode>
                <c:ptCount val="5"/>
                <c:pt idx="0">
                  <c:v>0.96</c:v>
                </c:pt>
                <c:pt idx="1">
                  <c:v>0.5</c:v>
                </c:pt>
                <c:pt idx="2">
                  <c:v>0.47</c:v>
                </c:pt>
                <c:pt idx="3">
                  <c:v>0.64</c:v>
                </c:pt>
                <c:pt idx="4">
                  <c:v>0.3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Nicolas Feu</c:v>
                </c:pt>
                <c:pt idx="1">
                  <c:v>Moët &amp; Chan</c:v>
                </c:pt>
                <c:pt idx="2">
                  <c:v>Moët &amp; Chan</c:v>
                </c:pt>
                <c:pt idx="3">
                  <c:v>Nicolas Feu</c:v>
                </c:pt>
                <c:pt idx="4">
                  <c:v>Canard Duch</c:v>
                </c:pt>
              </c:strCache>
            </c:strRef>
          </c:cat>
          <c:val>
            <c:numRef>
              <c:f>Sheet1!$C$2:$C$6</c:f>
              <c:numCache>
                <c:formatCode>General</c:formatCode>
                <c:ptCount val="5"/>
                <c:pt idx="0">
                  <c:v>0.52961504460339148</c:v>
                </c:pt>
                <c:pt idx="1">
                  <c:v>0.72546813469420557</c:v>
                </c:pt>
                <c:pt idx="2">
                  <c:v>0.84674113959656028</c:v>
                </c:pt>
                <c:pt idx="3">
                  <c:v>0.96367435505906929</c:v>
                </c:pt>
                <c:pt idx="4">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B$2:$B$7</c:f>
              <c:numCache>
                <c:formatCode>General</c:formatCode>
                <c:ptCount val="6"/>
                <c:pt idx="0">
                  <c:v>0.96</c:v>
                </c:pt>
                <c:pt idx="1">
                  <c:v>0.32</c:v>
                </c:pt>
                <c:pt idx="2">
                  <c:v>0.66</c:v>
                </c:pt>
                <c:pt idx="3">
                  <c:v>0.45</c:v>
                </c:pt>
                <c:pt idx="4">
                  <c:v>0.85</c:v>
                </c:pt>
                <c:pt idx="5">
                  <c:v>0.2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Nicolas Feu</c:v>
                </c:pt>
                <c:pt idx="1">
                  <c:v>Moët &amp; Chan</c:v>
                </c:pt>
                <c:pt idx="2">
                  <c:v>Nicolas Feu</c:v>
                </c:pt>
                <c:pt idx="3">
                  <c:v>Moët &amp; Chan</c:v>
                </c:pt>
                <c:pt idx="4">
                  <c:v>Canard Duch</c:v>
                </c:pt>
                <c:pt idx="5">
                  <c:v>Piper Heids</c:v>
                </c:pt>
              </c:strCache>
            </c:strRef>
          </c:cat>
          <c:val>
            <c:numRef>
              <c:f>Sheet1!$C$2:$C$7</c:f>
              <c:numCache>
                <c:formatCode>General</c:formatCode>
                <c:ptCount val="6"/>
                <c:pt idx="0">
                  <c:v>0.68076003523342143</c:v>
                </c:pt>
                <c:pt idx="1">
                  <c:v>0.7943878193028816</c:v>
                </c:pt>
                <c:pt idx="2">
                  <c:v>0.89757141059519319</c:v>
                </c:pt>
                <c:pt idx="3">
                  <c:v>0.9718132628664905</c:v>
                </c:pt>
                <c:pt idx="4">
                  <c:v>0.99559582232288912</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Dom Perigno</c:v>
                </c:pt>
                <c:pt idx="1">
                  <c:v>Dom Perigno</c:v>
                </c:pt>
                <c:pt idx="2">
                  <c:v>Roederer</c:v>
                </c:pt>
                <c:pt idx="3">
                  <c:v>Malard</c:v>
                </c:pt>
                <c:pt idx="4">
                  <c:v>Roederer</c:v>
                </c:pt>
                <c:pt idx="5">
                  <c:v>Ruinart</c:v>
                </c:pt>
                <c:pt idx="6">
                  <c:v>Dom Perigno</c:v>
                </c:pt>
                <c:pt idx="7">
                  <c:v>Perrier Jou</c:v>
                </c:pt>
                <c:pt idx="8">
                  <c:v>Roederer</c:v>
                </c:pt>
                <c:pt idx="9">
                  <c:v>Roederer</c:v>
                </c:pt>
                <c:pt idx="10">
                  <c:v>Roederer</c:v>
                </c:pt>
                <c:pt idx="11">
                  <c:v>Roederer</c:v>
                </c:pt>
                <c:pt idx="12">
                  <c:v>Dom Perigno</c:v>
                </c:pt>
                <c:pt idx="13">
                  <c:v>Ruinart</c:v>
                </c:pt>
                <c:pt idx="14">
                  <c:v>Laurent Per</c:v>
                </c:pt>
                <c:pt idx="15">
                  <c:v>Bollinger</c:v>
                </c:pt>
                <c:pt idx="16">
                  <c:v>Roederer</c:v>
                </c:pt>
                <c:pt idx="17">
                  <c:v>Ruinart</c:v>
                </c:pt>
                <c:pt idx="18">
                  <c:v>Dom Perigno</c:v>
                </c:pt>
                <c:pt idx="19">
                  <c:v>Dom Perigno</c:v>
                </c:pt>
                <c:pt idx="20">
                  <c:v>Roederer</c:v>
                </c:pt>
                <c:pt idx="21">
                  <c:v>Piper Heids</c:v>
                </c:pt>
                <c:pt idx="22">
                  <c:v>Roederer</c:v>
                </c:pt>
                <c:pt idx="23">
                  <c:v>Krug</c:v>
                </c:pt>
                <c:pt idx="24">
                  <c:v>Pommery</c:v>
                </c:pt>
                <c:pt idx="25">
                  <c:v>Bollinger</c:v>
                </c:pt>
                <c:pt idx="26">
                  <c:v>Bollinger</c:v>
                </c:pt>
                <c:pt idx="27">
                  <c:v>Bollinger</c:v>
                </c:pt>
                <c:pt idx="28">
                  <c:v>Roederer</c:v>
                </c:pt>
                <c:pt idx="29">
                  <c:v>Ruinart</c:v>
                </c:pt>
                <c:pt idx="30">
                  <c:v>Roederer</c:v>
                </c:pt>
                <c:pt idx="31">
                  <c:v>De Venoge</c:v>
                </c:pt>
                <c:pt idx="32">
                  <c:v>All Others</c:v>
                </c:pt>
                <c:pt idx="33">
                  <c:v>Piper Heids</c:v>
                </c:pt>
                <c:pt idx="34">
                  <c:v>All Others</c:v>
                </c:pt>
                <c:pt idx="35">
                  <c:v>All Others</c:v>
                </c:pt>
                <c:pt idx="36">
                  <c:v>Lanson</c:v>
                </c:pt>
                <c:pt idx="37">
                  <c:v>Deutz</c:v>
                </c:pt>
                <c:pt idx="38">
                  <c:v>Veuve Clicq</c:v>
                </c:pt>
                <c:pt idx="39">
                  <c:v>Pommery</c:v>
                </c:pt>
                <c:pt idx="40">
                  <c:v>Piper Heids</c:v>
                </c:pt>
                <c:pt idx="41">
                  <c:v>Bollinger</c:v>
                </c:pt>
                <c:pt idx="42">
                  <c:v>Malard</c:v>
                </c:pt>
                <c:pt idx="43">
                  <c:v>Vesselle</c:v>
                </c:pt>
                <c:pt idx="44">
                  <c:v>Roederer</c:v>
                </c:pt>
                <c:pt idx="45">
                  <c:v>Ruinart</c:v>
                </c:pt>
                <c:pt idx="46">
                  <c:v>Laurent Per</c:v>
                </c:pt>
                <c:pt idx="47">
                  <c:v>Malard</c:v>
                </c:pt>
                <c:pt idx="48">
                  <c:v>Vesselle</c:v>
                </c:pt>
              </c:strCache>
            </c:strRef>
          </c:cat>
          <c:val>
            <c:numRef>
              <c:f>Sheet1!$B$2:$B$50</c:f>
              <c:numCache>
                <c:formatCode>General</c:formatCode>
                <c:ptCount val="49"/>
                <c:pt idx="0">
                  <c:v>0.49</c:v>
                </c:pt>
                <c:pt idx="1">
                  <c:v>0.56999999999999995</c:v>
                </c:pt>
                <c:pt idx="2">
                  <c:v>0.36</c:v>
                </c:pt>
                <c:pt idx="3">
                  <c:v>0.43</c:v>
                </c:pt>
                <c:pt idx="4">
                  <c:v>0.28000000000000003</c:v>
                </c:pt>
                <c:pt idx="5">
                  <c:v>0.19</c:v>
                </c:pt>
                <c:pt idx="6">
                  <c:v>0.19</c:v>
                </c:pt>
                <c:pt idx="7">
                  <c:v>0.24</c:v>
                </c:pt>
                <c:pt idx="8">
                  <c:v>0.3</c:v>
                </c:pt>
                <c:pt idx="9">
                  <c:v>0.36</c:v>
                </c:pt>
                <c:pt idx="10">
                  <c:v>0.34</c:v>
                </c:pt>
                <c:pt idx="11">
                  <c:v>0.39</c:v>
                </c:pt>
                <c:pt idx="12">
                  <c:v>0.2</c:v>
                </c:pt>
                <c:pt idx="13">
                  <c:v>0.16</c:v>
                </c:pt>
                <c:pt idx="14">
                  <c:v>0.32</c:v>
                </c:pt>
                <c:pt idx="15">
                  <c:v>0.53</c:v>
                </c:pt>
                <c:pt idx="16">
                  <c:v>0.36</c:v>
                </c:pt>
                <c:pt idx="17">
                  <c:v>0.13</c:v>
                </c:pt>
                <c:pt idx="18">
                  <c:v>0.39</c:v>
                </c:pt>
                <c:pt idx="19">
                  <c:v>0.15</c:v>
                </c:pt>
                <c:pt idx="20">
                  <c:v>0.04</c:v>
                </c:pt>
                <c:pt idx="21">
                  <c:v>0.08</c:v>
                </c:pt>
                <c:pt idx="22">
                  <c:v>0.06</c:v>
                </c:pt>
                <c:pt idx="23">
                  <c:v>0.3</c:v>
                </c:pt>
                <c:pt idx="24">
                  <c:v>0.26</c:v>
                </c:pt>
                <c:pt idx="25">
                  <c:v>0.39</c:v>
                </c:pt>
                <c:pt idx="26">
                  <c:v>0.05</c:v>
                </c:pt>
                <c:pt idx="27">
                  <c:v>0.08</c:v>
                </c:pt>
                <c:pt idx="28">
                  <c:v>0.06</c:v>
                </c:pt>
                <c:pt idx="29">
                  <c:v>0.05</c:v>
                </c:pt>
                <c:pt idx="30">
                  <c:v>0.09</c:v>
                </c:pt>
                <c:pt idx="31">
                  <c:v>0.15</c:v>
                </c:pt>
                <c:pt idx="32">
                  <c:v>0.02</c:v>
                </c:pt>
                <c:pt idx="33">
                  <c:v>0.02</c:v>
                </c:pt>
                <c:pt idx="34">
                  <c:v>0.04</c:v>
                </c:pt>
                <c:pt idx="35">
                  <c:v>0.04</c:v>
                </c:pt>
                <c:pt idx="36">
                  <c:v>7.0000000000000007E-2</c:v>
                </c:pt>
                <c:pt idx="37">
                  <c:v>0.03</c:v>
                </c:pt>
                <c:pt idx="38">
                  <c:v>0.05</c:v>
                </c:pt>
                <c:pt idx="39">
                  <c:v>0.02</c:v>
                </c:pt>
                <c:pt idx="40">
                  <c:v>0.08</c:v>
                </c:pt>
                <c:pt idx="41">
                  <c:v>0.04</c:v>
                </c:pt>
                <c:pt idx="42">
                  <c:v>0.01</c:v>
                </c:pt>
                <c:pt idx="43">
                  <c:v>0.39</c:v>
                </c:pt>
                <c:pt idx="44">
                  <c:v>0.08</c:v>
                </c:pt>
                <c:pt idx="45">
                  <c:v>0.06</c:v>
                </c:pt>
                <c:pt idx="46">
                  <c:v>0.02</c:v>
                </c:pt>
                <c:pt idx="47">
                  <c:v>0.03</c:v>
                </c:pt>
                <c:pt idx="48">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Dom Perigno</c:v>
                </c:pt>
                <c:pt idx="1">
                  <c:v>Dom Perigno</c:v>
                </c:pt>
                <c:pt idx="2">
                  <c:v>Roederer</c:v>
                </c:pt>
                <c:pt idx="3">
                  <c:v>Malard</c:v>
                </c:pt>
                <c:pt idx="4">
                  <c:v>Roederer</c:v>
                </c:pt>
                <c:pt idx="5">
                  <c:v>Ruinart</c:v>
                </c:pt>
                <c:pt idx="6">
                  <c:v>Dom Perigno</c:v>
                </c:pt>
                <c:pt idx="7">
                  <c:v>Perrier Jou</c:v>
                </c:pt>
                <c:pt idx="8">
                  <c:v>Roederer</c:v>
                </c:pt>
                <c:pt idx="9">
                  <c:v>Roederer</c:v>
                </c:pt>
                <c:pt idx="10">
                  <c:v>Roederer</c:v>
                </c:pt>
                <c:pt idx="11">
                  <c:v>Roederer</c:v>
                </c:pt>
                <c:pt idx="12">
                  <c:v>Dom Perigno</c:v>
                </c:pt>
                <c:pt idx="13">
                  <c:v>Ruinart</c:v>
                </c:pt>
                <c:pt idx="14">
                  <c:v>Laurent Per</c:v>
                </c:pt>
                <c:pt idx="15">
                  <c:v>Bollinger</c:v>
                </c:pt>
                <c:pt idx="16">
                  <c:v>Roederer</c:v>
                </c:pt>
                <c:pt idx="17">
                  <c:v>Ruinart</c:v>
                </c:pt>
                <c:pt idx="18">
                  <c:v>Dom Perigno</c:v>
                </c:pt>
                <c:pt idx="19">
                  <c:v>Dom Perigno</c:v>
                </c:pt>
                <c:pt idx="20">
                  <c:v>Roederer</c:v>
                </c:pt>
                <c:pt idx="21">
                  <c:v>Piper Heids</c:v>
                </c:pt>
                <c:pt idx="22">
                  <c:v>Roederer</c:v>
                </c:pt>
                <c:pt idx="23">
                  <c:v>Krug</c:v>
                </c:pt>
                <c:pt idx="24">
                  <c:v>Pommery</c:v>
                </c:pt>
                <c:pt idx="25">
                  <c:v>Bollinger</c:v>
                </c:pt>
                <c:pt idx="26">
                  <c:v>Bollinger</c:v>
                </c:pt>
                <c:pt idx="27">
                  <c:v>Bollinger</c:v>
                </c:pt>
                <c:pt idx="28">
                  <c:v>Roederer</c:v>
                </c:pt>
                <c:pt idx="29">
                  <c:v>Ruinart</c:v>
                </c:pt>
                <c:pt idx="30">
                  <c:v>Roederer</c:v>
                </c:pt>
                <c:pt idx="31">
                  <c:v>De Venoge</c:v>
                </c:pt>
                <c:pt idx="32">
                  <c:v>All Others</c:v>
                </c:pt>
                <c:pt idx="33">
                  <c:v>Piper Heids</c:v>
                </c:pt>
                <c:pt idx="34">
                  <c:v>All Others</c:v>
                </c:pt>
                <c:pt idx="35">
                  <c:v>All Others</c:v>
                </c:pt>
                <c:pt idx="36">
                  <c:v>Lanson</c:v>
                </c:pt>
                <c:pt idx="37">
                  <c:v>Deutz</c:v>
                </c:pt>
                <c:pt idx="38">
                  <c:v>Veuve Clicq</c:v>
                </c:pt>
                <c:pt idx="39">
                  <c:v>Pommery</c:v>
                </c:pt>
                <c:pt idx="40">
                  <c:v>Piper Heids</c:v>
                </c:pt>
                <c:pt idx="41">
                  <c:v>Bollinger</c:v>
                </c:pt>
                <c:pt idx="42">
                  <c:v>Malard</c:v>
                </c:pt>
                <c:pt idx="43">
                  <c:v>Vesselle</c:v>
                </c:pt>
                <c:pt idx="44">
                  <c:v>Roederer</c:v>
                </c:pt>
                <c:pt idx="45">
                  <c:v>Ruinart</c:v>
                </c:pt>
                <c:pt idx="46">
                  <c:v>Laurent Per</c:v>
                </c:pt>
                <c:pt idx="47">
                  <c:v>Malard</c:v>
                </c:pt>
                <c:pt idx="48">
                  <c:v>Vesselle</c:v>
                </c:pt>
              </c:strCache>
            </c:strRef>
          </c:cat>
          <c:val>
            <c:numRef>
              <c:f>Sheet1!$C$2:$C$50</c:f>
              <c:numCache>
                <c:formatCode>General</c:formatCode>
                <c:ptCount val="49"/>
                <c:pt idx="0">
                  <c:v>0.27537806894018246</c:v>
                </c:pt>
                <c:pt idx="1">
                  <c:v>0.49193350884711934</c:v>
                </c:pt>
                <c:pt idx="2">
                  <c:v>0.59795352966387072</c:v>
                </c:pt>
                <c:pt idx="3">
                  <c:v>0.64290852874548465</c:v>
                </c:pt>
                <c:pt idx="4">
                  <c:v>0.67913885997673429</c:v>
                </c:pt>
                <c:pt idx="5">
                  <c:v>0.71474928059756326</c:v>
                </c:pt>
                <c:pt idx="6">
                  <c:v>0.742094226412784</c:v>
                </c:pt>
                <c:pt idx="7">
                  <c:v>0.76679115900324502</c:v>
                </c:pt>
                <c:pt idx="8">
                  <c:v>0.79009520602461281</c:v>
                </c:pt>
                <c:pt idx="9">
                  <c:v>0.81299363252311274</c:v>
                </c:pt>
                <c:pt idx="10">
                  <c:v>0.83575430110818594</c:v>
                </c:pt>
                <c:pt idx="11">
                  <c:v>0.85787209943060072</c:v>
                </c:pt>
                <c:pt idx="12">
                  <c:v>0.87671432070042254</c:v>
                </c:pt>
                <c:pt idx="13">
                  <c:v>0.89509734892548831</c:v>
                </c:pt>
                <c:pt idx="14">
                  <c:v>0.90885783383334362</c:v>
                </c:pt>
                <c:pt idx="15">
                  <c:v>0.91894477438315081</c:v>
                </c:pt>
                <c:pt idx="16">
                  <c:v>0.92621533092512109</c:v>
                </c:pt>
                <c:pt idx="17">
                  <c:v>0.93295016224820937</c:v>
                </c:pt>
                <c:pt idx="18">
                  <c:v>0.93830741443702959</c:v>
                </c:pt>
                <c:pt idx="19">
                  <c:v>0.9436646666258498</c:v>
                </c:pt>
                <c:pt idx="20">
                  <c:v>0.94866987081369036</c:v>
                </c:pt>
                <c:pt idx="21">
                  <c:v>0.9524964795199905</c:v>
                </c:pt>
                <c:pt idx="22">
                  <c:v>0.95597869344272357</c:v>
                </c:pt>
                <c:pt idx="23">
                  <c:v>0.95943794771321889</c:v>
                </c:pt>
                <c:pt idx="24">
                  <c:v>0.96277475050511263</c:v>
                </c:pt>
                <c:pt idx="25">
                  <c:v>0.96589726320945357</c:v>
                </c:pt>
                <c:pt idx="26">
                  <c:v>0.96895089695708103</c:v>
                </c:pt>
                <c:pt idx="27">
                  <c:v>0.97184381313904389</c:v>
                </c:pt>
                <c:pt idx="28">
                  <c:v>0.97462958427723034</c:v>
                </c:pt>
                <c:pt idx="29">
                  <c:v>0.97726229106716478</c:v>
                </c:pt>
                <c:pt idx="30">
                  <c:v>0.97927508724667867</c:v>
                </c:pt>
                <c:pt idx="31">
                  <c:v>0.98124961733912952</c:v>
                </c:pt>
                <c:pt idx="32">
                  <c:v>0.98320118777934262</c:v>
                </c:pt>
                <c:pt idx="33">
                  <c:v>0.98507622604542966</c:v>
                </c:pt>
                <c:pt idx="34">
                  <c:v>0.98685177248515288</c:v>
                </c:pt>
                <c:pt idx="35">
                  <c:v>0.98858139962040059</c:v>
                </c:pt>
                <c:pt idx="36">
                  <c:v>0.99002785771138202</c:v>
                </c:pt>
                <c:pt idx="37">
                  <c:v>0.99139013041082491</c:v>
                </c:pt>
                <c:pt idx="38">
                  <c:v>0.99272944345802994</c:v>
                </c:pt>
                <c:pt idx="39">
                  <c:v>0.99402283720075935</c:v>
                </c:pt>
                <c:pt idx="40">
                  <c:v>0.99514786016041157</c:v>
                </c:pt>
                <c:pt idx="41">
                  <c:v>0.99602798016286065</c:v>
                </c:pt>
                <c:pt idx="42">
                  <c:v>0.99689279373048445</c:v>
                </c:pt>
                <c:pt idx="43">
                  <c:v>0.99765046225433185</c:v>
                </c:pt>
                <c:pt idx="44">
                  <c:v>0.99837751790852891</c:v>
                </c:pt>
                <c:pt idx="45">
                  <c:v>0.99901273495377474</c:v>
                </c:pt>
                <c:pt idx="46">
                  <c:v>0.9994719279985308</c:v>
                </c:pt>
                <c:pt idx="47">
                  <c:v>0.99976275026020955</c:v>
                </c:pt>
                <c:pt idx="4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Dom Perigno</c:v>
                </c:pt>
                <c:pt idx="1">
                  <c:v>Dom Perigno</c:v>
                </c:pt>
                <c:pt idx="2">
                  <c:v>Roederer</c:v>
                </c:pt>
                <c:pt idx="3">
                  <c:v>Malard</c:v>
                </c:pt>
                <c:pt idx="4">
                  <c:v>Ruinart</c:v>
                </c:pt>
                <c:pt idx="5">
                  <c:v>Roederer</c:v>
                </c:pt>
                <c:pt idx="6">
                  <c:v>Dom Perigno</c:v>
                </c:pt>
                <c:pt idx="7">
                  <c:v>Roederer</c:v>
                </c:pt>
                <c:pt idx="8">
                  <c:v>Roederer</c:v>
                </c:pt>
                <c:pt idx="9">
                  <c:v>Piper Heids</c:v>
                </c:pt>
                <c:pt idx="10">
                  <c:v>Bollinger</c:v>
                </c:pt>
                <c:pt idx="11">
                  <c:v>Perrier Jou</c:v>
                </c:pt>
                <c:pt idx="12">
                  <c:v>Laurent Per</c:v>
                </c:pt>
                <c:pt idx="13">
                  <c:v>Ruinart</c:v>
                </c:pt>
                <c:pt idx="14">
                  <c:v>Ruinart</c:v>
                </c:pt>
                <c:pt idx="15">
                  <c:v>Bollinger</c:v>
                </c:pt>
                <c:pt idx="16">
                  <c:v>Ruinart</c:v>
                </c:pt>
                <c:pt idx="17">
                  <c:v>Dom Perigno</c:v>
                </c:pt>
                <c:pt idx="18">
                  <c:v>Roederer</c:v>
                </c:pt>
                <c:pt idx="19">
                  <c:v>Piper Heids</c:v>
                </c:pt>
                <c:pt idx="20">
                  <c:v>Pommery</c:v>
                </c:pt>
                <c:pt idx="21">
                  <c:v>De Venoge</c:v>
                </c:pt>
                <c:pt idx="22">
                  <c:v>De Venoge</c:v>
                </c:pt>
                <c:pt idx="23">
                  <c:v>Roederer</c:v>
                </c:pt>
                <c:pt idx="24">
                  <c:v>All Others</c:v>
                </c:pt>
                <c:pt idx="25">
                  <c:v>Laurent Per</c:v>
                </c:pt>
                <c:pt idx="26">
                  <c:v>All Others</c:v>
                </c:pt>
                <c:pt idx="27">
                  <c:v>Roederer</c:v>
                </c:pt>
                <c:pt idx="28">
                  <c:v>Perrier Jou</c:v>
                </c:pt>
                <c:pt idx="29">
                  <c:v>Roederer</c:v>
                </c:pt>
                <c:pt idx="30">
                  <c:v>Ruinart</c:v>
                </c:pt>
                <c:pt idx="31">
                  <c:v>Laurent Per</c:v>
                </c:pt>
                <c:pt idx="32">
                  <c:v>Roederer</c:v>
                </c:pt>
                <c:pt idx="33">
                  <c:v>Malard</c:v>
                </c:pt>
                <c:pt idx="34">
                  <c:v>Malard</c:v>
                </c:pt>
                <c:pt idx="35">
                  <c:v>Vesselle</c:v>
                </c:pt>
                <c:pt idx="36">
                  <c:v>Vranken</c:v>
                </c:pt>
                <c:pt idx="37">
                  <c:v>Vesselle</c:v>
                </c:pt>
              </c:strCache>
            </c:strRef>
          </c:cat>
          <c:val>
            <c:numRef>
              <c:f>Sheet1!$B$2:$B$39</c:f>
              <c:numCache>
                <c:formatCode>General</c:formatCode>
                <c:ptCount val="38"/>
                <c:pt idx="0">
                  <c:v>0.47</c:v>
                </c:pt>
                <c:pt idx="1">
                  <c:v>0.59</c:v>
                </c:pt>
                <c:pt idx="2">
                  <c:v>0.41</c:v>
                </c:pt>
                <c:pt idx="3">
                  <c:v>0.31</c:v>
                </c:pt>
                <c:pt idx="4">
                  <c:v>0.2</c:v>
                </c:pt>
                <c:pt idx="5">
                  <c:v>0.24</c:v>
                </c:pt>
                <c:pt idx="6">
                  <c:v>0.14000000000000001</c:v>
                </c:pt>
                <c:pt idx="7">
                  <c:v>0.31</c:v>
                </c:pt>
                <c:pt idx="8">
                  <c:v>0.13</c:v>
                </c:pt>
                <c:pt idx="9">
                  <c:v>0.13</c:v>
                </c:pt>
                <c:pt idx="10">
                  <c:v>0.17</c:v>
                </c:pt>
                <c:pt idx="11">
                  <c:v>0.15</c:v>
                </c:pt>
                <c:pt idx="12">
                  <c:v>0.22</c:v>
                </c:pt>
                <c:pt idx="13">
                  <c:v>0.1</c:v>
                </c:pt>
                <c:pt idx="14">
                  <c:v>0.12</c:v>
                </c:pt>
                <c:pt idx="15">
                  <c:v>7.0000000000000007E-2</c:v>
                </c:pt>
                <c:pt idx="16">
                  <c:v>0.12</c:v>
                </c:pt>
                <c:pt idx="17">
                  <c:v>0.1</c:v>
                </c:pt>
                <c:pt idx="18">
                  <c:v>0.12</c:v>
                </c:pt>
                <c:pt idx="19">
                  <c:v>0.09</c:v>
                </c:pt>
                <c:pt idx="20">
                  <c:v>0.03</c:v>
                </c:pt>
                <c:pt idx="21">
                  <c:v>0.12</c:v>
                </c:pt>
                <c:pt idx="22">
                  <c:v>0.05</c:v>
                </c:pt>
                <c:pt idx="23">
                  <c:v>0.04</c:v>
                </c:pt>
                <c:pt idx="24">
                  <c:v>0.15</c:v>
                </c:pt>
                <c:pt idx="25">
                  <c:v>0.18</c:v>
                </c:pt>
                <c:pt idx="26">
                  <c:v>7.0000000000000007E-2</c:v>
                </c:pt>
                <c:pt idx="27">
                  <c:v>0.04</c:v>
                </c:pt>
                <c:pt idx="28">
                  <c:v>0.05</c:v>
                </c:pt>
                <c:pt idx="29">
                  <c:v>0.22</c:v>
                </c:pt>
                <c:pt idx="30">
                  <c:v>7.0000000000000007E-2</c:v>
                </c:pt>
                <c:pt idx="31">
                  <c:v>0.04</c:v>
                </c:pt>
                <c:pt idx="32">
                  <c:v>0.04</c:v>
                </c:pt>
                <c:pt idx="33">
                  <c:v>0.04</c:v>
                </c:pt>
                <c:pt idx="34">
                  <c:v>0.04</c:v>
                </c:pt>
                <c:pt idx="35">
                  <c:v>0.02</c:v>
                </c:pt>
                <c:pt idx="36">
                  <c:v>7.0000000000000007E-2</c:v>
                </c:pt>
                <c:pt idx="37">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Dom Perigno</c:v>
                </c:pt>
                <c:pt idx="1">
                  <c:v>Dom Perigno</c:v>
                </c:pt>
                <c:pt idx="2">
                  <c:v>Roederer</c:v>
                </c:pt>
                <c:pt idx="3">
                  <c:v>Malard</c:v>
                </c:pt>
                <c:pt idx="4">
                  <c:v>Ruinart</c:v>
                </c:pt>
                <c:pt idx="5">
                  <c:v>Roederer</c:v>
                </c:pt>
                <c:pt idx="6">
                  <c:v>Dom Perigno</c:v>
                </c:pt>
                <c:pt idx="7">
                  <c:v>Roederer</c:v>
                </c:pt>
                <c:pt idx="8">
                  <c:v>Roederer</c:v>
                </c:pt>
                <c:pt idx="9">
                  <c:v>Piper Heids</c:v>
                </c:pt>
                <c:pt idx="10">
                  <c:v>Bollinger</c:v>
                </c:pt>
                <c:pt idx="11">
                  <c:v>Perrier Jou</c:v>
                </c:pt>
                <c:pt idx="12">
                  <c:v>Laurent Per</c:v>
                </c:pt>
                <c:pt idx="13">
                  <c:v>Ruinart</c:v>
                </c:pt>
                <c:pt idx="14">
                  <c:v>Ruinart</c:v>
                </c:pt>
                <c:pt idx="15">
                  <c:v>Bollinger</c:v>
                </c:pt>
                <c:pt idx="16">
                  <c:v>Ruinart</c:v>
                </c:pt>
                <c:pt idx="17">
                  <c:v>Dom Perigno</c:v>
                </c:pt>
                <c:pt idx="18">
                  <c:v>Roederer</c:v>
                </c:pt>
                <c:pt idx="19">
                  <c:v>Piper Heids</c:v>
                </c:pt>
                <c:pt idx="20">
                  <c:v>Pommery</c:v>
                </c:pt>
                <c:pt idx="21">
                  <c:v>De Venoge</c:v>
                </c:pt>
                <c:pt idx="22">
                  <c:v>De Venoge</c:v>
                </c:pt>
                <c:pt idx="23">
                  <c:v>Roederer</c:v>
                </c:pt>
                <c:pt idx="24">
                  <c:v>All Others</c:v>
                </c:pt>
                <c:pt idx="25">
                  <c:v>Laurent Per</c:v>
                </c:pt>
                <c:pt idx="26">
                  <c:v>All Others</c:v>
                </c:pt>
                <c:pt idx="27">
                  <c:v>Roederer</c:v>
                </c:pt>
                <c:pt idx="28">
                  <c:v>Perrier Jou</c:v>
                </c:pt>
                <c:pt idx="29">
                  <c:v>Roederer</c:v>
                </c:pt>
                <c:pt idx="30">
                  <c:v>Ruinart</c:v>
                </c:pt>
                <c:pt idx="31">
                  <c:v>Laurent Per</c:v>
                </c:pt>
                <c:pt idx="32">
                  <c:v>Roederer</c:v>
                </c:pt>
                <c:pt idx="33">
                  <c:v>Malard</c:v>
                </c:pt>
                <c:pt idx="34">
                  <c:v>Malard</c:v>
                </c:pt>
                <c:pt idx="35">
                  <c:v>Vesselle</c:v>
                </c:pt>
                <c:pt idx="36">
                  <c:v>Vranken</c:v>
                </c:pt>
                <c:pt idx="37">
                  <c:v>Vesselle</c:v>
                </c:pt>
              </c:strCache>
            </c:strRef>
          </c:cat>
          <c:val>
            <c:numRef>
              <c:f>Sheet1!$C$2:$C$39</c:f>
              <c:numCache>
                <c:formatCode>General</c:formatCode>
                <c:ptCount val="38"/>
                <c:pt idx="0">
                  <c:v>0.28348388777903238</c:v>
                </c:pt>
                <c:pt idx="1">
                  <c:v>0.49536393641969945</c:v>
                </c:pt>
                <c:pt idx="2">
                  <c:v>0.60858377486319815</c:v>
                </c:pt>
                <c:pt idx="3">
                  <c:v>0.65072092417267435</c:v>
                </c:pt>
                <c:pt idx="4">
                  <c:v>0.69070832971423601</c:v>
                </c:pt>
                <c:pt idx="5">
                  <c:v>0.72830713106922607</c:v>
                </c:pt>
                <c:pt idx="6">
                  <c:v>0.7652002084600017</c:v>
                </c:pt>
                <c:pt idx="7">
                  <c:v>0.79966125249717712</c:v>
                </c:pt>
                <c:pt idx="8">
                  <c:v>0.82528446104403719</c:v>
                </c:pt>
                <c:pt idx="9">
                  <c:v>0.84922478936853996</c:v>
                </c:pt>
                <c:pt idx="10">
                  <c:v>0.86799704681664214</c:v>
                </c:pt>
                <c:pt idx="11">
                  <c:v>0.88668244593068712</c:v>
                </c:pt>
                <c:pt idx="12">
                  <c:v>0.90076435333970306</c:v>
                </c:pt>
                <c:pt idx="13">
                  <c:v>0.9148028315816904</c:v>
                </c:pt>
                <c:pt idx="14">
                  <c:v>0.92539954833666305</c:v>
                </c:pt>
                <c:pt idx="15">
                  <c:v>0.93482367758186413</c:v>
                </c:pt>
                <c:pt idx="16">
                  <c:v>0.94144662555372205</c:v>
                </c:pt>
                <c:pt idx="17">
                  <c:v>0.94741813602015135</c:v>
                </c:pt>
                <c:pt idx="18">
                  <c:v>0.95313992877616627</c:v>
                </c:pt>
                <c:pt idx="19">
                  <c:v>0.95856857465473833</c:v>
                </c:pt>
                <c:pt idx="20">
                  <c:v>0.96306349344219599</c:v>
                </c:pt>
                <c:pt idx="21">
                  <c:v>0.96729783722748219</c:v>
                </c:pt>
                <c:pt idx="22">
                  <c:v>0.97153218101276839</c:v>
                </c:pt>
                <c:pt idx="23">
                  <c:v>0.97554937896291172</c:v>
                </c:pt>
                <c:pt idx="24">
                  <c:v>0.97941457482845506</c:v>
                </c:pt>
                <c:pt idx="25">
                  <c:v>0.98325805611048411</c:v>
                </c:pt>
                <c:pt idx="26">
                  <c:v>0.98651524363762733</c:v>
                </c:pt>
                <c:pt idx="27">
                  <c:v>0.98971814470598485</c:v>
                </c:pt>
                <c:pt idx="28">
                  <c:v>0.99207417701728506</c:v>
                </c:pt>
                <c:pt idx="29">
                  <c:v>0.99413706245114242</c:v>
                </c:pt>
                <c:pt idx="30">
                  <c:v>0.9959393728828283</c:v>
                </c:pt>
                <c:pt idx="31">
                  <c:v>0.99707938851732847</c:v>
                </c:pt>
                <c:pt idx="32">
                  <c:v>0.99796968644141426</c:v>
                </c:pt>
                <c:pt idx="33">
                  <c:v>0.99874055415617147</c:v>
                </c:pt>
                <c:pt idx="34">
                  <c:v>0.99915313124294292</c:v>
                </c:pt>
                <c:pt idx="35">
                  <c:v>0.99948970728741438</c:v>
                </c:pt>
                <c:pt idx="36">
                  <c:v>0.99975028228958585</c:v>
                </c:pt>
                <c:pt idx="3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9</c:f>
              <c:strCache>
                <c:ptCount val="28"/>
                <c:pt idx="0">
                  <c:v>Dom Perigno</c:v>
                </c:pt>
                <c:pt idx="1">
                  <c:v>Dom Perigno</c:v>
                </c:pt>
                <c:pt idx="2">
                  <c:v>Malard</c:v>
                </c:pt>
                <c:pt idx="3">
                  <c:v>Ruinart</c:v>
                </c:pt>
                <c:pt idx="4">
                  <c:v>Roederer</c:v>
                </c:pt>
                <c:pt idx="5">
                  <c:v>Roederer</c:v>
                </c:pt>
                <c:pt idx="6">
                  <c:v>Laurent Per</c:v>
                </c:pt>
                <c:pt idx="7">
                  <c:v>Ruinart</c:v>
                </c:pt>
                <c:pt idx="8">
                  <c:v>Dom Perigno</c:v>
                </c:pt>
                <c:pt idx="9">
                  <c:v>Roederer</c:v>
                </c:pt>
                <c:pt idx="10">
                  <c:v>Ruinart</c:v>
                </c:pt>
                <c:pt idx="11">
                  <c:v>Roederer</c:v>
                </c:pt>
                <c:pt idx="12">
                  <c:v>Bollinger</c:v>
                </c:pt>
                <c:pt idx="13">
                  <c:v>Roederer</c:v>
                </c:pt>
                <c:pt idx="14">
                  <c:v>Piper Heids</c:v>
                </c:pt>
                <c:pt idx="15">
                  <c:v>Roederer</c:v>
                </c:pt>
                <c:pt idx="16">
                  <c:v>Pommery</c:v>
                </c:pt>
                <c:pt idx="17">
                  <c:v>All Others</c:v>
                </c:pt>
                <c:pt idx="18">
                  <c:v>Dom Perigno</c:v>
                </c:pt>
                <c:pt idx="19">
                  <c:v>Roederer</c:v>
                </c:pt>
                <c:pt idx="20">
                  <c:v>Perrier Jou</c:v>
                </c:pt>
                <c:pt idx="21">
                  <c:v>Bollinger</c:v>
                </c:pt>
                <c:pt idx="22">
                  <c:v>Perrier Jou</c:v>
                </c:pt>
                <c:pt idx="23">
                  <c:v>All Others</c:v>
                </c:pt>
                <c:pt idx="24">
                  <c:v>Pommery</c:v>
                </c:pt>
                <c:pt idx="25">
                  <c:v>De Venoge</c:v>
                </c:pt>
                <c:pt idx="26">
                  <c:v>Roederer</c:v>
                </c:pt>
                <c:pt idx="27">
                  <c:v>Malard</c:v>
                </c:pt>
              </c:strCache>
            </c:strRef>
          </c:cat>
          <c:val>
            <c:numRef>
              <c:f>Sheet1!$B$2:$B$29</c:f>
              <c:numCache>
                <c:formatCode>General</c:formatCode>
                <c:ptCount val="28"/>
                <c:pt idx="0">
                  <c:v>0.52</c:v>
                </c:pt>
                <c:pt idx="1">
                  <c:v>0.3</c:v>
                </c:pt>
                <c:pt idx="2">
                  <c:v>0.46</c:v>
                </c:pt>
                <c:pt idx="3">
                  <c:v>0.62</c:v>
                </c:pt>
                <c:pt idx="4">
                  <c:v>0.19</c:v>
                </c:pt>
                <c:pt idx="5">
                  <c:v>0.3</c:v>
                </c:pt>
                <c:pt idx="6">
                  <c:v>0.23</c:v>
                </c:pt>
                <c:pt idx="7">
                  <c:v>0.34</c:v>
                </c:pt>
                <c:pt idx="8">
                  <c:v>0.12</c:v>
                </c:pt>
                <c:pt idx="9">
                  <c:v>0.23</c:v>
                </c:pt>
                <c:pt idx="10">
                  <c:v>0.21</c:v>
                </c:pt>
                <c:pt idx="11">
                  <c:v>0.2</c:v>
                </c:pt>
                <c:pt idx="12">
                  <c:v>0.15</c:v>
                </c:pt>
                <c:pt idx="13">
                  <c:v>0.16</c:v>
                </c:pt>
                <c:pt idx="14">
                  <c:v>0.18</c:v>
                </c:pt>
                <c:pt idx="15">
                  <c:v>0.13</c:v>
                </c:pt>
                <c:pt idx="16">
                  <c:v>0.1</c:v>
                </c:pt>
                <c:pt idx="17">
                  <c:v>0.12</c:v>
                </c:pt>
                <c:pt idx="18">
                  <c:v>7.0000000000000007E-2</c:v>
                </c:pt>
                <c:pt idx="19">
                  <c:v>0.14000000000000001</c:v>
                </c:pt>
                <c:pt idx="20">
                  <c:v>0.11</c:v>
                </c:pt>
                <c:pt idx="21">
                  <c:v>0.17</c:v>
                </c:pt>
                <c:pt idx="22">
                  <c:v>0.09</c:v>
                </c:pt>
                <c:pt idx="23">
                  <c:v>0.1</c:v>
                </c:pt>
                <c:pt idx="24">
                  <c:v>0.14000000000000001</c:v>
                </c:pt>
                <c:pt idx="25">
                  <c:v>0.06</c:v>
                </c:pt>
                <c:pt idx="26">
                  <c:v>0.1</c:v>
                </c:pt>
                <c:pt idx="27">
                  <c:v>0.1400000000000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9</c:f>
              <c:strCache>
                <c:ptCount val="28"/>
                <c:pt idx="0">
                  <c:v>Dom Perigno</c:v>
                </c:pt>
                <c:pt idx="1">
                  <c:v>Dom Perigno</c:v>
                </c:pt>
                <c:pt idx="2">
                  <c:v>Malard</c:v>
                </c:pt>
                <c:pt idx="3">
                  <c:v>Ruinart</c:v>
                </c:pt>
                <c:pt idx="4">
                  <c:v>Roederer</c:v>
                </c:pt>
                <c:pt idx="5">
                  <c:v>Roederer</c:v>
                </c:pt>
                <c:pt idx="6">
                  <c:v>Laurent Per</c:v>
                </c:pt>
                <c:pt idx="7">
                  <c:v>Ruinart</c:v>
                </c:pt>
                <c:pt idx="8">
                  <c:v>Dom Perigno</c:v>
                </c:pt>
                <c:pt idx="9">
                  <c:v>Roederer</c:v>
                </c:pt>
                <c:pt idx="10">
                  <c:v>Ruinart</c:v>
                </c:pt>
                <c:pt idx="11">
                  <c:v>Roederer</c:v>
                </c:pt>
                <c:pt idx="12">
                  <c:v>Bollinger</c:v>
                </c:pt>
                <c:pt idx="13">
                  <c:v>Roederer</c:v>
                </c:pt>
                <c:pt idx="14">
                  <c:v>Piper Heids</c:v>
                </c:pt>
                <c:pt idx="15">
                  <c:v>Roederer</c:v>
                </c:pt>
                <c:pt idx="16">
                  <c:v>Pommery</c:v>
                </c:pt>
                <c:pt idx="17">
                  <c:v>All Others</c:v>
                </c:pt>
                <c:pt idx="18">
                  <c:v>Dom Perigno</c:v>
                </c:pt>
                <c:pt idx="19">
                  <c:v>Roederer</c:v>
                </c:pt>
                <c:pt idx="20">
                  <c:v>Perrier Jou</c:v>
                </c:pt>
                <c:pt idx="21">
                  <c:v>Bollinger</c:v>
                </c:pt>
                <c:pt idx="22">
                  <c:v>Perrier Jou</c:v>
                </c:pt>
                <c:pt idx="23">
                  <c:v>All Others</c:v>
                </c:pt>
                <c:pt idx="24">
                  <c:v>Pommery</c:v>
                </c:pt>
                <c:pt idx="25">
                  <c:v>De Venoge</c:v>
                </c:pt>
                <c:pt idx="26">
                  <c:v>Roederer</c:v>
                </c:pt>
                <c:pt idx="27">
                  <c:v>Malard</c:v>
                </c:pt>
              </c:strCache>
            </c:strRef>
          </c:cat>
          <c:val>
            <c:numRef>
              <c:f>Sheet1!$C$2:$C$29</c:f>
              <c:numCache>
                <c:formatCode>General</c:formatCode>
                <c:ptCount val="28"/>
                <c:pt idx="0">
                  <c:v>0.20225666299202386</c:v>
                </c:pt>
                <c:pt idx="1">
                  <c:v>0.36759397358580292</c:v>
                </c:pt>
                <c:pt idx="2">
                  <c:v>0.45682294706352811</c:v>
                </c:pt>
                <c:pt idx="3">
                  <c:v>0.52348529062101468</c:v>
                </c:pt>
                <c:pt idx="4">
                  <c:v>0.58420335905583298</c:v>
                </c:pt>
                <c:pt idx="5">
                  <c:v>0.64308410608909927</c:v>
                </c:pt>
                <c:pt idx="6">
                  <c:v>0.69846313468646648</c:v>
                </c:pt>
                <c:pt idx="7">
                  <c:v>0.74530402265309204</c:v>
                </c:pt>
                <c:pt idx="8">
                  <c:v>0.78419038972829247</c:v>
                </c:pt>
                <c:pt idx="9">
                  <c:v>0.81953180727579267</c:v>
                </c:pt>
                <c:pt idx="10">
                  <c:v>0.85091757992348094</c:v>
                </c:pt>
                <c:pt idx="11">
                  <c:v>0.87929879169098413</c:v>
                </c:pt>
                <c:pt idx="12">
                  <c:v>0.89775846789010649</c:v>
                </c:pt>
                <c:pt idx="13">
                  <c:v>0.91464020923848421</c:v>
                </c:pt>
                <c:pt idx="14">
                  <c:v>0.93052763547543382</c:v>
                </c:pt>
                <c:pt idx="15">
                  <c:v>0.94609082852387427</c:v>
                </c:pt>
                <c:pt idx="16">
                  <c:v>0.95456412251691403</c:v>
                </c:pt>
                <c:pt idx="17">
                  <c:v>0.96104878628709756</c:v>
                </c:pt>
                <c:pt idx="18">
                  <c:v>0.96699306140976582</c:v>
                </c:pt>
                <c:pt idx="19">
                  <c:v>0.97231048570131628</c:v>
                </c:pt>
                <c:pt idx="20">
                  <c:v>0.97760629444696612</c:v>
                </c:pt>
                <c:pt idx="21">
                  <c:v>0.98214555908609458</c:v>
                </c:pt>
                <c:pt idx="22">
                  <c:v>0.98625251280721082</c:v>
                </c:pt>
                <c:pt idx="23">
                  <c:v>0.9901000799775197</c:v>
                </c:pt>
                <c:pt idx="24">
                  <c:v>0.99381795387242489</c:v>
                </c:pt>
                <c:pt idx="25">
                  <c:v>0.99658474374770323</c:v>
                </c:pt>
                <c:pt idx="26">
                  <c:v>0.99835721851155335</c:v>
                </c:pt>
                <c:pt idx="27">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9</c:f>
              <c:strCache>
                <c:ptCount val="28"/>
                <c:pt idx="0">
                  <c:v>Dom Perigno</c:v>
                </c:pt>
                <c:pt idx="1">
                  <c:v>Dom Perigno</c:v>
                </c:pt>
                <c:pt idx="2">
                  <c:v>Dom Perigno</c:v>
                </c:pt>
                <c:pt idx="3">
                  <c:v>Roederer</c:v>
                </c:pt>
                <c:pt idx="4">
                  <c:v>Roederer</c:v>
                </c:pt>
                <c:pt idx="5">
                  <c:v>Malard</c:v>
                </c:pt>
                <c:pt idx="6">
                  <c:v>Ruinart</c:v>
                </c:pt>
                <c:pt idx="7">
                  <c:v>Roederer</c:v>
                </c:pt>
                <c:pt idx="8">
                  <c:v>Roederer</c:v>
                </c:pt>
                <c:pt idx="9">
                  <c:v>Ruinart</c:v>
                </c:pt>
                <c:pt idx="10">
                  <c:v>Perrier Jou</c:v>
                </c:pt>
                <c:pt idx="11">
                  <c:v>Veuve Clicq</c:v>
                </c:pt>
                <c:pt idx="12">
                  <c:v>Roederer</c:v>
                </c:pt>
                <c:pt idx="13">
                  <c:v>Laurent Per</c:v>
                </c:pt>
                <c:pt idx="14">
                  <c:v>Dom Perigno</c:v>
                </c:pt>
                <c:pt idx="15">
                  <c:v>Dom Perigno</c:v>
                </c:pt>
                <c:pt idx="16">
                  <c:v>All Others</c:v>
                </c:pt>
                <c:pt idx="17">
                  <c:v>Dom Perigno</c:v>
                </c:pt>
                <c:pt idx="18">
                  <c:v>Ruinart</c:v>
                </c:pt>
                <c:pt idx="19">
                  <c:v>Bollinger</c:v>
                </c:pt>
                <c:pt idx="20">
                  <c:v>Roederer</c:v>
                </c:pt>
                <c:pt idx="21">
                  <c:v>Dom Perigno</c:v>
                </c:pt>
                <c:pt idx="22">
                  <c:v>Piper Heids</c:v>
                </c:pt>
                <c:pt idx="23">
                  <c:v>Pommery</c:v>
                </c:pt>
                <c:pt idx="24">
                  <c:v>Perrier Jou</c:v>
                </c:pt>
                <c:pt idx="25">
                  <c:v>All Others</c:v>
                </c:pt>
                <c:pt idx="26">
                  <c:v>Roederer</c:v>
                </c:pt>
                <c:pt idx="27">
                  <c:v>Malard</c:v>
                </c:pt>
              </c:strCache>
            </c:strRef>
          </c:cat>
          <c:val>
            <c:numRef>
              <c:f>Sheet1!$B$2:$B$29</c:f>
              <c:numCache>
                <c:formatCode>General</c:formatCode>
                <c:ptCount val="28"/>
                <c:pt idx="0">
                  <c:v>0.69</c:v>
                </c:pt>
                <c:pt idx="1">
                  <c:v>0.49</c:v>
                </c:pt>
                <c:pt idx="2">
                  <c:v>0.61</c:v>
                </c:pt>
                <c:pt idx="3">
                  <c:v>0.49</c:v>
                </c:pt>
                <c:pt idx="4">
                  <c:v>0.28000000000000003</c:v>
                </c:pt>
                <c:pt idx="5">
                  <c:v>0.62</c:v>
                </c:pt>
                <c:pt idx="6">
                  <c:v>0.44</c:v>
                </c:pt>
                <c:pt idx="7">
                  <c:v>0.62</c:v>
                </c:pt>
                <c:pt idx="8">
                  <c:v>0.48</c:v>
                </c:pt>
                <c:pt idx="9">
                  <c:v>0.51</c:v>
                </c:pt>
                <c:pt idx="10">
                  <c:v>0.59</c:v>
                </c:pt>
                <c:pt idx="11">
                  <c:v>0.14000000000000001</c:v>
                </c:pt>
                <c:pt idx="12">
                  <c:v>0.51</c:v>
                </c:pt>
                <c:pt idx="13">
                  <c:v>0.41</c:v>
                </c:pt>
                <c:pt idx="14">
                  <c:v>0.1</c:v>
                </c:pt>
                <c:pt idx="15">
                  <c:v>0.13</c:v>
                </c:pt>
                <c:pt idx="16">
                  <c:v>0.32</c:v>
                </c:pt>
                <c:pt idx="17">
                  <c:v>0.24</c:v>
                </c:pt>
                <c:pt idx="18">
                  <c:v>0.37</c:v>
                </c:pt>
                <c:pt idx="19">
                  <c:v>0.06</c:v>
                </c:pt>
                <c:pt idx="20">
                  <c:v>0.2</c:v>
                </c:pt>
                <c:pt idx="21">
                  <c:v>0.15</c:v>
                </c:pt>
                <c:pt idx="22">
                  <c:v>0.22</c:v>
                </c:pt>
                <c:pt idx="23">
                  <c:v>7.0000000000000007E-2</c:v>
                </c:pt>
                <c:pt idx="24">
                  <c:v>0.11</c:v>
                </c:pt>
                <c:pt idx="25">
                  <c:v>0.49</c:v>
                </c:pt>
                <c:pt idx="26">
                  <c:v>0.18</c:v>
                </c:pt>
                <c:pt idx="27">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9</c:f>
              <c:strCache>
                <c:ptCount val="28"/>
                <c:pt idx="0">
                  <c:v>Dom Perigno</c:v>
                </c:pt>
                <c:pt idx="1">
                  <c:v>Dom Perigno</c:v>
                </c:pt>
                <c:pt idx="2">
                  <c:v>Dom Perigno</c:v>
                </c:pt>
                <c:pt idx="3">
                  <c:v>Roederer</c:v>
                </c:pt>
                <c:pt idx="4">
                  <c:v>Roederer</c:v>
                </c:pt>
                <c:pt idx="5">
                  <c:v>Malard</c:v>
                </c:pt>
                <c:pt idx="6">
                  <c:v>Ruinart</c:v>
                </c:pt>
                <c:pt idx="7">
                  <c:v>Roederer</c:v>
                </c:pt>
                <c:pt idx="8">
                  <c:v>Roederer</c:v>
                </c:pt>
                <c:pt idx="9">
                  <c:v>Ruinart</c:v>
                </c:pt>
                <c:pt idx="10">
                  <c:v>Perrier Jou</c:v>
                </c:pt>
                <c:pt idx="11">
                  <c:v>Veuve Clicq</c:v>
                </c:pt>
                <c:pt idx="12">
                  <c:v>Roederer</c:v>
                </c:pt>
                <c:pt idx="13">
                  <c:v>Laurent Per</c:v>
                </c:pt>
                <c:pt idx="14">
                  <c:v>Dom Perigno</c:v>
                </c:pt>
                <c:pt idx="15">
                  <c:v>Dom Perigno</c:v>
                </c:pt>
                <c:pt idx="16">
                  <c:v>All Others</c:v>
                </c:pt>
                <c:pt idx="17">
                  <c:v>Dom Perigno</c:v>
                </c:pt>
                <c:pt idx="18">
                  <c:v>Ruinart</c:v>
                </c:pt>
                <c:pt idx="19">
                  <c:v>Bollinger</c:v>
                </c:pt>
                <c:pt idx="20">
                  <c:v>Roederer</c:v>
                </c:pt>
                <c:pt idx="21">
                  <c:v>Dom Perigno</c:v>
                </c:pt>
                <c:pt idx="22">
                  <c:v>Piper Heids</c:v>
                </c:pt>
                <c:pt idx="23">
                  <c:v>Pommery</c:v>
                </c:pt>
                <c:pt idx="24">
                  <c:v>Perrier Jou</c:v>
                </c:pt>
                <c:pt idx="25">
                  <c:v>All Others</c:v>
                </c:pt>
                <c:pt idx="26">
                  <c:v>Roederer</c:v>
                </c:pt>
                <c:pt idx="27">
                  <c:v>Malard</c:v>
                </c:pt>
              </c:strCache>
            </c:strRef>
          </c:cat>
          <c:val>
            <c:numRef>
              <c:f>Sheet1!$C$2:$C$29</c:f>
              <c:numCache>
                <c:formatCode>General</c:formatCode>
                <c:ptCount val="28"/>
                <c:pt idx="0">
                  <c:v>0.26197576728412947</c:v>
                </c:pt>
                <c:pt idx="1">
                  <c:v>0.41095073362757961</c:v>
                </c:pt>
                <c:pt idx="2">
                  <c:v>0.51388013155876688</c:v>
                </c:pt>
                <c:pt idx="3">
                  <c:v>0.58940713348443274</c:v>
                </c:pt>
                <c:pt idx="4">
                  <c:v>0.66106576234215497</c:v>
                </c:pt>
                <c:pt idx="5">
                  <c:v>0.70491300420919878</c:v>
                </c:pt>
                <c:pt idx="6">
                  <c:v>0.74591435047119159</c:v>
                </c:pt>
                <c:pt idx="7">
                  <c:v>0.78570576506876155</c:v>
                </c:pt>
                <c:pt idx="8">
                  <c:v>0.81092687582011203</c:v>
                </c:pt>
                <c:pt idx="9">
                  <c:v>0.83505734394437714</c:v>
                </c:pt>
                <c:pt idx="10">
                  <c:v>0.85598404935157879</c:v>
                </c:pt>
                <c:pt idx="11">
                  <c:v>0.87626318569894845</c:v>
                </c:pt>
                <c:pt idx="12">
                  <c:v>0.89279323801571198</c:v>
                </c:pt>
                <c:pt idx="13">
                  <c:v>0.907738450264992</c:v>
                </c:pt>
                <c:pt idx="14">
                  <c:v>0.92188272183500619</c:v>
                </c:pt>
                <c:pt idx="15">
                  <c:v>0.93551575467357406</c:v>
                </c:pt>
                <c:pt idx="16">
                  <c:v>0.9485523423254546</c:v>
                </c:pt>
                <c:pt idx="17">
                  <c:v>0.95792505240197001</c:v>
                </c:pt>
                <c:pt idx="18">
                  <c:v>0.96622416114244825</c:v>
                </c:pt>
                <c:pt idx="19">
                  <c:v>0.97362008145737133</c:v>
                </c:pt>
                <c:pt idx="20">
                  <c:v>0.97975494623472692</c:v>
                </c:pt>
                <c:pt idx="21">
                  <c:v>0.98444130127298457</c:v>
                </c:pt>
                <c:pt idx="22">
                  <c:v>0.98861641757979601</c:v>
                </c:pt>
                <c:pt idx="23">
                  <c:v>0.99233141902830579</c:v>
                </c:pt>
                <c:pt idx="24">
                  <c:v>0.99602937918576728</c:v>
                </c:pt>
                <c:pt idx="25">
                  <c:v>0.99778463216373292</c:v>
                </c:pt>
                <c:pt idx="26">
                  <c:v>0.99935243094016823</c:v>
                </c:pt>
                <c:pt idx="2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Dom Perigno</c:v>
                </c:pt>
                <c:pt idx="1">
                  <c:v>Dom Perigno</c:v>
                </c:pt>
                <c:pt idx="2">
                  <c:v>Dom Perigno</c:v>
                </c:pt>
                <c:pt idx="3">
                  <c:v>Ruinart</c:v>
                </c:pt>
                <c:pt idx="4">
                  <c:v>Malard</c:v>
                </c:pt>
                <c:pt idx="5">
                  <c:v>Roederer</c:v>
                </c:pt>
                <c:pt idx="6">
                  <c:v>Ruinart</c:v>
                </c:pt>
                <c:pt idx="7">
                  <c:v>Roederer</c:v>
                </c:pt>
                <c:pt idx="8">
                  <c:v>Roederer</c:v>
                </c:pt>
                <c:pt idx="9">
                  <c:v>Roederer</c:v>
                </c:pt>
                <c:pt idx="10">
                  <c:v>Roederer</c:v>
                </c:pt>
                <c:pt idx="11">
                  <c:v>All Others</c:v>
                </c:pt>
                <c:pt idx="12">
                  <c:v>Ruinart</c:v>
                </c:pt>
                <c:pt idx="13">
                  <c:v>Bollinger</c:v>
                </c:pt>
                <c:pt idx="14">
                  <c:v>Roederer</c:v>
                </c:pt>
                <c:pt idx="15">
                  <c:v>Laurent Per</c:v>
                </c:pt>
                <c:pt idx="16">
                  <c:v>Perrier Jou</c:v>
                </c:pt>
                <c:pt idx="17">
                  <c:v>Dom Perigno</c:v>
                </c:pt>
                <c:pt idx="18">
                  <c:v>Piper Heids</c:v>
                </c:pt>
                <c:pt idx="19">
                  <c:v>Perrier Jou</c:v>
                </c:pt>
                <c:pt idx="20">
                  <c:v>Pommery</c:v>
                </c:pt>
                <c:pt idx="21">
                  <c:v>Roederer</c:v>
                </c:pt>
                <c:pt idx="22">
                  <c:v>Pommery</c:v>
                </c:pt>
                <c:pt idx="23">
                  <c:v>Laurent Per</c:v>
                </c:pt>
                <c:pt idx="24">
                  <c:v>Roederer</c:v>
                </c:pt>
                <c:pt idx="25">
                  <c:v>Roederer</c:v>
                </c:pt>
                <c:pt idx="26">
                  <c:v>Malard</c:v>
                </c:pt>
                <c:pt idx="27">
                  <c:v>Deutz</c:v>
                </c:pt>
                <c:pt idx="28">
                  <c:v>Henriot</c:v>
                </c:pt>
                <c:pt idx="29">
                  <c:v>Vesselle</c:v>
                </c:pt>
              </c:strCache>
            </c:strRef>
          </c:cat>
          <c:val>
            <c:numRef>
              <c:f>Sheet1!$B$2:$B$31</c:f>
              <c:numCache>
                <c:formatCode>General</c:formatCode>
                <c:ptCount val="30"/>
                <c:pt idx="0">
                  <c:v>0.34</c:v>
                </c:pt>
                <c:pt idx="1">
                  <c:v>0.28000000000000003</c:v>
                </c:pt>
                <c:pt idx="2">
                  <c:v>0.27</c:v>
                </c:pt>
                <c:pt idx="3">
                  <c:v>0.43</c:v>
                </c:pt>
                <c:pt idx="4">
                  <c:v>0.33</c:v>
                </c:pt>
                <c:pt idx="5">
                  <c:v>0.48</c:v>
                </c:pt>
                <c:pt idx="6">
                  <c:v>0.2</c:v>
                </c:pt>
                <c:pt idx="7">
                  <c:v>0.24</c:v>
                </c:pt>
                <c:pt idx="8">
                  <c:v>0.19</c:v>
                </c:pt>
                <c:pt idx="9">
                  <c:v>0.34</c:v>
                </c:pt>
                <c:pt idx="10">
                  <c:v>0.19</c:v>
                </c:pt>
                <c:pt idx="11">
                  <c:v>0.15</c:v>
                </c:pt>
                <c:pt idx="12">
                  <c:v>0.23</c:v>
                </c:pt>
                <c:pt idx="13">
                  <c:v>0.18</c:v>
                </c:pt>
                <c:pt idx="14">
                  <c:v>0.24</c:v>
                </c:pt>
                <c:pt idx="15">
                  <c:v>0.18</c:v>
                </c:pt>
                <c:pt idx="16">
                  <c:v>0.14000000000000001</c:v>
                </c:pt>
                <c:pt idx="17">
                  <c:v>7.0000000000000007E-2</c:v>
                </c:pt>
                <c:pt idx="18">
                  <c:v>0.04</c:v>
                </c:pt>
                <c:pt idx="19">
                  <c:v>0.08</c:v>
                </c:pt>
                <c:pt idx="20">
                  <c:v>0.1</c:v>
                </c:pt>
                <c:pt idx="21">
                  <c:v>0.04</c:v>
                </c:pt>
                <c:pt idx="22">
                  <c:v>0.03</c:v>
                </c:pt>
                <c:pt idx="23">
                  <c:v>0.04</c:v>
                </c:pt>
                <c:pt idx="24">
                  <c:v>7.0000000000000007E-2</c:v>
                </c:pt>
                <c:pt idx="25">
                  <c:v>0.02</c:v>
                </c:pt>
                <c:pt idx="26">
                  <c:v>0.05</c:v>
                </c:pt>
                <c:pt idx="27">
                  <c:v>0.1</c:v>
                </c:pt>
                <c:pt idx="28">
                  <c:v>0.08</c:v>
                </c:pt>
                <c:pt idx="29">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Dom Perigno</c:v>
                </c:pt>
                <c:pt idx="1">
                  <c:v>Dom Perigno</c:v>
                </c:pt>
                <c:pt idx="2">
                  <c:v>Dom Perigno</c:v>
                </c:pt>
                <c:pt idx="3">
                  <c:v>Ruinart</c:v>
                </c:pt>
                <c:pt idx="4">
                  <c:v>Malard</c:v>
                </c:pt>
                <c:pt idx="5">
                  <c:v>Roederer</c:v>
                </c:pt>
                <c:pt idx="6">
                  <c:v>Ruinart</c:v>
                </c:pt>
                <c:pt idx="7">
                  <c:v>Roederer</c:v>
                </c:pt>
                <c:pt idx="8">
                  <c:v>Roederer</c:v>
                </c:pt>
                <c:pt idx="9">
                  <c:v>Roederer</c:v>
                </c:pt>
                <c:pt idx="10">
                  <c:v>Roederer</c:v>
                </c:pt>
                <c:pt idx="11">
                  <c:v>All Others</c:v>
                </c:pt>
                <c:pt idx="12">
                  <c:v>Ruinart</c:v>
                </c:pt>
                <c:pt idx="13">
                  <c:v>Bollinger</c:v>
                </c:pt>
                <c:pt idx="14">
                  <c:v>Roederer</c:v>
                </c:pt>
                <c:pt idx="15">
                  <c:v>Laurent Per</c:v>
                </c:pt>
                <c:pt idx="16">
                  <c:v>Perrier Jou</c:v>
                </c:pt>
                <c:pt idx="17">
                  <c:v>Dom Perigno</c:v>
                </c:pt>
                <c:pt idx="18">
                  <c:v>Piper Heids</c:v>
                </c:pt>
                <c:pt idx="19">
                  <c:v>Perrier Jou</c:v>
                </c:pt>
                <c:pt idx="20">
                  <c:v>Pommery</c:v>
                </c:pt>
                <c:pt idx="21">
                  <c:v>Roederer</c:v>
                </c:pt>
                <c:pt idx="22">
                  <c:v>Pommery</c:v>
                </c:pt>
                <c:pt idx="23">
                  <c:v>Laurent Per</c:v>
                </c:pt>
                <c:pt idx="24">
                  <c:v>Roederer</c:v>
                </c:pt>
                <c:pt idx="25">
                  <c:v>Roederer</c:v>
                </c:pt>
                <c:pt idx="26">
                  <c:v>Malard</c:v>
                </c:pt>
                <c:pt idx="27">
                  <c:v>Deutz</c:v>
                </c:pt>
                <c:pt idx="28">
                  <c:v>Henriot</c:v>
                </c:pt>
                <c:pt idx="29">
                  <c:v>Vesselle</c:v>
                </c:pt>
              </c:strCache>
            </c:strRef>
          </c:cat>
          <c:val>
            <c:numRef>
              <c:f>Sheet1!$C$2:$C$31</c:f>
              <c:numCache>
                <c:formatCode>General</c:formatCode>
                <c:ptCount val="30"/>
                <c:pt idx="0">
                  <c:v>0.18343817413846236</c:v>
                </c:pt>
                <c:pt idx="1">
                  <c:v>0.34164204267353115</c:v>
                </c:pt>
                <c:pt idx="2">
                  <c:v>0.47667820821927742</c:v>
                </c:pt>
                <c:pt idx="3">
                  <c:v>0.56813443793847329</c:v>
                </c:pt>
                <c:pt idx="4">
                  <c:v>0.63473705200949915</c:v>
                </c:pt>
                <c:pt idx="5">
                  <c:v>0.69336330511393507</c:v>
                </c:pt>
                <c:pt idx="6">
                  <c:v>0.74417635008973404</c:v>
                </c:pt>
                <c:pt idx="7">
                  <c:v>0.78003371825317691</c:v>
                </c:pt>
                <c:pt idx="8">
                  <c:v>0.81480340083026659</c:v>
                </c:pt>
                <c:pt idx="9">
                  <c:v>0.84852165400721491</c:v>
                </c:pt>
                <c:pt idx="10">
                  <c:v>0.88001015173213926</c:v>
                </c:pt>
                <c:pt idx="11">
                  <c:v>0.89848267860703723</c:v>
                </c:pt>
                <c:pt idx="12">
                  <c:v>0.91430850388847584</c:v>
                </c:pt>
                <c:pt idx="13">
                  <c:v>0.92991679205264388</c:v>
                </c:pt>
                <c:pt idx="14">
                  <c:v>0.94438301035114103</c:v>
                </c:pt>
                <c:pt idx="15">
                  <c:v>0.95685513840799075</c:v>
                </c:pt>
                <c:pt idx="16">
                  <c:v>0.96577416021608675</c:v>
                </c:pt>
                <c:pt idx="17">
                  <c:v>0.97075938582020549</c:v>
                </c:pt>
                <c:pt idx="18">
                  <c:v>0.975291409096677</c:v>
                </c:pt>
                <c:pt idx="19">
                  <c:v>0.97922520530065427</c:v>
                </c:pt>
                <c:pt idx="20">
                  <c:v>0.98277831154940798</c:v>
                </c:pt>
                <c:pt idx="21">
                  <c:v>0.985968855936044</c:v>
                </c:pt>
                <c:pt idx="22">
                  <c:v>0.98903250367093876</c:v>
                </c:pt>
                <c:pt idx="23">
                  <c:v>0.99187861428856294</c:v>
                </c:pt>
                <c:pt idx="24">
                  <c:v>0.99445280350959875</c:v>
                </c:pt>
                <c:pt idx="25">
                  <c:v>0.9960299476098109</c:v>
                </c:pt>
                <c:pt idx="26">
                  <c:v>0.9973170422203288</c:v>
                </c:pt>
                <c:pt idx="27">
                  <c:v>0.99842285589978785</c:v>
                </c:pt>
                <c:pt idx="28">
                  <c:v>0.99943802911371749</c:v>
                </c:pt>
                <c:pt idx="2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Dom Perigno</c:v>
                </c:pt>
                <c:pt idx="1">
                  <c:v>Dom Perigno</c:v>
                </c:pt>
                <c:pt idx="2">
                  <c:v>Ruinart</c:v>
                </c:pt>
                <c:pt idx="3">
                  <c:v>Malard</c:v>
                </c:pt>
                <c:pt idx="4">
                  <c:v>Roederer</c:v>
                </c:pt>
                <c:pt idx="5">
                  <c:v>Laurent Per</c:v>
                </c:pt>
                <c:pt idx="6">
                  <c:v>Ruinart</c:v>
                </c:pt>
                <c:pt idx="7">
                  <c:v>Dom Perigno</c:v>
                </c:pt>
                <c:pt idx="8">
                  <c:v>Roederer</c:v>
                </c:pt>
                <c:pt idx="9">
                  <c:v>Roederer</c:v>
                </c:pt>
                <c:pt idx="10">
                  <c:v>Roederer</c:v>
                </c:pt>
                <c:pt idx="11">
                  <c:v>Bollinger</c:v>
                </c:pt>
                <c:pt idx="12">
                  <c:v>Pommery</c:v>
                </c:pt>
                <c:pt idx="13">
                  <c:v>Ruinart</c:v>
                </c:pt>
                <c:pt idx="14">
                  <c:v>Roederer</c:v>
                </c:pt>
                <c:pt idx="15">
                  <c:v>Bollinger</c:v>
                </c:pt>
                <c:pt idx="16">
                  <c:v>All Others</c:v>
                </c:pt>
                <c:pt idx="17">
                  <c:v>De Venoge</c:v>
                </c:pt>
                <c:pt idx="18">
                  <c:v>All Others</c:v>
                </c:pt>
                <c:pt idx="19">
                  <c:v>De Venoge</c:v>
                </c:pt>
                <c:pt idx="20">
                  <c:v>Deutz</c:v>
                </c:pt>
                <c:pt idx="21">
                  <c:v>Roederer</c:v>
                </c:pt>
                <c:pt idx="22">
                  <c:v>Roederer</c:v>
                </c:pt>
                <c:pt idx="23">
                  <c:v>Veuve Clicq</c:v>
                </c:pt>
                <c:pt idx="24">
                  <c:v>Bollinger</c:v>
                </c:pt>
                <c:pt idx="25">
                  <c:v>Laurent Per</c:v>
                </c:pt>
                <c:pt idx="26">
                  <c:v>Laurent Per</c:v>
                </c:pt>
                <c:pt idx="27">
                  <c:v>Malard</c:v>
                </c:pt>
                <c:pt idx="28">
                  <c:v>Malard</c:v>
                </c:pt>
                <c:pt idx="29">
                  <c:v>Vesselle</c:v>
                </c:pt>
              </c:strCache>
            </c:strRef>
          </c:cat>
          <c:val>
            <c:numRef>
              <c:f>Sheet1!$B$2:$B$31</c:f>
              <c:numCache>
                <c:formatCode>General</c:formatCode>
                <c:ptCount val="30"/>
                <c:pt idx="0">
                  <c:v>0.31</c:v>
                </c:pt>
                <c:pt idx="1">
                  <c:v>0.31</c:v>
                </c:pt>
                <c:pt idx="2">
                  <c:v>0.2</c:v>
                </c:pt>
                <c:pt idx="3">
                  <c:v>0.66</c:v>
                </c:pt>
                <c:pt idx="4">
                  <c:v>0.17</c:v>
                </c:pt>
                <c:pt idx="5">
                  <c:v>0.21</c:v>
                </c:pt>
                <c:pt idx="6">
                  <c:v>0.2</c:v>
                </c:pt>
                <c:pt idx="7">
                  <c:v>0.15</c:v>
                </c:pt>
                <c:pt idx="8">
                  <c:v>0.15</c:v>
                </c:pt>
                <c:pt idx="9">
                  <c:v>0.16</c:v>
                </c:pt>
                <c:pt idx="10">
                  <c:v>0.27</c:v>
                </c:pt>
                <c:pt idx="11">
                  <c:v>0.18</c:v>
                </c:pt>
                <c:pt idx="12">
                  <c:v>0.13</c:v>
                </c:pt>
                <c:pt idx="13">
                  <c:v>0.13</c:v>
                </c:pt>
                <c:pt idx="14">
                  <c:v>0.15</c:v>
                </c:pt>
                <c:pt idx="15">
                  <c:v>0.06</c:v>
                </c:pt>
                <c:pt idx="16">
                  <c:v>0.15</c:v>
                </c:pt>
                <c:pt idx="17">
                  <c:v>0.18</c:v>
                </c:pt>
                <c:pt idx="18">
                  <c:v>0.08</c:v>
                </c:pt>
                <c:pt idx="19">
                  <c:v>0.04</c:v>
                </c:pt>
                <c:pt idx="20">
                  <c:v>0.04</c:v>
                </c:pt>
                <c:pt idx="21">
                  <c:v>0.13</c:v>
                </c:pt>
                <c:pt idx="22">
                  <c:v>0.09</c:v>
                </c:pt>
                <c:pt idx="23">
                  <c:v>0.12</c:v>
                </c:pt>
                <c:pt idx="24">
                  <c:v>7.0000000000000007E-2</c:v>
                </c:pt>
                <c:pt idx="25">
                  <c:v>7.0000000000000007E-2</c:v>
                </c:pt>
                <c:pt idx="26">
                  <c:v>0.08</c:v>
                </c:pt>
                <c:pt idx="27">
                  <c:v>0.04</c:v>
                </c:pt>
                <c:pt idx="28">
                  <c:v>0.06</c:v>
                </c:pt>
                <c:pt idx="29">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Dom Perigno</c:v>
                </c:pt>
                <c:pt idx="1">
                  <c:v>Dom Perigno</c:v>
                </c:pt>
                <c:pt idx="2">
                  <c:v>Ruinart</c:v>
                </c:pt>
                <c:pt idx="3">
                  <c:v>Malard</c:v>
                </c:pt>
                <c:pt idx="4">
                  <c:v>Roederer</c:v>
                </c:pt>
                <c:pt idx="5">
                  <c:v>Laurent Per</c:v>
                </c:pt>
                <c:pt idx="6">
                  <c:v>Ruinart</c:v>
                </c:pt>
                <c:pt idx="7">
                  <c:v>Dom Perigno</c:v>
                </c:pt>
                <c:pt idx="8">
                  <c:v>Roederer</c:v>
                </c:pt>
                <c:pt idx="9">
                  <c:v>Roederer</c:v>
                </c:pt>
                <c:pt idx="10">
                  <c:v>Roederer</c:v>
                </c:pt>
                <c:pt idx="11">
                  <c:v>Bollinger</c:v>
                </c:pt>
                <c:pt idx="12">
                  <c:v>Pommery</c:v>
                </c:pt>
                <c:pt idx="13">
                  <c:v>Ruinart</c:v>
                </c:pt>
                <c:pt idx="14">
                  <c:v>Roederer</c:v>
                </c:pt>
                <c:pt idx="15">
                  <c:v>Bollinger</c:v>
                </c:pt>
                <c:pt idx="16">
                  <c:v>All Others</c:v>
                </c:pt>
                <c:pt idx="17">
                  <c:v>De Venoge</c:v>
                </c:pt>
                <c:pt idx="18">
                  <c:v>All Others</c:v>
                </c:pt>
                <c:pt idx="19">
                  <c:v>De Venoge</c:v>
                </c:pt>
                <c:pt idx="20">
                  <c:v>Deutz</c:v>
                </c:pt>
                <c:pt idx="21">
                  <c:v>Roederer</c:v>
                </c:pt>
                <c:pt idx="22">
                  <c:v>Roederer</c:v>
                </c:pt>
                <c:pt idx="23">
                  <c:v>Veuve Clicq</c:v>
                </c:pt>
                <c:pt idx="24">
                  <c:v>Bollinger</c:v>
                </c:pt>
                <c:pt idx="25">
                  <c:v>Laurent Per</c:v>
                </c:pt>
                <c:pt idx="26">
                  <c:v>Laurent Per</c:v>
                </c:pt>
                <c:pt idx="27">
                  <c:v>Malard</c:v>
                </c:pt>
                <c:pt idx="28">
                  <c:v>Malard</c:v>
                </c:pt>
                <c:pt idx="29">
                  <c:v>Vesselle</c:v>
                </c:pt>
              </c:strCache>
            </c:strRef>
          </c:cat>
          <c:val>
            <c:numRef>
              <c:f>Sheet1!$C$2:$C$31</c:f>
              <c:numCache>
                <c:formatCode>General</c:formatCode>
                <c:ptCount val="30"/>
                <c:pt idx="0">
                  <c:v>0.19200052801795262</c:v>
                </c:pt>
                <c:pt idx="1">
                  <c:v>0.35526807911468994</c:v>
                </c:pt>
                <c:pt idx="2">
                  <c:v>0.50810727564737201</c:v>
                </c:pt>
                <c:pt idx="3">
                  <c:v>0.61580093723186591</c:v>
                </c:pt>
                <c:pt idx="4">
                  <c:v>0.70334191362506326</c:v>
                </c:pt>
                <c:pt idx="5">
                  <c:v>0.75462565727234732</c:v>
                </c:pt>
                <c:pt idx="6">
                  <c:v>0.7883968054913868</c:v>
                </c:pt>
                <c:pt idx="7">
                  <c:v>0.81589774052317787</c:v>
                </c:pt>
                <c:pt idx="8">
                  <c:v>0.84315666732668915</c:v>
                </c:pt>
                <c:pt idx="9">
                  <c:v>0.86876553802829304</c:v>
                </c:pt>
                <c:pt idx="10">
                  <c:v>0.89395639451741371</c:v>
                </c:pt>
                <c:pt idx="11">
                  <c:v>0.90827888148197056</c:v>
                </c:pt>
                <c:pt idx="12">
                  <c:v>0.92218335423404407</c:v>
                </c:pt>
                <c:pt idx="13">
                  <c:v>0.93386575143554895</c:v>
                </c:pt>
                <c:pt idx="14">
                  <c:v>0.94341407607858685</c:v>
                </c:pt>
                <c:pt idx="15">
                  <c:v>0.95265439024926868</c:v>
                </c:pt>
                <c:pt idx="16">
                  <c:v>0.96048665654632281</c:v>
                </c:pt>
                <c:pt idx="17">
                  <c:v>0.96611884804083359</c:v>
                </c:pt>
                <c:pt idx="18">
                  <c:v>0.97172903878731898</c:v>
                </c:pt>
                <c:pt idx="19">
                  <c:v>0.97601918465227844</c:v>
                </c:pt>
                <c:pt idx="20">
                  <c:v>0.98011132378500898</c:v>
                </c:pt>
                <c:pt idx="21">
                  <c:v>0.98411545992563776</c:v>
                </c:pt>
                <c:pt idx="22">
                  <c:v>0.98792158933403762</c:v>
                </c:pt>
                <c:pt idx="23">
                  <c:v>0.99166171649836121</c:v>
                </c:pt>
                <c:pt idx="24">
                  <c:v>0.99419180252128603</c:v>
                </c:pt>
                <c:pt idx="25">
                  <c:v>0.99650188106395643</c:v>
                </c:pt>
                <c:pt idx="26">
                  <c:v>0.99782192594548236</c:v>
                </c:pt>
                <c:pt idx="27">
                  <c:v>0.9986579543704488</c:v>
                </c:pt>
                <c:pt idx="28">
                  <c:v>0.99949398279541524</c:v>
                </c:pt>
                <c:pt idx="29">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Mure</c:v>
                </c:pt>
                <c:pt idx="2">
                  <c:v>Patriarche</c:v>
                </c:pt>
                <c:pt idx="3">
                  <c:v>Vilaveroni</c:v>
                </c:pt>
                <c:pt idx="4">
                  <c:v>Savian</c:v>
                </c:pt>
                <c:pt idx="5">
                  <c:v>Chateau Moncontour</c:v>
                </c:pt>
                <c:pt idx="6">
                  <c:v>Bouvet-Ladubay</c:v>
                </c:pt>
                <c:pt idx="7">
                  <c:v>De Chanceny</c:v>
                </c:pt>
                <c:pt idx="8">
                  <c:v>Contarini</c:v>
                </c:pt>
                <c:pt idx="9">
                  <c:v>Others</c:v>
                </c:pt>
              </c:strCache>
            </c:strRef>
          </c:cat>
          <c:val>
            <c:numRef>
              <c:f>Sheet1!$B$2:$B$11</c:f>
              <c:numCache>
                <c:formatCode>General</c:formatCode>
                <c:ptCount val="10"/>
                <c:pt idx="0">
                  <c:v>0.11400998981620677</c:v>
                </c:pt>
                <c:pt idx="1">
                  <c:v>9.4107948208137338E-2</c:v>
                </c:pt>
                <c:pt idx="2">
                  <c:v>9.0732748169341931E-2</c:v>
                </c:pt>
                <c:pt idx="3">
                  <c:v>5.0356432762717618E-2</c:v>
                </c:pt>
                <c:pt idx="4">
                  <c:v>4.9522331603704964E-2</c:v>
                </c:pt>
                <c:pt idx="5">
                  <c:v>4.0221133795645216E-2</c:v>
                </c:pt>
                <c:pt idx="6">
                  <c:v>3.3664710731778284E-2</c:v>
                </c:pt>
                <c:pt idx="7">
                  <c:v>2.8126666989961691E-2</c:v>
                </c:pt>
                <c:pt idx="8">
                  <c:v>1.8883662286019107E-2</c:v>
                </c:pt>
                <c:pt idx="9">
                  <c:v>0.4803743756364870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Mure</c:v>
                </c:pt>
                <c:pt idx="2">
                  <c:v>Patriarche</c:v>
                </c:pt>
                <c:pt idx="3">
                  <c:v>Vilaveroni</c:v>
                </c:pt>
                <c:pt idx="4">
                  <c:v>Savian</c:v>
                </c:pt>
                <c:pt idx="5">
                  <c:v>Chateau Moncontour</c:v>
                </c:pt>
                <c:pt idx="6">
                  <c:v>Bouvet-Ladubay</c:v>
                </c:pt>
                <c:pt idx="7">
                  <c:v>De Chanceny</c:v>
                </c:pt>
                <c:pt idx="8">
                  <c:v>Contarini</c:v>
                </c:pt>
                <c:pt idx="9">
                  <c:v>Others</c:v>
                </c:pt>
              </c:strCache>
            </c:strRef>
          </c:cat>
          <c:val>
            <c:numRef>
              <c:f>Sheet1!$C$2:$C$11</c:f>
              <c:numCache>
                <c:formatCode>General</c:formatCode>
                <c:ptCount val="10"/>
                <c:pt idx="0">
                  <c:v>7.3423423423423409E-2</c:v>
                </c:pt>
                <c:pt idx="1">
                  <c:v>4.7747747747747746E-2</c:v>
                </c:pt>
                <c:pt idx="2">
                  <c:v>7.0720720720720706E-2</c:v>
                </c:pt>
                <c:pt idx="3">
                  <c:v>6.3513513513513489E-2</c:v>
                </c:pt>
                <c:pt idx="4">
                  <c:v>3.6036036036036036E-2</c:v>
                </c:pt>
                <c:pt idx="5">
                  <c:v>3.513513513513513E-2</c:v>
                </c:pt>
                <c:pt idx="6">
                  <c:v>6.9369369369369369E-2</c:v>
                </c:pt>
                <c:pt idx="7">
                  <c:v>3.3783783783783779E-2</c:v>
                </c:pt>
                <c:pt idx="8">
                  <c:v>5.1801801801801793E-2</c:v>
                </c:pt>
                <c:pt idx="9">
                  <c:v>0.5184684684684683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ttega</c:v>
                </c:pt>
                <c:pt idx="1">
                  <c:v>Mure</c:v>
                </c:pt>
                <c:pt idx="2">
                  <c:v>Patriarche</c:v>
                </c:pt>
                <c:pt idx="3">
                  <c:v>Vilaveroni</c:v>
                </c:pt>
                <c:pt idx="4">
                  <c:v>Savian</c:v>
                </c:pt>
                <c:pt idx="5">
                  <c:v>Chateau Moncontour</c:v>
                </c:pt>
                <c:pt idx="6">
                  <c:v>Bouvet-Ladubay</c:v>
                </c:pt>
                <c:pt idx="7">
                  <c:v>De Chanceny</c:v>
                </c:pt>
                <c:pt idx="8">
                  <c:v>Contarini</c:v>
                </c:pt>
                <c:pt idx="9">
                  <c:v>Others</c:v>
                </c:pt>
              </c:strCache>
            </c:strRef>
          </c:cat>
          <c:val>
            <c:numRef>
              <c:f>Sheet1!$D$2:$D$11</c:f>
              <c:numCache>
                <c:formatCode>General</c:formatCode>
                <c:ptCount val="10"/>
                <c:pt idx="0">
                  <c:v>64.400868328984018</c:v>
                </c:pt>
                <c:pt idx="1">
                  <c:v>50.737210466160278</c:v>
                </c:pt>
                <c:pt idx="2">
                  <c:v>77.943986209619538</c:v>
                </c:pt>
                <c:pt idx="3">
                  <c:v>126.12790467663343</c:v>
                </c:pt>
                <c:pt idx="4">
                  <c:v>72.767244330111538</c:v>
                </c:pt>
                <c:pt idx="5">
                  <c:v>87.354909768702854</c:v>
                </c:pt>
                <c:pt idx="6">
                  <c:v>206.05960325061449</c:v>
                </c:pt>
                <c:pt idx="7">
                  <c:v>120.11300093196641</c:v>
                </c:pt>
                <c:pt idx="8">
                  <c:v>274.32073830378908</c:v>
                </c:pt>
                <c:pt idx="9">
                  <c:v>107.930084276770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7</c:f>
              <c:strCache>
                <c:ptCount val="36"/>
                <c:pt idx="0">
                  <c:v>Dom Perigno</c:v>
                </c:pt>
                <c:pt idx="1">
                  <c:v>Dom Perigno</c:v>
                </c:pt>
                <c:pt idx="2">
                  <c:v>Malard</c:v>
                </c:pt>
                <c:pt idx="3">
                  <c:v>Ruinart</c:v>
                </c:pt>
                <c:pt idx="4">
                  <c:v>Roederer</c:v>
                </c:pt>
                <c:pt idx="5">
                  <c:v>Dom Perigno</c:v>
                </c:pt>
                <c:pt idx="6">
                  <c:v>Roederer</c:v>
                </c:pt>
                <c:pt idx="7">
                  <c:v>Ruinart</c:v>
                </c:pt>
                <c:pt idx="8">
                  <c:v>Roederer</c:v>
                </c:pt>
                <c:pt idx="9">
                  <c:v>Ruinart</c:v>
                </c:pt>
                <c:pt idx="10">
                  <c:v>Laurent Per</c:v>
                </c:pt>
                <c:pt idx="11">
                  <c:v>Piper Heids</c:v>
                </c:pt>
                <c:pt idx="12">
                  <c:v>Pommery</c:v>
                </c:pt>
                <c:pt idx="13">
                  <c:v>Roederer</c:v>
                </c:pt>
                <c:pt idx="14">
                  <c:v>Roederer</c:v>
                </c:pt>
                <c:pt idx="15">
                  <c:v>Perrier Jou</c:v>
                </c:pt>
                <c:pt idx="16">
                  <c:v>Dom Perigno</c:v>
                </c:pt>
                <c:pt idx="17">
                  <c:v>All Others</c:v>
                </c:pt>
                <c:pt idx="18">
                  <c:v>All Others</c:v>
                </c:pt>
                <c:pt idx="19">
                  <c:v>De Venoge</c:v>
                </c:pt>
                <c:pt idx="20">
                  <c:v>Bollinger</c:v>
                </c:pt>
                <c:pt idx="21">
                  <c:v>Deutz</c:v>
                </c:pt>
                <c:pt idx="22">
                  <c:v>Pommery</c:v>
                </c:pt>
                <c:pt idx="23">
                  <c:v>Ruinart</c:v>
                </c:pt>
                <c:pt idx="24">
                  <c:v>Pommery</c:v>
                </c:pt>
                <c:pt idx="25">
                  <c:v>Roederer</c:v>
                </c:pt>
                <c:pt idx="26">
                  <c:v>Piper Heids</c:v>
                </c:pt>
                <c:pt idx="27">
                  <c:v>De Venoge</c:v>
                </c:pt>
                <c:pt idx="28">
                  <c:v>Laurent Per</c:v>
                </c:pt>
                <c:pt idx="29">
                  <c:v>Bollinger</c:v>
                </c:pt>
                <c:pt idx="30">
                  <c:v>Malard</c:v>
                </c:pt>
                <c:pt idx="31">
                  <c:v>Roederer</c:v>
                </c:pt>
                <c:pt idx="32">
                  <c:v>Roederer</c:v>
                </c:pt>
                <c:pt idx="33">
                  <c:v>Malard</c:v>
                </c:pt>
                <c:pt idx="34">
                  <c:v>Deutz</c:v>
                </c:pt>
                <c:pt idx="35">
                  <c:v>Laurent Per</c:v>
                </c:pt>
              </c:strCache>
            </c:strRef>
          </c:cat>
          <c:val>
            <c:numRef>
              <c:f>Sheet1!$B$2:$B$37</c:f>
              <c:numCache>
                <c:formatCode>General</c:formatCode>
                <c:ptCount val="36"/>
                <c:pt idx="0">
                  <c:v>0.28000000000000003</c:v>
                </c:pt>
                <c:pt idx="1">
                  <c:v>0.38</c:v>
                </c:pt>
                <c:pt idx="2">
                  <c:v>0.46</c:v>
                </c:pt>
                <c:pt idx="3">
                  <c:v>0.36</c:v>
                </c:pt>
                <c:pt idx="4">
                  <c:v>0.21</c:v>
                </c:pt>
                <c:pt idx="5">
                  <c:v>0.18</c:v>
                </c:pt>
                <c:pt idx="6">
                  <c:v>0.4</c:v>
                </c:pt>
                <c:pt idx="7">
                  <c:v>0.25</c:v>
                </c:pt>
                <c:pt idx="8">
                  <c:v>0.26</c:v>
                </c:pt>
                <c:pt idx="9">
                  <c:v>0.25</c:v>
                </c:pt>
                <c:pt idx="10">
                  <c:v>0.17</c:v>
                </c:pt>
                <c:pt idx="11">
                  <c:v>0.14000000000000001</c:v>
                </c:pt>
                <c:pt idx="12">
                  <c:v>0.2</c:v>
                </c:pt>
                <c:pt idx="13">
                  <c:v>0.2</c:v>
                </c:pt>
                <c:pt idx="14">
                  <c:v>0.28000000000000003</c:v>
                </c:pt>
                <c:pt idx="15">
                  <c:v>0.2</c:v>
                </c:pt>
                <c:pt idx="16">
                  <c:v>0.06</c:v>
                </c:pt>
                <c:pt idx="17">
                  <c:v>0.06</c:v>
                </c:pt>
                <c:pt idx="18">
                  <c:v>0.12</c:v>
                </c:pt>
                <c:pt idx="19">
                  <c:v>0.06</c:v>
                </c:pt>
                <c:pt idx="20">
                  <c:v>0.1</c:v>
                </c:pt>
                <c:pt idx="21">
                  <c:v>0.08</c:v>
                </c:pt>
                <c:pt idx="22">
                  <c:v>0.14000000000000001</c:v>
                </c:pt>
                <c:pt idx="23">
                  <c:v>0.1</c:v>
                </c:pt>
                <c:pt idx="24">
                  <c:v>0.1</c:v>
                </c:pt>
                <c:pt idx="25">
                  <c:v>0.14000000000000001</c:v>
                </c:pt>
                <c:pt idx="26">
                  <c:v>0.14000000000000001</c:v>
                </c:pt>
                <c:pt idx="27">
                  <c:v>7.0000000000000007E-2</c:v>
                </c:pt>
                <c:pt idx="28">
                  <c:v>0.06</c:v>
                </c:pt>
                <c:pt idx="29">
                  <c:v>0.06</c:v>
                </c:pt>
                <c:pt idx="30">
                  <c:v>0.11</c:v>
                </c:pt>
                <c:pt idx="31">
                  <c:v>0.17</c:v>
                </c:pt>
                <c:pt idx="32">
                  <c:v>0.11</c:v>
                </c:pt>
                <c:pt idx="33">
                  <c:v>0.1</c:v>
                </c:pt>
                <c:pt idx="34">
                  <c:v>0.05</c:v>
                </c:pt>
                <c:pt idx="35">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7</c:f>
              <c:strCache>
                <c:ptCount val="36"/>
                <c:pt idx="0">
                  <c:v>Dom Perigno</c:v>
                </c:pt>
                <c:pt idx="1">
                  <c:v>Dom Perigno</c:v>
                </c:pt>
                <c:pt idx="2">
                  <c:v>Malard</c:v>
                </c:pt>
                <c:pt idx="3">
                  <c:v>Ruinart</c:v>
                </c:pt>
                <c:pt idx="4">
                  <c:v>Roederer</c:v>
                </c:pt>
                <c:pt idx="5">
                  <c:v>Dom Perigno</c:v>
                </c:pt>
                <c:pt idx="6">
                  <c:v>Roederer</c:v>
                </c:pt>
                <c:pt idx="7">
                  <c:v>Ruinart</c:v>
                </c:pt>
                <c:pt idx="8">
                  <c:v>Roederer</c:v>
                </c:pt>
                <c:pt idx="9">
                  <c:v>Ruinart</c:v>
                </c:pt>
                <c:pt idx="10">
                  <c:v>Laurent Per</c:v>
                </c:pt>
                <c:pt idx="11">
                  <c:v>Piper Heids</c:v>
                </c:pt>
                <c:pt idx="12">
                  <c:v>Pommery</c:v>
                </c:pt>
                <c:pt idx="13">
                  <c:v>Roederer</c:v>
                </c:pt>
                <c:pt idx="14">
                  <c:v>Roederer</c:v>
                </c:pt>
                <c:pt idx="15">
                  <c:v>Perrier Jou</c:v>
                </c:pt>
                <c:pt idx="16">
                  <c:v>Dom Perigno</c:v>
                </c:pt>
                <c:pt idx="17">
                  <c:v>All Others</c:v>
                </c:pt>
                <c:pt idx="18">
                  <c:v>All Others</c:v>
                </c:pt>
                <c:pt idx="19">
                  <c:v>De Venoge</c:v>
                </c:pt>
                <c:pt idx="20">
                  <c:v>Bollinger</c:v>
                </c:pt>
                <c:pt idx="21">
                  <c:v>Deutz</c:v>
                </c:pt>
                <c:pt idx="22">
                  <c:v>Pommery</c:v>
                </c:pt>
                <c:pt idx="23">
                  <c:v>Ruinart</c:v>
                </c:pt>
                <c:pt idx="24">
                  <c:v>Pommery</c:v>
                </c:pt>
                <c:pt idx="25">
                  <c:v>Roederer</c:v>
                </c:pt>
                <c:pt idx="26">
                  <c:v>Piper Heids</c:v>
                </c:pt>
                <c:pt idx="27">
                  <c:v>De Venoge</c:v>
                </c:pt>
                <c:pt idx="28">
                  <c:v>Laurent Per</c:v>
                </c:pt>
                <c:pt idx="29">
                  <c:v>Bollinger</c:v>
                </c:pt>
                <c:pt idx="30">
                  <c:v>Malard</c:v>
                </c:pt>
                <c:pt idx="31">
                  <c:v>Roederer</c:v>
                </c:pt>
                <c:pt idx="32">
                  <c:v>Roederer</c:v>
                </c:pt>
                <c:pt idx="33">
                  <c:v>Malard</c:v>
                </c:pt>
                <c:pt idx="34">
                  <c:v>Deutz</c:v>
                </c:pt>
                <c:pt idx="35">
                  <c:v>Laurent Per</c:v>
                </c:pt>
              </c:strCache>
            </c:strRef>
          </c:cat>
          <c:val>
            <c:numRef>
              <c:f>Sheet1!$C$2:$C$37</c:f>
              <c:numCache>
                <c:formatCode>General</c:formatCode>
                <c:ptCount val="36"/>
                <c:pt idx="0">
                  <c:v>0.21558757640290954</c:v>
                </c:pt>
                <c:pt idx="1">
                  <c:v>0.41175982520673726</c:v>
                </c:pt>
                <c:pt idx="2">
                  <c:v>0.50001382858091104</c:v>
                </c:pt>
                <c:pt idx="3">
                  <c:v>0.56705478883756943</c:v>
                </c:pt>
                <c:pt idx="4">
                  <c:v>0.61611859390989288</c:v>
                </c:pt>
                <c:pt idx="5">
                  <c:v>0.65895953757225423</c:v>
                </c:pt>
                <c:pt idx="6">
                  <c:v>0.70146859529275096</c:v>
                </c:pt>
                <c:pt idx="7">
                  <c:v>0.74386702436595953</c:v>
                </c:pt>
                <c:pt idx="8">
                  <c:v>0.78272533672594513</c:v>
                </c:pt>
                <c:pt idx="9">
                  <c:v>0.8088336974859639</c:v>
                </c:pt>
                <c:pt idx="10">
                  <c:v>0.83449954365682988</c:v>
                </c:pt>
                <c:pt idx="11">
                  <c:v>0.85482755759603946</c:v>
                </c:pt>
                <c:pt idx="12">
                  <c:v>0.87227922670575542</c:v>
                </c:pt>
                <c:pt idx="13">
                  <c:v>0.88859695218076717</c:v>
                </c:pt>
                <c:pt idx="14">
                  <c:v>0.90311696213734538</c:v>
                </c:pt>
                <c:pt idx="15">
                  <c:v>0.91672428575379583</c:v>
                </c:pt>
                <c:pt idx="16">
                  <c:v>0.92433000525486064</c:v>
                </c:pt>
                <c:pt idx="17">
                  <c:v>0.93074646679757711</c:v>
                </c:pt>
                <c:pt idx="18">
                  <c:v>0.93699698536936127</c:v>
                </c:pt>
                <c:pt idx="19">
                  <c:v>0.94321984677932336</c:v>
                </c:pt>
                <c:pt idx="20">
                  <c:v>0.94902785076195462</c:v>
                </c:pt>
                <c:pt idx="21">
                  <c:v>0.95395082556628019</c:v>
                </c:pt>
                <c:pt idx="22">
                  <c:v>0.95870785739967346</c:v>
                </c:pt>
                <c:pt idx="23">
                  <c:v>0.96346488923306672</c:v>
                </c:pt>
                <c:pt idx="24">
                  <c:v>0.96813894958099378</c:v>
                </c:pt>
                <c:pt idx="25">
                  <c:v>0.97242580966341208</c:v>
                </c:pt>
                <c:pt idx="26">
                  <c:v>0.97649141245125404</c:v>
                </c:pt>
                <c:pt idx="27">
                  <c:v>0.98003152916447689</c:v>
                </c:pt>
                <c:pt idx="28">
                  <c:v>0.98332273142130133</c:v>
                </c:pt>
                <c:pt idx="29">
                  <c:v>0.9865033050308375</c:v>
                </c:pt>
                <c:pt idx="30">
                  <c:v>0.98965622147855159</c:v>
                </c:pt>
                <c:pt idx="31">
                  <c:v>0.99228365185164669</c:v>
                </c:pt>
                <c:pt idx="32">
                  <c:v>0.99455153912105509</c:v>
                </c:pt>
                <c:pt idx="33">
                  <c:v>0.99665348341953119</c:v>
                </c:pt>
                <c:pt idx="34">
                  <c:v>0.99834057029067647</c:v>
                </c:pt>
                <c:pt idx="35">
                  <c:v>0.9999999999999996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c:f>
              <c:strCache>
                <c:ptCount val="20"/>
                <c:pt idx="0">
                  <c:v>Dom Perigno</c:v>
                </c:pt>
                <c:pt idx="1">
                  <c:v>Dom Perigno</c:v>
                </c:pt>
                <c:pt idx="2">
                  <c:v>Dom Perigno</c:v>
                </c:pt>
                <c:pt idx="3">
                  <c:v>Malard</c:v>
                </c:pt>
                <c:pt idx="4">
                  <c:v>Roederer</c:v>
                </c:pt>
                <c:pt idx="5">
                  <c:v>Roederer</c:v>
                </c:pt>
                <c:pt idx="6">
                  <c:v>Ruinart</c:v>
                </c:pt>
                <c:pt idx="7">
                  <c:v>Roederer</c:v>
                </c:pt>
                <c:pt idx="8">
                  <c:v>Ruinart</c:v>
                </c:pt>
                <c:pt idx="9">
                  <c:v>Laurent Per</c:v>
                </c:pt>
                <c:pt idx="10">
                  <c:v>Perrier Jou</c:v>
                </c:pt>
                <c:pt idx="11">
                  <c:v>Bollinger</c:v>
                </c:pt>
                <c:pt idx="12">
                  <c:v>Bollinger</c:v>
                </c:pt>
                <c:pt idx="13">
                  <c:v>Roederer</c:v>
                </c:pt>
                <c:pt idx="14">
                  <c:v>All Others</c:v>
                </c:pt>
                <c:pt idx="15">
                  <c:v>Pommery</c:v>
                </c:pt>
                <c:pt idx="16">
                  <c:v>De Venoge</c:v>
                </c:pt>
                <c:pt idx="17">
                  <c:v>Vesselle</c:v>
                </c:pt>
                <c:pt idx="18">
                  <c:v>Roederer</c:v>
                </c:pt>
                <c:pt idx="19">
                  <c:v>Laurent Per</c:v>
                </c:pt>
              </c:strCache>
            </c:strRef>
          </c:cat>
          <c:val>
            <c:numRef>
              <c:f>Sheet1!$B$2:$B$21</c:f>
              <c:numCache>
                <c:formatCode>General</c:formatCode>
                <c:ptCount val="20"/>
                <c:pt idx="0">
                  <c:v>0.45</c:v>
                </c:pt>
                <c:pt idx="1">
                  <c:v>0.36</c:v>
                </c:pt>
                <c:pt idx="2">
                  <c:v>0.45</c:v>
                </c:pt>
                <c:pt idx="3">
                  <c:v>0.47</c:v>
                </c:pt>
                <c:pt idx="4">
                  <c:v>0.28000000000000003</c:v>
                </c:pt>
                <c:pt idx="5">
                  <c:v>0.28000000000000003</c:v>
                </c:pt>
                <c:pt idx="6">
                  <c:v>0.25</c:v>
                </c:pt>
                <c:pt idx="7">
                  <c:v>0.32</c:v>
                </c:pt>
                <c:pt idx="8">
                  <c:v>0.25</c:v>
                </c:pt>
                <c:pt idx="9">
                  <c:v>0.25</c:v>
                </c:pt>
                <c:pt idx="10">
                  <c:v>0.24</c:v>
                </c:pt>
                <c:pt idx="11">
                  <c:v>0.34</c:v>
                </c:pt>
                <c:pt idx="12">
                  <c:v>0.16</c:v>
                </c:pt>
                <c:pt idx="13">
                  <c:v>0.26</c:v>
                </c:pt>
                <c:pt idx="14">
                  <c:v>0.09</c:v>
                </c:pt>
                <c:pt idx="15">
                  <c:v>0.22</c:v>
                </c:pt>
                <c:pt idx="16">
                  <c:v>0.2</c:v>
                </c:pt>
                <c:pt idx="17">
                  <c:v>0.15</c:v>
                </c:pt>
                <c:pt idx="18">
                  <c:v>0.13</c:v>
                </c:pt>
                <c:pt idx="19">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c:f>
              <c:strCache>
                <c:ptCount val="20"/>
                <c:pt idx="0">
                  <c:v>Dom Perigno</c:v>
                </c:pt>
                <c:pt idx="1">
                  <c:v>Dom Perigno</c:v>
                </c:pt>
                <c:pt idx="2">
                  <c:v>Dom Perigno</c:v>
                </c:pt>
                <c:pt idx="3">
                  <c:v>Malard</c:v>
                </c:pt>
                <c:pt idx="4">
                  <c:v>Roederer</c:v>
                </c:pt>
                <c:pt idx="5">
                  <c:v>Roederer</c:v>
                </c:pt>
                <c:pt idx="6">
                  <c:v>Ruinart</c:v>
                </c:pt>
                <c:pt idx="7">
                  <c:v>Roederer</c:v>
                </c:pt>
                <c:pt idx="8">
                  <c:v>Ruinart</c:v>
                </c:pt>
                <c:pt idx="9">
                  <c:v>Laurent Per</c:v>
                </c:pt>
                <c:pt idx="10">
                  <c:v>Perrier Jou</c:v>
                </c:pt>
                <c:pt idx="11">
                  <c:v>Bollinger</c:v>
                </c:pt>
                <c:pt idx="12">
                  <c:v>Bollinger</c:v>
                </c:pt>
                <c:pt idx="13">
                  <c:v>Roederer</c:v>
                </c:pt>
                <c:pt idx="14">
                  <c:v>All Others</c:v>
                </c:pt>
                <c:pt idx="15">
                  <c:v>Pommery</c:v>
                </c:pt>
                <c:pt idx="16">
                  <c:v>De Venoge</c:v>
                </c:pt>
                <c:pt idx="17">
                  <c:v>Vesselle</c:v>
                </c:pt>
                <c:pt idx="18">
                  <c:v>Roederer</c:v>
                </c:pt>
                <c:pt idx="19">
                  <c:v>Laurent Per</c:v>
                </c:pt>
              </c:strCache>
            </c:strRef>
          </c:cat>
          <c:val>
            <c:numRef>
              <c:f>Sheet1!$C$2:$C$21</c:f>
              <c:numCache>
                <c:formatCode>General</c:formatCode>
                <c:ptCount val="20"/>
                <c:pt idx="0">
                  <c:v>0.17296780363404526</c:v>
                </c:pt>
                <c:pt idx="1">
                  <c:v>0.29569652534268409</c:v>
                </c:pt>
                <c:pt idx="2">
                  <c:v>0.41804271597067261</c:v>
                </c:pt>
                <c:pt idx="3">
                  <c:v>0.51386675167357343</c:v>
                </c:pt>
                <c:pt idx="4">
                  <c:v>0.57985336308575064</c:v>
                </c:pt>
                <c:pt idx="5">
                  <c:v>0.64583997449792785</c:v>
                </c:pt>
                <c:pt idx="6">
                  <c:v>0.70774625438316852</c:v>
                </c:pt>
                <c:pt idx="7">
                  <c:v>0.76525342684093067</c:v>
                </c:pt>
                <c:pt idx="8">
                  <c:v>0.8026139623844436</c:v>
                </c:pt>
                <c:pt idx="9">
                  <c:v>0.8339815109977684</c:v>
                </c:pt>
                <c:pt idx="10">
                  <c:v>0.86534905961109321</c:v>
                </c:pt>
                <c:pt idx="11">
                  <c:v>0.89301880777813181</c:v>
                </c:pt>
                <c:pt idx="12">
                  <c:v>0.91711826585910083</c:v>
                </c:pt>
                <c:pt idx="13">
                  <c:v>0.93815747529486748</c:v>
                </c:pt>
                <c:pt idx="14">
                  <c:v>0.95441504622250539</c:v>
                </c:pt>
                <c:pt idx="15">
                  <c:v>0.96831367548613301</c:v>
                </c:pt>
                <c:pt idx="16">
                  <c:v>0.98068218042715949</c:v>
                </c:pt>
                <c:pt idx="17">
                  <c:v>0.99062798852406742</c:v>
                </c:pt>
                <c:pt idx="18">
                  <c:v>0.9962384443736052</c:v>
                </c:pt>
                <c:pt idx="19">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Dom Perigno</c:v>
                </c:pt>
                <c:pt idx="1">
                  <c:v>Roederer</c:v>
                </c:pt>
                <c:pt idx="2">
                  <c:v>Dom Perigno</c:v>
                </c:pt>
                <c:pt idx="3">
                  <c:v>Malard</c:v>
                </c:pt>
                <c:pt idx="4">
                  <c:v>Ruinart</c:v>
                </c:pt>
                <c:pt idx="5">
                  <c:v>Roederer</c:v>
                </c:pt>
                <c:pt idx="6">
                  <c:v>Dom Perigno</c:v>
                </c:pt>
                <c:pt idx="7">
                  <c:v>Roederer</c:v>
                </c:pt>
                <c:pt idx="8">
                  <c:v>Roederer</c:v>
                </c:pt>
                <c:pt idx="9">
                  <c:v>Ruinart</c:v>
                </c:pt>
                <c:pt idx="10">
                  <c:v>Piper Heids</c:v>
                </c:pt>
                <c:pt idx="11">
                  <c:v>All Others</c:v>
                </c:pt>
                <c:pt idx="12">
                  <c:v>Ruinart</c:v>
                </c:pt>
                <c:pt idx="13">
                  <c:v>Roederer</c:v>
                </c:pt>
                <c:pt idx="14">
                  <c:v>Dom Perigno</c:v>
                </c:pt>
                <c:pt idx="15">
                  <c:v>Piper Heids</c:v>
                </c:pt>
                <c:pt idx="16">
                  <c:v>Bollinger</c:v>
                </c:pt>
                <c:pt idx="17">
                  <c:v>Pommery</c:v>
                </c:pt>
                <c:pt idx="18">
                  <c:v>Roederer</c:v>
                </c:pt>
                <c:pt idx="19">
                  <c:v>Ruinart</c:v>
                </c:pt>
                <c:pt idx="20">
                  <c:v>Laurent Per</c:v>
                </c:pt>
                <c:pt idx="21">
                  <c:v>Vranken</c:v>
                </c:pt>
              </c:strCache>
            </c:strRef>
          </c:cat>
          <c:val>
            <c:numRef>
              <c:f>Sheet1!$B$2:$B$23</c:f>
              <c:numCache>
                <c:formatCode>General</c:formatCode>
                <c:ptCount val="22"/>
                <c:pt idx="0">
                  <c:v>0.27</c:v>
                </c:pt>
                <c:pt idx="1">
                  <c:v>0.44</c:v>
                </c:pt>
                <c:pt idx="2">
                  <c:v>0.43</c:v>
                </c:pt>
                <c:pt idx="3">
                  <c:v>0.77</c:v>
                </c:pt>
                <c:pt idx="4">
                  <c:v>0.65</c:v>
                </c:pt>
                <c:pt idx="5">
                  <c:v>0.42</c:v>
                </c:pt>
                <c:pt idx="6">
                  <c:v>0.26</c:v>
                </c:pt>
                <c:pt idx="7">
                  <c:v>0.24</c:v>
                </c:pt>
                <c:pt idx="8">
                  <c:v>0.28000000000000003</c:v>
                </c:pt>
                <c:pt idx="9">
                  <c:v>0.17</c:v>
                </c:pt>
                <c:pt idx="10">
                  <c:v>0.12</c:v>
                </c:pt>
                <c:pt idx="11">
                  <c:v>0.3</c:v>
                </c:pt>
                <c:pt idx="12">
                  <c:v>0.2</c:v>
                </c:pt>
                <c:pt idx="13">
                  <c:v>0.17</c:v>
                </c:pt>
                <c:pt idx="14">
                  <c:v>0.1</c:v>
                </c:pt>
                <c:pt idx="15">
                  <c:v>0.3</c:v>
                </c:pt>
                <c:pt idx="16">
                  <c:v>0.25</c:v>
                </c:pt>
                <c:pt idx="17">
                  <c:v>0.26</c:v>
                </c:pt>
                <c:pt idx="18">
                  <c:v>0.41</c:v>
                </c:pt>
                <c:pt idx="19">
                  <c:v>0.06</c:v>
                </c:pt>
                <c:pt idx="20">
                  <c:v>0.32</c:v>
                </c:pt>
                <c:pt idx="21">
                  <c:v>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Dom Perigno</c:v>
                </c:pt>
                <c:pt idx="1">
                  <c:v>Roederer</c:v>
                </c:pt>
                <c:pt idx="2">
                  <c:v>Dom Perigno</c:v>
                </c:pt>
                <c:pt idx="3">
                  <c:v>Malard</c:v>
                </c:pt>
                <c:pt idx="4">
                  <c:v>Ruinart</c:v>
                </c:pt>
                <c:pt idx="5">
                  <c:v>Roederer</c:v>
                </c:pt>
                <c:pt idx="6">
                  <c:v>Dom Perigno</c:v>
                </c:pt>
                <c:pt idx="7">
                  <c:v>Roederer</c:v>
                </c:pt>
                <c:pt idx="8">
                  <c:v>Roederer</c:v>
                </c:pt>
                <c:pt idx="9">
                  <c:v>Ruinart</c:v>
                </c:pt>
                <c:pt idx="10">
                  <c:v>Piper Heids</c:v>
                </c:pt>
                <c:pt idx="11">
                  <c:v>All Others</c:v>
                </c:pt>
                <c:pt idx="12">
                  <c:v>Ruinart</c:v>
                </c:pt>
                <c:pt idx="13">
                  <c:v>Roederer</c:v>
                </c:pt>
                <c:pt idx="14">
                  <c:v>Dom Perigno</c:v>
                </c:pt>
                <c:pt idx="15">
                  <c:v>Piper Heids</c:v>
                </c:pt>
                <c:pt idx="16">
                  <c:v>Bollinger</c:v>
                </c:pt>
                <c:pt idx="17">
                  <c:v>Pommery</c:v>
                </c:pt>
                <c:pt idx="18">
                  <c:v>Roederer</c:v>
                </c:pt>
                <c:pt idx="19">
                  <c:v>Ruinart</c:v>
                </c:pt>
                <c:pt idx="20">
                  <c:v>Laurent Per</c:v>
                </c:pt>
                <c:pt idx="21">
                  <c:v>Vranken</c:v>
                </c:pt>
              </c:strCache>
            </c:strRef>
          </c:cat>
          <c:val>
            <c:numRef>
              <c:f>Sheet1!$C$2:$C$23</c:f>
              <c:numCache>
                <c:formatCode>General</c:formatCode>
                <c:ptCount val="22"/>
                <c:pt idx="0">
                  <c:v>0.15729136306227534</c:v>
                </c:pt>
                <c:pt idx="1">
                  <c:v>0.29282036335373557</c:v>
                </c:pt>
                <c:pt idx="2">
                  <c:v>0.42106285825318179</c:v>
                </c:pt>
                <c:pt idx="3">
                  <c:v>0.54784805207422527</c:v>
                </c:pt>
                <c:pt idx="4">
                  <c:v>0.65151073545127769</c:v>
                </c:pt>
                <c:pt idx="5">
                  <c:v>0.71393179830953091</c:v>
                </c:pt>
                <c:pt idx="6">
                  <c:v>0.76245992422034403</c:v>
                </c:pt>
                <c:pt idx="7">
                  <c:v>0.79840668415427973</c:v>
                </c:pt>
                <c:pt idx="8">
                  <c:v>0.82910716020596531</c:v>
                </c:pt>
                <c:pt idx="9">
                  <c:v>0.85869037209754207</c:v>
                </c:pt>
                <c:pt idx="10">
                  <c:v>0.88297872340425532</c:v>
                </c:pt>
                <c:pt idx="11">
                  <c:v>0.90503254639075104</c:v>
                </c:pt>
                <c:pt idx="12">
                  <c:v>0.92349169338385317</c:v>
                </c:pt>
                <c:pt idx="13">
                  <c:v>0.93782182065481401</c:v>
                </c:pt>
                <c:pt idx="14">
                  <c:v>0.95113183717089289</c:v>
                </c:pt>
                <c:pt idx="15">
                  <c:v>0.96303312931118246</c:v>
                </c:pt>
                <c:pt idx="16">
                  <c:v>0.97357427377829597</c:v>
                </c:pt>
                <c:pt idx="17">
                  <c:v>0.98309530749052754</c:v>
                </c:pt>
                <c:pt idx="18">
                  <c:v>0.99193626736617113</c:v>
                </c:pt>
                <c:pt idx="19">
                  <c:v>0.99596813368308557</c:v>
                </c:pt>
                <c:pt idx="20">
                  <c:v>0.99883415913727769</c:v>
                </c:pt>
                <c:pt idx="21">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Dom Perigno</c:v>
                </c:pt>
                <c:pt idx="1">
                  <c:v>Dom Perigno</c:v>
                </c:pt>
                <c:pt idx="2">
                  <c:v>Dom Perigno</c:v>
                </c:pt>
                <c:pt idx="3">
                  <c:v>Malard</c:v>
                </c:pt>
                <c:pt idx="4">
                  <c:v>Roederer</c:v>
                </c:pt>
                <c:pt idx="5">
                  <c:v>Ruinart</c:v>
                </c:pt>
                <c:pt idx="6">
                  <c:v>Roederer</c:v>
                </c:pt>
                <c:pt idx="7">
                  <c:v>Ruinart</c:v>
                </c:pt>
                <c:pt idx="8">
                  <c:v>Dom Perigno</c:v>
                </c:pt>
                <c:pt idx="9">
                  <c:v>De Venoge</c:v>
                </c:pt>
                <c:pt idx="10">
                  <c:v>Ruinart</c:v>
                </c:pt>
                <c:pt idx="11">
                  <c:v>Roederer</c:v>
                </c:pt>
                <c:pt idx="12">
                  <c:v>Laurent Per</c:v>
                </c:pt>
              </c:strCache>
            </c:strRef>
          </c:cat>
          <c:val>
            <c:numRef>
              <c:f>Sheet1!$B$2:$B$14</c:f>
              <c:numCache>
                <c:formatCode>General</c:formatCode>
                <c:ptCount val="13"/>
                <c:pt idx="0">
                  <c:v>0.47</c:v>
                </c:pt>
                <c:pt idx="1">
                  <c:v>0.4</c:v>
                </c:pt>
                <c:pt idx="2">
                  <c:v>0.44</c:v>
                </c:pt>
                <c:pt idx="3">
                  <c:v>0.53</c:v>
                </c:pt>
                <c:pt idx="4">
                  <c:v>0.35</c:v>
                </c:pt>
                <c:pt idx="5">
                  <c:v>0.64</c:v>
                </c:pt>
                <c:pt idx="6">
                  <c:v>0.5</c:v>
                </c:pt>
                <c:pt idx="7">
                  <c:v>0.35</c:v>
                </c:pt>
                <c:pt idx="8">
                  <c:v>0.37</c:v>
                </c:pt>
                <c:pt idx="9">
                  <c:v>0.4</c:v>
                </c:pt>
                <c:pt idx="10">
                  <c:v>0.28000000000000003</c:v>
                </c:pt>
                <c:pt idx="11">
                  <c:v>0.25</c:v>
                </c:pt>
                <c:pt idx="12">
                  <c:v>0.1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Dom Perigno</c:v>
                </c:pt>
                <c:pt idx="1">
                  <c:v>Dom Perigno</c:v>
                </c:pt>
                <c:pt idx="2">
                  <c:v>Dom Perigno</c:v>
                </c:pt>
                <c:pt idx="3">
                  <c:v>Malard</c:v>
                </c:pt>
                <c:pt idx="4">
                  <c:v>Roederer</c:v>
                </c:pt>
                <c:pt idx="5">
                  <c:v>Ruinart</c:v>
                </c:pt>
                <c:pt idx="6">
                  <c:v>Roederer</c:v>
                </c:pt>
                <c:pt idx="7">
                  <c:v>Ruinart</c:v>
                </c:pt>
                <c:pt idx="8">
                  <c:v>Dom Perigno</c:v>
                </c:pt>
                <c:pt idx="9">
                  <c:v>De Venoge</c:v>
                </c:pt>
                <c:pt idx="10">
                  <c:v>Ruinart</c:v>
                </c:pt>
                <c:pt idx="11">
                  <c:v>Roederer</c:v>
                </c:pt>
                <c:pt idx="12">
                  <c:v>Laurent Per</c:v>
                </c:pt>
              </c:strCache>
            </c:strRef>
          </c:cat>
          <c:val>
            <c:numRef>
              <c:f>Sheet1!$C$2:$C$14</c:f>
              <c:numCache>
                <c:formatCode>General</c:formatCode>
                <c:ptCount val="13"/>
                <c:pt idx="0">
                  <c:v>0.32830448767039361</c:v>
                </c:pt>
                <c:pt idx="1">
                  <c:v>0.48529637004135395</c:v>
                </c:pt>
                <c:pt idx="2">
                  <c:v>0.63225608822177981</c:v>
                </c:pt>
                <c:pt idx="3">
                  <c:v>0.71228365752795231</c:v>
                </c:pt>
                <c:pt idx="4">
                  <c:v>0.78396385357635179</c:v>
                </c:pt>
                <c:pt idx="5">
                  <c:v>0.85235104916526283</c:v>
                </c:pt>
                <c:pt idx="6">
                  <c:v>0.88673610047480489</c:v>
                </c:pt>
                <c:pt idx="7">
                  <c:v>0.92050850053607003</c:v>
                </c:pt>
                <c:pt idx="8">
                  <c:v>0.94149180578955449</c:v>
                </c:pt>
                <c:pt idx="9">
                  <c:v>0.96124980854648512</c:v>
                </c:pt>
                <c:pt idx="10">
                  <c:v>0.97625976412926962</c:v>
                </c:pt>
                <c:pt idx="11">
                  <c:v>0.99019758002756952</c:v>
                </c:pt>
                <c:pt idx="12">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8</c:f>
              <c:strCache>
                <c:ptCount val="17"/>
                <c:pt idx="0">
                  <c:v>Malard</c:v>
                </c:pt>
                <c:pt idx="1">
                  <c:v>Dom Perigno</c:v>
                </c:pt>
                <c:pt idx="2">
                  <c:v>Dom Perigno</c:v>
                </c:pt>
                <c:pt idx="3">
                  <c:v>Dom Perigno</c:v>
                </c:pt>
                <c:pt idx="4">
                  <c:v>Ruinart</c:v>
                </c:pt>
                <c:pt idx="5">
                  <c:v>Roederer</c:v>
                </c:pt>
                <c:pt idx="6">
                  <c:v>Roederer</c:v>
                </c:pt>
                <c:pt idx="7">
                  <c:v>Ruinart</c:v>
                </c:pt>
                <c:pt idx="8">
                  <c:v>Pommery</c:v>
                </c:pt>
                <c:pt idx="9">
                  <c:v>Roederer</c:v>
                </c:pt>
                <c:pt idx="10">
                  <c:v>Perrier Jou</c:v>
                </c:pt>
                <c:pt idx="11">
                  <c:v>De Venoge</c:v>
                </c:pt>
                <c:pt idx="12">
                  <c:v>Veuve Clicq</c:v>
                </c:pt>
                <c:pt idx="13">
                  <c:v>Malard</c:v>
                </c:pt>
                <c:pt idx="14">
                  <c:v>Laurent Per</c:v>
                </c:pt>
                <c:pt idx="15">
                  <c:v>Ruinart</c:v>
                </c:pt>
                <c:pt idx="16">
                  <c:v>Roederer</c:v>
                </c:pt>
              </c:strCache>
            </c:strRef>
          </c:cat>
          <c:val>
            <c:numRef>
              <c:f>Sheet1!$B$2:$B$18</c:f>
              <c:numCache>
                <c:formatCode>General</c:formatCode>
                <c:ptCount val="17"/>
                <c:pt idx="0">
                  <c:v>0.82</c:v>
                </c:pt>
                <c:pt idx="1">
                  <c:v>0.44</c:v>
                </c:pt>
                <c:pt idx="2">
                  <c:v>0.3</c:v>
                </c:pt>
                <c:pt idx="3">
                  <c:v>0.44</c:v>
                </c:pt>
                <c:pt idx="4">
                  <c:v>0.88</c:v>
                </c:pt>
                <c:pt idx="5">
                  <c:v>0.43</c:v>
                </c:pt>
                <c:pt idx="6">
                  <c:v>0.26</c:v>
                </c:pt>
                <c:pt idx="7">
                  <c:v>0.21</c:v>
                </c:pt>
                <c:pt idx="8">
                  <c:v>0.27</c:v>
                </c:pt>
                <c:pt idx="9">
                  <c:v>0.23</c:v>
                </c:pt>
                <c:pt idx="10">
                  <c:v>0.2</c:v>
                </c:pt>
                <c:pt idx="11">
                  <c:v>0.12</c:v>
                </c:pt>
                <c:pt idx="12">
                  <c:v>0.05</c:v>
                </c:pt>
                <c:pt idx="13">
                  <c:v>0.14000000000000001</c:v>
                </c:pt>
                <c:pt idx="14">
                  <c:v>0.31</c:v>
                </c:pt>
                <c:pt idx="15">
                  <c:v>0.15</c:v>
                </c:pt>
                <c:pt idx="16">
                  <c:v>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8</c:f>
              <c:strCache>
                <c:ptCount val="17"/>
                <c:pt idx="0">
                  <c:v>Malard</c:v>
                </c:pt>
                <c:pt idx="1">
                  <c:v>Dom Perigno</c:v>
                </c:pt>
                <c:pt idx="2">
                  <c:v>Dom Perigno</c:v>
                </c:pt>
                <c:pt idx="3">
                  <c:v>Dom Perigno</c:v>
                </c:pt>
                <c:pt idx="4">
                  <c:v>Ruinart</c:v>
                </c:pt>
                <c:pt idx="5">
                  <c:v>Roederer</c:v>
                </c:pt>
                <c:pt idx="6">
                  <c:v>Roederer</c:v>
                </c:pt>
                <c:pt idx="7">
                  <c:v>Ruinart</c:v>
                </c:pt>
                <c:pt idx="8">
                  <c:v>Pommery</c:v>
                </c:pt>
                <c:pt idx="9">
                  <c:v>Roederer</c:v>
                </c:pt>
                <c:pt idx="10">
                  <c:v>Perrier Jou</c:v>
                </c:pt>
                <c:pt idx="11">
                  <c:v>De Venoge</c:v>
                </c:pt>
                <c:pt idx="12">
                  <c:v>Veuve Clicq</c:v>
                </c:pt>
                <c:pt idx="13">
                  <c:v>Malard</c:v>
                </c:pt>
                <c:pt idx="14">
                  <c:v>Laurent Per</c:v>
                </c:pt>
                <c:pt idx="15">
                  <c:v>Ruinart</c:v>
                </c:pt>
                <c:pt idx="16">
                  <c:v>Roederer</c:v>
                </c:pt>
              </c:strCache>
            </c:strRef>
          </c:cat>
          <c:val>
            <c:numRef>
              <c:f>Sheet1!$C$2:$C$18</c:f>
              <c:numCache>
                <c:formatCode>General</c:formatCode>
                <c:ptCount val="17"/>
                <c:pt idx="0">
                  <c:v>0.24535549110292387</c:v>
                </c:pt>
                <c:pt idx="1">
                  <c:v>0.43654464215724698</c:v>
                </c:pt>
                <c:pt idx="2">
                  <c:v>0.56353374617856855</c:v>
                </c:pt>
                <c:pt idx="3">
                  <c:v>0.65752136082150969</c:v>
                </c:pt>
                <c:pt idx="4">
                  <c:v>0.74954926706906</c:v>
                </c:pt>
                <c:pt idx="5">
                  <c:v>0.80449949047581704</c:v>
                </c:pt>
                <c:pt idx="6">
                  <c:v>0.8394606882495883</c:v>
                </c:pt>
                <c:pt idx="7">
                  <c:v>0.86948342086697483</c:v>
                </c:pt>
                <c:pt idx="8">
                  <c:v>0.89597867837265799</c:v>
                </c:pt>
                <c:pt idx="9">
                  <c:v>0.91777063572940332</c:v>
                </c:pt>
                <c:pt idx="10">
                  <c:v>0.93705416634004846</c:v>
                </c:pt>
                <c:pt idx="11">
                  <c:v>0.9523398918240964</c:v>
                </c:pt>
                <c:pt idx="12">
                  <c:v>0.9660578505918318</c:v>
                </c:pt>
                <c:pt idx="13">
                  <c:v>0.97726738261346702</c:v>
                </c:pt>
                <c:pt idx="14">
                  <c:v>0.98690914791878959</c:v>
                </c:pt>
                <c:pt idx="15">
                  <c:v>0.99357215646311814</c:v>
                </c:pt>
                <c:pt idx="1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c:f>
              <c:strCache>
                <c:ptCount val="34"/>
                <c:pt idx="0">
                  <c:v>Ruinart</c:v>
                </c:pt>
                <c:pt idx="1">
                  <c:v>Deutz</c:v>
                </c:pt>
                <c:pt idx="2">
                  <c:v>Laurent Per</c:v>
                </c:pt>
                <c:pt idx="3">
                  <c:v>Ruinart</c:v>
                </c:pt>
                <c:pt idx="4">
                  <c:v>Nicolas</c:v>
                </c:pt>
                <c:pt idx="5">
                  <c:v>Demoiselle</c:v>
                </c:pt>
                <c:pt idx="6">
                  <c:v>Pommery</c:v>
                </c:pt>
                <c:pt idx="7">
                  <c:v>Besserat De</c:v>
                </c:pt>
                <c:pt idx="8">
                  <c:v>Malard</c:v>
                </c:pt>
                <c:pt idx="9">
                  <c:v>Nicolas Feu</c:v>
                </c:pt>
                <c:pt idx="10">
                  <c:v>Ruinart</c:v>
                </c:pt>
                <c:pt idx="11">
                  <c:v>Dom Perigno</c:v>
                </c:pt>
                <c:pt idx="12">
                  <c:v>Ruinart</c:v>
                </c:pt>
                <c:pt idx="13">
                  <c:v>Bollinger</c:v>
                </c:pt>
                <c:pt idx="14">
                  <c:v>Krug</c:v>
                </c:pt>
                <c:pt idx="15">
                  <c:v>Deutz</c:v>
                </c:pt>
                <c:pt idx="16">
                  <c:v>Nicolas</c:v>
                </c:pt>
                <c:pt idx="17">
                  <c:v>Nicolas</c:v>
                </c:pt>
                <c:pt idx="18">
                  <c:v>Besserat De</c:v>
                </c:pt>
                <c:pt idx="19">
                  <c:v>All Others</c:v>
                </c:pt>
                <c:pt idx="20">
                  <c:v>Deutz</c:v>
                </c:pt>
                <c:pt idx="21">
                  <c:v>Moët &amp; Chan</c:v>
                </c:pt>
                <c:pt idx="22">
                  <c:v>Nicolas</c:v>
                </c:pt>
                <c:pt idx="23">
                  <c:v>All Others</c:v>
                </c:pt>
                <c:pt idx="24">
                  <c:v>Demoiselle</c:v>
                </c:pt>
                <c:pt idx="25">
                  <c:v>Taittinger</c:v>
                </c:pt>
                <c:pt idx="26">
                  <c:v>Bollinger</c:v>
                </c:pt>
                <c:pt idx="27">
                  <c:v>Ruinart</c:v>
                </c:pt>
                <c:pt idx="28">
                  <c:v>Perrier Jou</c:v>
                </c:pt>
                <c:pt idx="29">
                  <c:v>Laurent Per</c:v>
                </c:pt>
                <c:pt idx="30">
                  <c:v>Nicolas</c:v>
                </c:pt>
                <c:pt idx="31">
                  <c:v>Demoiselle</c:v>
                </c:pt>
                <c:pt idx="32">
                  <c:v>Henriot</c:v>
                </c:pt>
                <c:pt idx="33">
                  <c:v>Ruinart</c:v>
                </c:pt>
              </c:strCache>
            </c:strRef>
          </c:cat>
          <c:val>
            <c:numRef>
              <c:f>Sheet1!$B$2:$B$35</c:f>
              <c:numCache>
                <c:formatCode>General</c:formatCode>
                <c:ptCount val="34"/>
                <c:pt idx="0">
                  <c:v>0.6</c:v>
                </c:pt>
                <c:pt idx="1">
                  <c:v>0.83</c:v>
                </c:pt>
                <c:pt idx="2">
                  <c:v>0.56999999999999995</c:v>
                </c:pt>
                <c:pt idx="3">
                  <c:v>0.56000000000000005</c:v>
                </c:pt>
                <c:pt idx="4">
                  <c:v>0.83</c:v>
                </c:pt>
                <c:pt idx="5">
                  <c:v>0.78</c:v>
                </c:pt>
                <c:pt idx="6">
                  <c:v>0.68</c:v>
                </c:pt>
                <c:pt idx="7">
                  <c:v>0.5</c:v>
                </c:pt>
                <c:pt idx="8">
                  <c:v>0.5</c:v>
                </c:pt>
                <c:pt idx="9">
                  <c:v>0.44</c:v>
                </c:pt>
                <c:pt idx="10">
                  <c:v>0.39</c:v>
                </c:pt>
                <c:pt idx="11">
                  <c:v>0.39</c:v>
                </c:pt>
                <c:pt idx="12">
                  <c:v>0.47</c:v>
                </c:pt>
                <c:pt idx="13">
                  <c:v>0.52</c:v>
                </c:pt>
                <c:pt idx="14">
                  <c:v>0.28000000000000003</c:v>
                </c:pt>
                <c:pt idx="15">
                  <c:v>0.39</c:v>
                </c:pt>
                <c:pt idx="16">
                  <c:v>0.43</c:v>
                </c:pt>
                <c:pt idx="17">
                  <c:v>0.41</c:v>
                </c:pt>
                <c:pt idx="18">
                  <c:v>0.39</c:v>
                </c:pt>
                <c:pt idx="19">
                  <c:v>0.28000000000000003</c:v>
                </c:pt>
                <c:pt idx="20">
                  <c:v>0.28000000000000003</c:v>
                </c:pt>
                <c:pt idx="21">
                  <c:v>0.39</c:v>
                </c:pt>
                <c:pt idx="22">
                  <c:v>0.15</c:v>
                </c:pt>
                <c:pt idx="23">
                  <c:v>0.36</c:v>
                </c:pt>
                <c:pt idx="24">
                  <c:v>7.0000000000000007E-2</c:v>
                </c:pt>
                <c:pt idx="25">
                  <c:v>0.28000000000000003</c:v>
                </c:pt>
                <c:pt idx="26">
                  <c:v>0.1</c:v>
                </c:pt>
                <c:pt idx="27">
                  <c:v>0.03</c:v>
                </c:pt>
                <c:pt idx="28">
                  <c:v>0.26</c:v>
                </c:pt>
                <c:pt idx="29">
                  <c:v>0.02</c:v>
                </c:pt>
                <c:pt idx="30">
                  <c:v>0.12</c:v>
                </c:pt>
                <c:pt idx="31">
                  <c:v>0.09</c:v>
                </c:pt>
                <c:pt idx="32">
                  <c:v>0.03</c:v>
                </c:pt>
                <c:pt idx="33">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5</c:f>
              <c:strCache>
                <c:ptCount val="34"/>
                <c:pt idx="0">
                  <c:v>Ruinart</c:v>
                </c:pt>
                <c:pt idx="1">
                  <c:v>Deutz</c:v>
                </c:pt>
                <c:pt idx="2">
                  <c:v>Laurent Per</c:v>
                </c:pt>
                <c:pt idx="3">
                  <c:v>Ruinart</c:v>
                </c:pt>
                <c:pt idx="4">
                  <c:v>Nicolas</c:v>
                </c:pt>
                <c:pt idx="5">
                  <c:v>Demoiselle</c:v>
                </c:pt>
                <c:pt idx="6">
                  <c:v>Pommery</c:v>
                </c:pt>
                <c:pt idx="7">
                  <c:v>Besserat De</c:v>
                </c:pt>
                <c:pt idx="8">
                  <c:v>Malard</c:v>
                </c:pt>
                <c:pt idx="9">
                  <c:v>Nicolas Feu</c:v>
                </c:pt>
                <c:pt idx="10">
                  <c:v>Ruinart</c:v>
                </c:pt>
                <c:pt idx="11">
                  <c:v>Dom Perigno</c:v>
                </c:pt>
                <c:pt idx="12">
                  <c:v>Ruinart</c:v>
                </c:pt>
                <c:pt idx="13">
                  <c:v>Bollinger</c:v>
                </c:pt>
                <c:pt idx="14">
                  <c:v>Krug</c:v>
                </c:pt>
                <c:pt idx="15">
                  <c:v>Deutz</c:v>
                </c:pt>
                <c:pt idx="16">
                  <c:v>Nicolas</c:v>
                </c:pt>
                <c:pt idx="17">
                  <c:v>Nicolas</c:v>
                </c:pt>
                <c:pt idx="18">
                  <c:v>Besserat De</c:v>
                </c:pt>
                <c:pt idx="19">
                  <c:v>All Others</c:v>
                </c:pt>
                <c:pt idx="20">
                  <c:v>Deutz</c:v>
                </c:pt>
                <c:pt idx="21">
                  <c:v>Moët &amp; Chan</c:v>
                </c:pt>
                <c:pt idx="22">
                  <c:v>Nicolas</c:v>
                </c:pt>
                <c:pt idx="23">
                  <c:v>All Others</c:v>
                </c:pt>
                <c:pt idx="24">
                  <c:v>Demoiselle</c:v>
                </c:pt>
                <c:pt idx="25">
                  <c:v>Taittinger</c:v>
                </c:pt>
                <c:pt idx="26">
                  <c:v>Bollinger</c:v>
                </c:pt>
                <c:pt idx="27">
                  <c:v>Ruinart</c:v>
                </c:pt>
                <c:pt idx="28">
                  <c:v>Perrier Jou</c:v>
                </c:pt>
                <c:pt idx="29">
                  <c:v>Laurent Per</c:v>
                </c:pt>
                <c:pt idx="30">
                  <c:v>Nicolas</c:v>
                </c:pt>
                <c:pt idx="31">
                  <c:v>Demoiselle</c:v>
                </c:pt>
                <c:pt idx="32">
                  <c:v>Henriot</c:v>
                </c:pt>
                <c:pt idx="33">
                  <c:v>Ruinart</c:v>
                </c:pt>
              </c:strCache>
            </c:strRef>
          </c:cat>
          <c:val>
            <c:numRef>
              <c:f>Sheet1!$C$2:$C$35</c:f>
              <c:numCache>
                <c:formatCode>General</c:formatCode>
                <c:ptCount val="34"/>
                <c:pt idx="0">
                  <c:v>0.17574509648636519</c:v>
                </c:pt>
                <c:pt idx="1">
                  <c:v>0.29035136348037272</c:v>
                </c:pt>
                <c:pt idx="2">
                  <c:v>0.40408648134948916</c:v>
                </c:pt>
                <c:pt idx="3">
                  <c:v>0.49764789736279397</c:v>
                </c:pt>
                <c:pt idx="4">
                  <c:v>0.57704390063620281</c:v>
                </c:pt>
                <c:pt idx="5">
                  <c:v>0.64066946490324961</c:v>
                </c:pt>
                <c:pt idx="6">
                  <c:v>0.68638631503920167</c:v>
                </c:pt>
                <c:pt idx="7">
                  <c:v>0.73088883609197219</c:v>
                </c:pt>
                <c:pt idx="8">
                  <c:v>0.7712467991869274</c:v>
                </c:pt>
                <c:pt idx="9">
                  <c:v>0.81018452522372686</c:v>
                </c:pt>
                <c:pt idx="10">
                  <c:v>0.846535202344183</c:v>
                </c:pt>
                <c:pt idx="11">
                  <c:v>0.8754626329822337</c:v>
                </c:pt>
                <c:pt idx="12">
                  <c:v>0.89905229534595166</c:v>
                </c:pt>
                <c:pt idx="13">
                  <c:v>0.91871386711016068</c:v>
                </c:pt>
                <c:pt idx="14">
                  <c:v>0.9329426361500488</c:v>
                </c:pt>
                <c:pt idx="15">
                  <c:v>0.94629497637337978</c:v>
                </c:pt>
                <c:pt idx="16">
                  <c:v>0.95746152424698394</c:v>
                </c:pt>
                <c:pt idx="17">
                  <c:v>0.96623109210422109</c:v>
                </c:pt>
                <c:pt idx="18">
                  <c:v>0.97209682954515453</c:v>
                </c:pt>
                <c:pt idx="19">
                  <c:v>0.97779889654444174</c:v>
                </c:pt>
                <c:pt idx="20">
                  <c:v>0.98104590691903582</c:v>
                </c:pt>
                <c:pt idx="21">
                  <c:v>0.98389694041867948</c:v>
                </c:pt>
                <c:pt idx="22">
                  <c:v>0.98642063303503069</c:v>
                </c:pt>
                <c:pt idx="23">
                  <c:v>0.98873313798474161</c:v>
                </c:pt>
                <c:pt idx="24">
                  <c:v>0.99104564293445252</c:v>
                </c:pt>
                <c:pt idx="25">
                  <c:v>0.99281433964256471</c:v>
                </c:pt>
                <c:pt idx="26">
                  <c:v>0.99391779520076007</c:v>
                </c:pt>
                <c:pt idx="27">
                  <c:v>0.99500013199229143</c:v>
                </c:pt>
                <c:pt idx="28">
                  <c:v>0.99608246878382278</c:v>
                </c:pt>
                <c:pt idx="29">
                  <c:v>0.99713840711702417</c:v>
                </c:pt>
                <c:pt idx="30">
                  <c:v>0.99816794699189548</c:v>
                </c:pt>
                <c:pt idx="31">
                  <c:v>0.99898101950846052</c:v>
                </c:pt>
                <c:pt idx="32">
                  <c:v>0.99957762466671929</c:v>
                </c:pt>
                <c:pt idx="33">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c:f>
              <c:strCache>
                <c:ptCount val="30"/>
                <c:pt idx="0">
                  <c:v>Ruinart</c:v>
                </c:pt>
                <c:pt idx="1">
                  <c:v>Laurent Per</c:v>
                </c:pt>
                <c:pt idx="2">
                  <c:v>Demoiselle</c:v>
                </c:pt>
                <c:pt idx="3">
                  <c:v>Deutz</c:v>
                </c:pt>
                <c:pt idx="4">
                  <c:v>Nicolas</c:v>
                </c:pt>
                <c:pt idx="5">
                  <c:v>Ruinart</c:v>
                </c:pt>
                <c:pt idx="6">
                  <c:v>Nicolas Feu</c:v>
                </c:pt>
                <c:pt idx="7">
                  <c:v>Besserat De</c:v>
                </c:pt>
                <c:pt idx="8">
                  <c:v>Pommery</c:v>
                </c:pt>
                <c:pt idx="9">
                  <c:v>Malard</c:v>
                </c:pt>
                <c:pt idx="10">
                  <c:v>Ruinart</c:v>
                </c:pt>
                <c:pt idx="11">
                  <c:v>Ruinart</c:v>
                </c:pt>
                <c:pt idx="12">
                  <c:v>Bollinger</c:v>
                </c:pt>
                <c:pt idx="13">
                  <c:v>Nicolas</c:v>
                </c:pt>
                <c:pt idx="14">
                  <c:v>Deutz</c:v>
                </c:pt>
                <c:pt idx="15">
                  <c:v>Besserat De</c:v>
                </c:pt>
                <c:pt idx="16">
                  <c:v>Nicolas</c:v>
                </c:pt>
                <c:pt idx="17">
                  <c:v>Nicolas</c:v>
                </c:pt>
                <c:pt idx="18">
                  <c:v>Roederer</c:v>
                </c:pt>
                <c:pt idx="19">
                  <c:v>Deutz</c:v>
                </c:pt>
                <c:pt idx="20">
                  <c:v>Demoiselle</c:v>
                </c:pt>
                <c:pt idx="21">
                  <c:v>Nicolas</c:v>
                </c:pt>
                <c:pt idx="22">
                  <c:v>Ruinart</c:v>
                </c:pt>
                <c:pt idx="23">
                  <c:v>Ruinart</c:v>
                </c:pt>
                <c:pt idx="24">
                  <c:v>Henriot</c:v>
                </c:pt>
                <c:pt idx="25">
                  <c:v>Laurent Per</c:v>
                </c:pt>
                <c:pt idx="26">
                  <c:v>Perrier Jou</c:v>
                </c:pt>
                <c:pt idx="27">
                  <c:v>Demoiselle</c:v>
                </c:pt>
                <c:pt idx="28">
                  <c:v>Besserat De</c:v>
                </c:pt>
                <c:pt idx="29">
                  <c:v>Pommery</c:v>
                </c:pt>
              </c:strCache>
            </c:strRef>
          </c:cat>
          <c:val>
            <c:numRef>
              <c:f>Sheet1!$B$2:$B$31</c:f>
              <c:numCache>
                <c:formatCode>General</c:formatCode>
                <c:ptCount val="30"/>
                <c:pt idx="0">
                  <c:v>0.83</c:v>
                </c:pt>
                <c:pt idx="1">
                  <c:v>0.55000000000000004</c:v>
                </c:pt>
                <c:pt idx="2">
                  <c:v>0.74</c:v>
                </c:pt>
                <c:pt idx="3">
                  <c:v>0.59</c:v>
                </c:pt>
                <c:pt idx="4">
                  <c:v>0.64</c:v>
                </c:pt>
                <c:pt idx="5">
                  <c:v>0.41</c:v>
                </c:pt>
                <c:pt idx="6">
                  <c:v>0.48</c:v>
                </c:pt>
                <c:pt idx="7">
                  <c:v>0.52</c:v>
                </c:pt>
                <c:pt idx="8">
                  <c:v>0.44</c:v>
                </c:pt>
                <c:pt idx="9">
                  <c:v>0.45</c:v>
                </c:pt>
                <c:pt idx="10">
                  <c:v>0.25</c:v>
                </c:pt>
                <c:pt idx="11">
                  <c:v>0.34</c:v>
                </c:pt>
                <c:pt idx="12">
                  <c:v>0.23</c:v>
                </c:pt>
                <c:pt idx="13">
                  <c:v>0.41</c:v>
                </c:pt>
                <c:pt idx="14">
                  <c:v>0.27</c:v>
                </c:pt>
                <c:pt idx="15">
                  <c:v>0.17</c:v>
                </c:pt>
                <c:pt idx="16">
                  <c:v>0.2</c:v>
                </c:pt>
                <c:pt idx="17">
                  <c:v>0.28000000000000003</c:v>
                </c:pt>
                <c:pt idx="18">
                  <c:v>0.11</c:v>
                </c:pt>
                <c:pt idx="19">
                  <c:v>0.09</c:v>
                </c:pt>
                <c:pt idx="20">
                  <c:v>0.06</c:v>
                </c:pt>
                <c:pt idx="21">
                  <c:v>0.08</c:v>
                </c:pt>
                <c:pt idx="22">
                  <c:v>0.1</c:v>
                </c:pt>
                <c:pt idx="23">
                  <c:v>0.18</c:v>
                </c:pt>
                <c:pt idx="24">
                  <c:v>0.16</c:v>
                </c:pt>
                <c:pt idx="25">
                  <c:v>0.04</c:v>
                </c:pt>
                <c:pt idx="26">
                  <c:v>0.13</c:v>
                </c:pt>
                <c:pt idx="27">
                  <c:v>0.08</c:v>
                </c:pt>
                <c:pt idx="28">
                  <c:v>0.09</c:v>
                </c:pt>
                <c:pt idx="29">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1</c:f>
              <c:strCache>
                <c:ptCount val="30"/>
                <c:pt idx="0">
                  <c:v>Ruinart</c:v>
                </c:pt>
                <c:pt idx="1">
                  <c:v>Laurent Per</c:v>
                </c:pt>
                <c:pt idx="2">
                  <c:v>Demoiselle</c:v>
                </c:pt>
                <c:pt idx="3">
                  <c:v>Deutz</c:v>
                </c:pt>
                <c:pt idx="4">
                  <c:v>Nicolas</c:v>
                </c:pt>
                <c:pt idx="5">
                  <c:v>Ruinart</c:v>
                </c:pt>
                <c:pt idx="6">
                  <c:v>Nicolas Feu</c:v>
                </c:pt>
                <c:pt idx="7">
                  <c:v>Besserat De</c:v>
                </c:pt>
                <c:pt idx="8">
                  <c:v>Pommery</c:v>
                </c:pt>
                <c:pt idx="9">
                  <c:v>Malard</c:v>
                </c:pt>
                <c:pt idx="10">
                  <c:v>Ruinart</c:v>
                </c:pt>
                <c:pt idx="11">
                  <c:v>Ruinart</c:v>
                </c:pt>
                <c:pt idx="12">
                  <c:v>Bollinger</c:v>
                </c:pt>
                <c:pt idx="13">
                  <c:v>Nicolas</c:v>
                </c:pt>
                <c:pt idx="14">
                  <c:v>Deutz</c:v>
                </c:pt>
                <c:pt idx="15">
                  <c:v>Besserat De</c:v>
                </c:pt>
                <c:pt idx="16">
                  <c:v>Nicolas</c:v>
                </c:pt>
                <c:pt idx="17">
                  <c:v>Nicolas</c:v>
                </c:pt>
                <c:pt idx="18">
                  <c:v>Roederer</c:v>
                </c:pt>
                <c:pt idx="19">
                  <c:v>Deutz</c:v>
                </c:pt>
                <c:pt idx="20">
                  <c:v>Demoiselle</c:v>
                </c:pt>
                <c:pt idx="21">
                  <c:v>Nicolas</c:v>
                </c:pt>
                <c:pt idx="22">
                  <c:v>Ruinart</c:v>
                </c:pt>
                <c:pt idx="23">
                  <c:v>Ruinart</c:v>
                </c:pt>
                <c:pt idx="24">
                  <c:v>Henriot</c:v>
                </c:pt>
                <c:pt idx="25">
                  <c:v>Laurent Per</c:v>
                </c:pt>
                <c:pt idx="26">
                  <c:v>Perrier Jou</c:v>
                </c:pt>
                <c:pt idx="27">
                  <c:v>Demoiselle</c:v>
                </c:pt>
                <c:pt idx="28">
                  <c:v>Besserat De</c:v>
                </c:pt>
                <c:pt idx="29">
                  <c:v>Pommery</c:v>
                </c:pt>
              </c:strCache>
            </c:strRef>
          </c:cat>
          <c:val>
            <c:numRef>
              <c:f>Sheet1!$C$2:$C$31</c:f>
              <c:numCache>
                <c:formatCode>General</c:formatCode>
                <c:ptCount val="30"/>
                <c:pt idx="0">
                  <c:v>0.24756882032643979</c:v>
                </c:pt>
                <c:pt idx="1">
                  <c:v>0.35777352005846685</c:v>
                </c:pt>
                <c:pt idx="2">
                  <c:v>0.46254633561801678</c:v>
                </c:pt>
                <c:pt idx="3">
                  <c:v>0.56635787228158896</c:v>
                </c:pt>
                <c:pt idx="4">
                  <c:v>0.63693944601365549</c:v>
                </c:pt>
                <c:pt idx="5">
                  <c:v>0.69927772400761123</c:v>
                </c:pt>
                <c:pt idx="6">
                  <c:v>0.74558371356522546</c:v>
                </c:pt>
                <c:pt idx="7">
                  <c:v>0.7897103653518216</c:v>
                </c:pt>
                <c:pt idx="8">
                  <c:v>0.83251361263094148</c:v>
                </c:pt>
                <c:pt idx="9">
                  <c:v>0.86879859890308875</c:v>
                </c:pt>
                <c:pt idx="10">
                  <c:v>0.90263429922110083</c:v>
                </c:pt>
                <c:pt idx="11">
                  <c:v>0.91968712347166537</c:v>
                </c:pt>
                <c:pt idx="12">
                  <c:v>0.93620663545802307</c:v>
                </c:pt>
                <c:pt idx="13">
                  <c:v>0.95167927522204887</c:v>
                </c:pt>
                <c:pt idx="14">
                  <c:v>0.96239160922037648</c:v>
                </c:pt>
                <c:pt idx="15">
                  <c:v>0.96946951889966482</c:v>
                </c:pt>
                <c:pt idx="16">
                  <c:v>0.97597461170258293</c:v>
                </c:pt>
                <c:pt idx="17">
                  <c:v>0.98093244052909845</c:v>
                </c:pt>
                <c:pt idx="18">
                  <c:v>0.98500141558193588</c:v>
                </c:pt>
                <c:pt idx="19">
                  <c:v>0.98905063832869156</c:v>
                </c:pt>
                <c:pt idx="20">
                  <c:v>0.99161185401728991</c:v>
                </c:pt>
                <c:pt idx="21">
                  <c:v>0.99342906617680948</c:v>
                </c:pt>
                <c:pt idx="22">
                  <c:v>0.99520677372416566</c:v>
                </c:pt>
                <c:pt idx="23">
                  <c:v>0.99662893976205058</c:v>
                </c:pt>
                <c:pt idx="24">
                  <c:v>0.99774823710668226</c:v>
                </c:pt>
                <c:pt idx="25">
                  <c:v>0.99840664730940676</c:v>
                </c:pt>
                <c:pt idx="26">
                  <c:v>0.999032137001995</c:v>
                </c:pt>
                <c:pt idx="27">
                  <c:v>0.99946668773579317</c:v>
                </c:pt>
                <c:pt idx="28">
                  <c:v>0.99975638822499191</c:v>
                </c:pt>
                <c:pt idx="29">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c:f>
              <c:strCache>
                <c:ptCount val="24"/>
                <c:pt idx="0">
                  <c:v>Ruinart</c:v>
                </c:pt>
                <c:pt idx="1">
                  <c:v>Deutz</c:v>
                </c:pt>
                <c:pt idx="2">
                  <c:v>Demoiselle</c:v>
                </c:pt>
                <c:pt idx="3">
                  <c:v>Laurent Per</c:v>
                </c:pt>
                <c:pt idx="4">
                  <c:v>Nicolas Feu</c:v>
                </c:pt>
                <c:pt idx="5">
                  <c:v>Nicolas</c:v>
                </c:pt>
                <c:pt idx="6">
                  <c:v>Malard</c:v>
                </c:pt>
                <c:pt idx="7">
                  <c:v>Besserat De</c:v>
                </c:pt>
                <c:pt idx="8">
                  <c:v>Ruinart</c:v>
                </c:pt>
                <c:pt idx="9">
                  <c:v>Pommery</c:v>
                </c:pt>
                <c:pt idx="10">
                  <c:v>Ruinart</c:v>
                </c:pt>
                <c:pt idx="11">
                  <c:v>Nicolas</c:v>
                </c:pt>
                <c:pt idx="12">
                  <c:v>Bollinger</c:v>
                </c:pt>
                <c:pt idx="13">
                  <c:v>Ruinart</c:v>
                </c:pt>
                <c:pt idx="14">
                  <c:v>Deutz</c:v>
                </c:pt>
                <c:pt idx="15">
                  <c:v>Besserat De</c:v>
                </c:pt>
                <c:pt idx="16">
                  <c:v>Nicolas</c:v>
                </c:pt>
                <c:pt idx="17">
                  <c:v>Henriot</c:v>
                </c:pt>
                <c:pt idx="18">
                  <c:v>Demoiselle</c:v>
                </c:pt>
                <c:pt idx="19">
                  <c:v>Nicolas</c:v>
                </c:pt>
                <c:pt idx="20">
                  <c:v>Ruinart</c:v>
                </c:pt>
                <c:pt idx="21">
                  <c:v>Laurent Per</c:v>
                </c:pt>
                <c:pt idx="22">
                  <c:v>Nicolas</c:v>
                </c:pt>
                <c:pt idx="23">
                  <c:v>Bollinger</c:v>
                </c:pt>
              </c:strCache>
            </c:strRef>
          </c:cat>
          <c:val>
            <c:numRef>
              <c:f>Sheet1!$B$2:$B$25</c:f>
              <c:numCache>
                <c:formatCode>General</c:formatCode>
                <c:ptCount val="24"/>
                <c:pt idx="0">
                  <c:v>0.84</c:v>
                </c:pt>
                <c:pt idx="1">
                  <c:v>0.74</c:v>
                </c:pt>
                <c:pt idx="2">
                  <c:v>0.98</c:v>
                </c:pt>
                <c:pt idx="3">
                  <c:v>0.66</c:v>
                </c:pt>
                <c:pt idx="4">
                  <c:v>0.6</c:v>
                </c:pt>
                <c:pt idx="5">
                  <c:v>0.68</c:v>
                </c:pt>
                <c:pt idx="6">
                  <c:v>0.76</c:v>
                </c:pt>
                <c:pt idx="7">
                  <c:v>0.45</c:v>
                </c:pt>
                <c:pt idx="8">
                  <c:v>0.38</c:v>
                </c:pt>
                <c:pt idx="9">
                  <c:v>0.6</c:v>
                </c:pt>
                <c:pt idx="10">
                  <c:v>0.23</c:v>
                </c:pt>
                <c:pt idx="11">
                  <c:v>0.52</c:v>
                </c:pt>
                <c:pt idx="12">
                  <c:v>0.27</c:v>
                </c:pt>
                <c:pt idx="13">
                  <c:v>0.25</c:v>
                </c:pt>
                <c:pt idx="14">
                  <c:v>0.48</c:v>
                </c:pt>
                <c:pt idx="15">
                  <c:v>0.45</c:v>
                </c:pt>
                <c:pt idx="16">
                  <c:v>0.35</c:v>
                </c:pt>
                <c:pt idx="17">
                  <c:v>0.12</c:v>
                </c:pt>
                <c:pt idx="18">
                  <c:v>0.13</c:v>
                </c:pt>
                <c:pt idx="19">
                  <c:v>0.22</c:v>
                </c:pt>
                <c:pt idx="20">
                  <c:v>0.12</c:v>
                </c:pt>
                <c:pt idx="21">
                  <c:v>0.1</c:v>
                </c:pt>
                <c:pt idx="22">
                  <c:v>0.2</c:v>
                </c:pt>
                <c:pt idx="23">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5</c:f>
              <c:strCache>
                <c:ptCount val="24"/>
                <c:pt idx="0">
                  <c:v>Ruinart</c:v>
                </c:pt>
                <c:pt idx="1">
                  <c:v>Deutz</c:v>
                </c:pt>
                <c:pt idx="2">
                  <c:v>Demoiselle</c:v>
                </c:pt>
                <c:pt idx="3">
                  <c:v>Laurent Per</c:v>
                </c:pt>
                <c:pt idx="4">
                  <c:v>Nicolas Feu</c:v>
                </c:pt>
                <c:pt idx="5">
                  <c:v>Nicolas</c:v>
                </c:pt>
                <c:pt idx="6">
                  <c:v>Malard</c:v>
                </c:pt>
                <c:pt idx="7">
                  <c:v>Besserat De</c:v>
                </c:pt>
                <c:pt idx="8">
                  <c:v>Ruinart</c:v>
                </c:pt>
                <c:pt idx="9">
                  <c:v>Pommery</c:v>
                </c:pt>
                <c:pt idx="10">
                  <c:v>Ruinart</c:v>
                </c:pt>
                <c:pt idx="11">
                  <c:v>Nicolas</c:v>
                </c:pt>
                <c:pt idx="12">
                  <c:v>Bollinger</c:v>
                </c:pt>
                <c:pt idx="13">
                  <c:v>Ruinart</c:v>
                </c:pt>
                <c:pt idx="14">
                  <c:v>Deutz</c:v>
                </c:pt>
                <c:pt idx="15">
                  <c:v>Besserat De</c:v>
                </c:pt>
                <c:pt idx="16">
                  <c:v>Nicolas</c:v>
                </c:pt>
                <c:pt idx="17">
                  <c:v>Henriot</c:v>
                </c:pt>
                <c:pt idx="18">
                  <c:v>Demoiselle</c:v>
                </c:pt>
                <c:pt idx="19">
                  <c:v>Nicolas</c:v>
                </c:pt>
                <c:pt idx="20">
                  <c:v>Ruinart</c:v>
                </c:pt>
                <c:pt idx="21">
                  <c:v>Laurent Per</c:v>
                </c:pt>
                <c:pt idx="22">
                  <c:v>Nicolas</c:v>
                </c:pt>
                <c:pt idx="23">
                  <c:v>Bollinger</c:v>
                </c:pt>
              </c:strCache>
            </c:strRef>
          </c:cat>
          <c:val>
            <c:numRef>
              <c:f>Sheet1!$C$2:$C$25</c:f>
              <c:numCache>
                <c:formatCode>General</c:formatCode>
                <c:ptCount val="24"/>
                <c:pt idx="0">
                  <c:v>0.2401059016556456</c:v>
                </c:pt>
                <c:pt idx="1">
                  <c:v>0.37237110326654399</c:v>
                </c:pt>
                <c:pt idx="2">
                  <c:v>0.47399691741659622</c:v>
                </c:pt>
                <c:pt idx="3">
                  <c:v>0.56852533187490673</c:v>
                </c:pt>
                <c:pt idx="4">
                  <c:v>0.64153781136578325</c:v>
                </c:pt>
                <c:pt idx="5">
                  <c:v>0.6998955899169691</c:v>
                </c:pt>
                <c:pt idx="6">
                  <c:v>0.75119325809178139</c:v>
                </c:pt>
                <c:pt idx="7">
                  <c:v>0.79749415800725898</c:v>
                </c:pt>
                <c:pt idx="8">
                  <c:v>0.83577785511858005</c:v>
                </c:pt>
                <c:pt idx="9">
                  <c:v>0.86988514890866608</c:v>
                </c:pt>
                <c:pt idx="10">
                  <c:v>0.90078556157708944</c:v>
                </c:pt>
                <c:pt idx="11">
                  <c:v>0.92455128523840302</c:v>
                </c:pt>
                <c:pt idx="12">
                  <c:v>0.9410580221747129</c:v>
                </c:pt>
                <c:pt idx="13">
                  <c:v>0.95465619251230549</c:v>
                </c:pt>
                <c:pt idx="14">
                  <c:v>0.96762044448863915</c:v>
                </c:pt>
                <c:pt idx="15">
                  <c:v>0.97721622831004817</c:v>
                </c:pt>
                <c:pt idx="16">
                  <c:v>0.98323223785611291</c:v>
                </c:pt>
                <c:pt idx="17">
                  <c:v>0.98819171680007956</c:v>
                </c:pt>
                <c:pt idx="18">
                  <c:v>0.99160990404216176</c:v>
                </c:pt>
                <c:pt idx="19">
                  <c:v>0.99454333018445784</c:v>
                </c:pt>
                <c:pt idx="20">
                  <c:v>0.99722816089096611</c:v>
                </c:pt>
                <c:pt idx="21">
                  <c:v>0.99845870829811567</c:v>
                </c:pt>
                <c:pt idx="22">
                  <c:v>0.99947794958484559</c:v>
                </c:pt>
                <c:pt idx="2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c:f>
              <c:strCache>
                <c:ptCount val="29"/>
                <c:pt idx="0">
                  <c:v>Ruinart</c:v>
                </c:pt>
                <c:pt idx="1">
                  <c:v>Ruinart</c:v>
                </c:pt>
                <c:pt idx="2">
                  <c:v>Deutz</c:v>
                </c:pt>
                <c:pt idx="3">
                  <c:v>Laurent Per</c:v>
                </c:pt>
                <c:pt idx="4">
                  <c:v>Ruinart</c:v>
                </c:pt>
                <c:pt idx="5">
                  <c:v>Demoiselle</c:v>
                </c:pt>
                <c:pt idx="6">
                  <c:v>Nicolas</c:v>
                </c:pt>
                <c:pt idx="7">
                  <c:v>Pommery</c:v>
                </c:pt>
                <c:pt idx="8">
                  <c:v>Nicolas Feu</c:v>
                </c:pt>
                <c:pt idx="9">
                  <c:v>Malard</c:v>
                </c:pt>
                <c:pt idx="10">
                  <c:v>Besserat De</c:v>
                </c:pt>
                <c:pt idx="11">
                  <c:v>Ruinart</c:v>
                </c:pt>
                <c:pt idx="12">
                  <c:v>Dom Perigno</c:v>
                </c:pt>
                <c:pt idx="13">
                  <c:v>Deutz</c:v>
                </c:pt>
                <c:pt idx="14">
                  <c:v>Nicolas</c:v>
                </c:pt>
                <c:pt idx="15">
                  <c:v>Bollinger</c:v>
                </c:pt>
                <c:pt idx="16">
                  <c:v>Deutz</c:v>
                </c:pt>
                <c:pt idx="17">
                  <c:v>Nicolas</c:v>
                </c:pt>
                <c:pt idx="18">
                  <c:v>Besserat De</c:v>
                </c:pt>
                <c:pt idx="19">
                  <c:v>Perrier Jou</c:v>
                </c:pt>
                <c:pt idx="20">
                  <c:v>Roederer</c:v>
                </c:pt>
                <c:pt idx="21">
                  <c:v>Nicolas</c:v>
                </c:pt>
                <c:pt idx="22">
                  <c:v>Demoiselle</c:v>
                </c:pt>
                <c:pt idx="23">
                  <c:v>Dom Perigno</c:v>
                </c:pt>
                <c:pt idx="24">
                  <c:v>Veuve Clicq</c:v>
                </c:pt>
                <c:pt idx="25">
                  <c:v>Henriot</c:v>
                </c:pt>
                <c:pt idx="26">
                  <c:v>Nicolas</c:v>
                </c:pt>
                <c:pt idx="27">
                  <c:v>All Others</c:v>
                </c:pt>
                <c:pt idx="28">
                  <c:v>Piper Heids</c:v>
                </c:pt>
              </c:strCache>
            </c:strRef>
          </c:cat>
          <c:val>
            <c:numRef>
              <c:f>Sheet1!$B$2:$B$30</c:f>
              <c:numCache>
                <c:formatCode>General</c:formatCode>
                <c:ptCount val="29"/>
                <c:pt idx="0">
                  <c:v>0.89</c:v>
                </c:pt>
                <c:pt idx="1">
                  <c:v>0.65</c:v>
                </c:pt>
                <c:pt idx="2">
                  <c:v>0.85</c:v>
                </c:pt>
                <c:pt idx="3">
                  <c:v>0.77</c:v>
                </c:pt>
                <c:pt idx="4">
                  <c:v>0.62</c:v>
                </c:pt>
                <c:pt idx="5">
                  <c:v>0.75</c:v>
                </c:pt>
                <c:pt idx="6">
                  <c:v>0.84</c:v>
                </c:pt>
                <c:pt idx="7">
                  <c:v>0.78</c:v>
                </c:pt>
                <c:pt idx="8">
                  <c:v>0.48</c:v>
                </c:pt>
                <c:pt idx="9">
                  <c:v>0.56000000000000005</c:v>
                </c:pt>
                <c:pt idx="10">
                  <c:v>0.7</c:v>
                </c:pt>
                <c:pt idx="11">
                  <c:v>0.56999999999999995</c:v>
                </c:pt>
                <c:pt idx="12">
                  <c:v>0.13</c:v>
                </c:pt>
                <c:pt idx="13">
                  <c:v>0.77</c:v>
                </c:pt>
                <c:pt idx="14">
                  <c:v>0.62</c:v>
                </c:pt>
                <c:pt idx="15">
                  <c:v>0.53</c:v>
                </c:pt>
                <c:pt idx="16">
                  <c:v>0.36</c:v>
                </c:pt>
                <c:pt idx="17">
                  <c:v>0.49</c:v>
                </c:pt>
                <c:pt idx="18">
                  <c:v>0.28000000000000003</c:v>
                </c:pt>
                <c:pt idx="19">
                  <c:v>0.47</c:v>
                </c:pt>
                <c:pt idx="20">
                  <c:v>0.37</c:v>
                </c:pt>
                <c:pt idx="21">
                  <c:v>0.28000000000000003</c:v>
                </c:pt>
                <c:pt idx="22">
                  <c:v>0.34</c:v>
                </c:pt>
                <c:pt idx="23">
                  <c:v>0.14000000000000001</c:v>
                </c:pt>
                <c:pt idx="24">
                  <c:v>0.08</c:v>
                </c:pt>
                <c:pt idx="25">
                  <c:v>0.47</c:v>
                </c:pt>
                <c:pt idx="26">
                  <c:v>0.17</c:v>
                </c:pt>
                <c:pt idx="27">
                  <c:v>0.32</c:v>
                </c:pt>
                <c:pt idx="28">
                  <c:v>0.3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0</c:f>
              <c:strCache>
                <c:ptCount val="29"/>
                <c:pt idx="0">
                  <c:v>Ruinart</c:v>
                </c:pt>
                <c:pt idx="1">
                  <c:v>Ruinart</c:v>
                </c:pt>
                <c:pt idx="2">
                  <c:v>Deutz</c:v>
                </c:pt>
                <c:pt idx="3">
                  <c:v>Laurent Per</c:v>
                </c:pt>
                <c:pt idx="4">
                  <c:v>Ruinart</c:v>
                </c:pt>
                <c:pt idx="5">
                  <c:v>Demoiselle</c:v>
                </c:pt>
                <c:pt idx="6">
                  <c:v>Nicolas</c:v>
                </c:pt>
                <c:pt idx="7">
                  <c:v>Pommery</c:v>
                </c:pt>
                <c:pt idx="8">
                  <c:v>Nicolas Feu</c:v>
                </c:pt>
                <c:pt idx="9">
                  <c:v>Malard</c:v>
                </c:pt>
                <c:pt idx="10">
                  <c:v>Besserat De</c:v>
                </c:pt>
                <c:pt idx="11">
                  <c:v>Ruinart</c:v>
                </c:pt>
                <c:pt idx="12">
                  <c:v>Dom Perigno</c:v>
                </c:pt>
                <c:pt idx="13">
                  <c:v>Deutz</c:v>
                </c:pt>
                <c:pt idx="14">
                  <c:v>Nicolas</c:v>
                </c:pt>
                <c:pt idx="15">
                  <c:v>Bollinger</c:v>
                </c:pt>
                <c:pt idx="16">
                  <c:v>Deutz</c:v>
                </c:pt>
                <c:pt idx="17">
                  <c:v>Nicolas</c:v>
                </c:pt>
                <c:pt idx="18">
                  <c:v>Besserat De</c:v>
                </c:pt>
                <c:pt idx="19">
                  <c:v>Perrier Jou</c:v>
                </c:pt>
                <c:pt idx="20">
                  <c:v>Roederer</c:v>
                </c:pt>
                <c:pt idx="21">
                  <c:v>Nicolas</c:v>
                </c:pt>
                <c:pt idx="22">
                  <c:v>Demoiselle</c:v>
                </c:pt>
                <c:pt idx="23">
                  <c:v>Dom Perigno</c:v>
                </c:pt>
                <c:pt idx="24">
                  <c:v>Veuve Clicq</c:v>
                </c:pt>
                <c:pt idx="25">
                  <c:v>Henriot</c:v>
                </c:pt>
                <c:pt idx="26">
                  <c:v>Nicolas</c:v>
                </c:pt>
                <c:pt idx="27">
                  <c:v>All Others</c:v>
                </c:pt>
                <c:pt idx="28">
                  <c:v>Piper Heids</c:v>
                </c:pt>
              </c:strCache>
            </c:strRef>
          </c:cat>
          <c:val>
            <c:numRef>
              <c:f>Sheet1!$C$2:$C$30</c:f>
              <c:numCache>
                <c:formatCode>General</c:formatCode>
                <c:ptCount val="29"/>
                <c:pt idx="0">
                  <c:v>0.1431902883420875</c:v>
                </c:pt>
                <c:pt idx="1">
                  <c:v>0.27630059063269619</c:v>
                </c:pt>
                <c:pt idx="2">
                  <c:v>0.40847372665257287</c:v>
                </c:pt>
                <c:pt idx="3">
                  <c:v>0.50127498201948439</c:v>
                </c:pt>
                <c:pt idx="4">
                  <c:v>0.56956824967853026</c:v>
                </c:pt>
                <c:pt idx="5">
                  <c:v>0.63475579190549891</c:v>
                </c:pt>
                <c:pt idx="6">
                  <c:v>0.69299086807750165</c:v>
                </c:pt>
                <c:pt idx="7">
                  <c:v>0.73857419959462134</c:v>
                </c:pt>
                <c:pt idx="8">
                  <c:v>0.78254473334350438</c:v>
                </c:pt>
                <c:pt idx="9">
                  <c:v>0.81525837456138461</c:v>
                </c:pt>
                <c:pt idx="10">
                  <c:v>0.84475731752500949</c:v>
                </c:pt>
                <c:pt idx="11">
                  <c:v>0.8700608068347756</c:v>
                </c:pt>
                <c:pt idx="12">
                  <c:v>0.88967591482684238</c:v>
                </c:pt>
                <c:pt idx="13">
                  <c:v>0.90870256957914719</c:v>
                </c:pt>
                <c:pt idx="14">
                  <c:v>0.92448183423054309</c:v>
                </c:pt>
                <c:pt idx="15">
                  <c:v>0.9365669202100998</c:v>
                </c:pt>
                <c:pt idx="16">
                  <c:v>0.9480417583854589</c:v>
                </c:pt>
                <c:pt idx="17">
                  <c:v>0.95570254778458275</c:v>
                </c:pt>
                <c:pt idx="18">
                  <c:v>0.96246976004184581</c:v>
                </c:pt>
                <c:pt idx="19">
                  <c:v>0.96920428045245544</c:v>
                </c:pt>
                <c:pt idx="20">
                  <c:v>0.97572085521870877</c:v>
                </c:pt>
                <c:pt idx="21">
                  <c:v>0.98197589521173456</c:v>
                </c:pt>
                <c:pt idx="22">
                  <c:v>0.9880456814070574</c:v>
                </c:pt>
                <c:pt idx="23">
                  <c:v>0.99218664864982709</c:v>
                </c:pt>
                <c:pt idx="24">
                  <c:v>0.99480199638210265</c:v>
                </c:pt>
                <c:pt idx="25">
                  <c:v>0.99728657672776444</c:v>
                </c:pt>
                <c:pt idx="26">
                  <c:v>0.99849617505394184</c:v>
                </c:pt>
                <c:pt idx="27">
                  <c:v>0.99934616306693136</c:v>
                </c:pt>
                <c:pt idx="2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Ruinart</c:v>
                </c:pt>
                <c:pt idx="1">
                  <c:v>Demoiselle</c:v>
                </c:pt>
                <c:pt idx="2">
                  <c:v>Ruinart</c:v>
                </c:pt>
                <c:pt idx="3">
                  <c:v>Deutz</c:v>
                </c:pt>
                <c:pt idx="4">
                  <c:v>Nicolas Feu</c:v>
                </c:pt>
                <c:pt idx="5">
                  <c:v>Laurent Per</c:v>
                </c:pt>
                <c:pt idx="6">
                  <c:v>Nicolas</c:v>
                </c:pt>
                <c:pt idx="7">
                  <c:v>Pommery</c:v>
                </c:pt>
                <c:pt idx="8">
                  <c:v>Besserat De</c:v>
                </c:pt>
                <c:pt idx="9">
                  <c:v>Malard</c:v>
                </c:pt>
                <c:pt idx="10">
                  <c:v>Ruinart</c:v>
                </c:pt>
                <c:pt idx="11">
                  <c:v>Bollinger</c:v>
                </c:pt>
                <c:pt idx="12">
                  <c:v>Ruinart</c:v>
                </c:pt>
                <c:pt idx="13">
                  <c:v>Deutz</c:v>
                </c:pt>
                <c:pt idx="14">
                  <c:v>Nicolas</c:v>
                </c:pt>
                <c:pt idx="15">
                  <c:v>Besserat De</c:v>
                </c:pt>
                <c:pt idx="16">
                  <c:v>Nicolas</c:v>
                </c:pt>
                <c:pt idx="17">
                  <c:v>Nicolas</c:v>
                </c:pt>
                <c:pt idx="18">
                  <c:v>Nicolas</c:v>
                </c:pt>
                <c:pt idx="19">
                  <c:v>Demoiselle</c:v>
                </c:pt>
                <c:pt idx="20">
                  <c:v>Bollinger</c:v>
                </c:pt>
                <c:pt idx="21">
                  <c:v>Roederer</c:v>
                </c:pt>
                <c:pt idx="22">
                  <c:v>Laurent Per</c:v>
                </c:pt>
                <c:pt idx="23">
                  <c:v>Ruinart</c:v>
                </c:pt>
                <c:pt idx="24">
                  <c:v>Henriot</c:v>
                </c:pt>
              </c:strCache>
            </c:strRef>
          </c:cat>
          <c:val>
            <c:numRef>
              <c:f>Sheet1!$B$2:$B$26</c:f>
              <c:numCache>
                <c:formatCode>General</c:formatCode>
                <c:ptCount val="25"/>
                <c:pt idx="0">
                  <c:v>0.77</c:v>
                </c:pt>
                <c:pt idx="1">
                  <c:v>0.86</c:v>
                </c:pt>
                <c:pt idx="2">
                  <c:v>0.56000000000000005</c:v>
                </c:pt>
                <c:pt idx="3">
                  <c:v>0.77</c:v>
                </c:pt>
                <c:pt idx="4">
                  <c:v>0.59</c:v>
                </c:pt>
                <c:pt idx="5">
                  <c:v>0.61</c:v>
                </c:pt>
                <c:pt idx="6">
                  <c:v>0.75</c:v>
                </c:pt>
                <c:pt idx="7">
                  <c:v>0.61</c:v>
                </c:pt>
                <c:pt idx="8">
                  <c:v>0.36</c:v>
                </c:pt>
                <c:pt idx="9">
                  <c:v>0.55000000000000004</c:v>
                </c:pt>
                <c:pt idx="10">
                  <c:v>0.35</c:v>
                </c:pt>
                <c:pt idx="11">
                  <c:v>0.21</c:v>
                </c:pt>
                <c:pt idx="12">
                  <c:v>0.38</c:v>
                </c:pt>
                <c:pt idx="13">
                  <c:v>0.47</c:v>
                </c:pt>
                <c:pt idx="14">
                  <c:v>0.28000000000000003</c:v>
                </c:pt>
                <c:pt idx="15">
                  <c:v>0.3</c:v>
                </c:pt>
                <c:pt idx="16">
                  <c:v>0.36</c:v>
                </c:pt>
                <c:pt idx="17">
                  <c:v>0.18</c:v>
                </c:pt>
                <c:pt idx="18">
                  <c:v>0.24</c:v>
                </c:pt>
                <c:pt idx="19">
                  <c:v>0.27</c:v>
                </c:pt>
                <c:pt idx="20">
                  <c:v>0.13</c:v>
                </c:pt>
                <c:pt idx="21">
                  <c:v>0.1</c:v>
                </c:pt>
                <c:pt idx="22">
                  <c:v>0.08</c:v>
                </c:pt>
                <c:pt idx="23">
                  <c:v>0.02</c:v>
                </c:pt>
                <c:pt idx="24">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Ruinart</c:v>
                </c:pt>
                <c:pt idx="1">
                  <c:v>Demoiselle</c:v>
                </c:pt>
                <c:pt idx="2">
                  <c:v>Ruinart</c:v>
                </c:pt>
                <c:pt idx="3">
                  <c:v>Deutz</c:v>
                </c:pt>
                <c:pt idx="4">
                  <c:v>Nicolas Feu</c:v>
                </c:pt>
                <c:pt idx="5">
                  <c:v>Laurent Per</c:v>
                </c:pt>
                <c:pt idx="6">
                  <c:v>Nicolas</c:v>
                </c:pt>
                <c:pt idx="7">
                  <c:v>Pommery</c:v>
                </c:pt>
                <c:pt idx="8">
                  <c:v>Besserat De</c:v>
                </c:pt>
                <c:pt idx="9">
                  <c:v>Malard</c:v>
                </c:pt>
                <c:pt idx="10">
                  <c:v>Ruinart</c:v>
                </c:pt>
                <c:pt idx="11">
                  <c:v>Bollinger</c:v>
                </c:pt>
                <c:pt idx="12">
                  <c:v>Ruinart</c:v>
                </c:pt>
                <c:pt idx="13">
                  <c:v>Deutz</c:v>
                </c:pt>
                <c:pt idx="14">
                  <c:v>Nicolas</c:v>
                </c:pt>
                <c:pt idx="15">
                  <c:v>Besserat De</c:v>
                </c:pt>
                <c:pt idx="16">
                  <c:v>Nicolas</c:v>
                </c:pt>
                <c:pt idx="17">
                  <c:v>Nicolas</c:v>
                </c:pt>
                <c:pt idx="18">
                  <c:v>Nicolas</c:v>
                </c:pt>
                <c:pt idx="19">
                  <c:v>Demoiselle</c:v>
                </c:pt>
                <c:pt idx="20">
                  <c:v>Bollinger</c:v>
                </c:pt>
                <c:pt idx="21">
                  <c:v>Roederer</c:v>
                </c:pt>
                <c:pt idx="22">
                  <c:v>Laurent Per</c:v>
                </c:pt>
                <c:pt idx="23">
                  <c:v>Ruinart</c:v>
                </c:pt>
                <c:pt idx="24">
                  <c:v>Henriot</c:v>
                </c:pt>
              </c:strCache>
            </c:strRef>
          </c:cat>
          <c:val>
            <c:numRef>
              <c:f>Sheet1!$C$2:$C$26</c:f>
              <c:numCache>
                <c:formatCode>General</c:formatCode>
                <c:ptCount val="25"/>
                <c:pt idx="0">
                  <c:v>0.13810762813364721</c:v>
                </c:pt>
                <c:pt idx="1">
                  <c:v>0.26826498162144302</c:v>
                </c:pt>
                <c:pt idx="2">
                  <c:v>0.38522694420352704</c:v>
                </c:pt>
                <c:pt idx="3">
                  <c:v>0.48307727253954491</c:v>
                </c:pt>
                <c:pt idx="4">
                  <c:v>0.56954941560318839</c:v>
                </c:pt>
                <c:pt idx="5">
                  <c:v>0.64699748069219021</c:v>
                </c:pt>
                <c:pt idx="6">
                  <c:v>0.71817825135257929</c:v>
                </c:pt>
                <c:pt idx="7">
                  <c:v>0.78932804691694558</c:v>
                </c:pt>
                <c:pt idx="8">
                  <c:v>0.83016354850700047</c:v>
                </c:pt>
                <c:pt idx="9">
                  <c:v>0.86914054433568755</c:v>
                </c:pt>
                <c:pt idx="10">
                  <c:v>0.8925886920249454</c:v>
                </c:pt>
                <c:pt idx="11">
                  <c:v>0.91207202742328508</c:v>
                </c:pt>
                <c:pt idx="12">
                  <c:v>0.92976913228431013</c:v>
                </c:pt>
                <c:pt idx="13">
                  <c:v>0.94467847850328346</c:v>
                </c:pt>
                <c:pt idx="14">
                  <c:v>0.95778094412092685</c:v>
                </c:pt>
                <c:pt idx="15">
                  <c:v>0.96801305084045763</c:v>
                </c:pt>
                <c:pt idx="16">
                  <c:v>0.97748110519142617</c:v>
                </c:pt>
                <c:pt idx="17">
                  <c:v>0.98419237599636566</c:v>
                </c:pt>
                <c:pt idx="18">
                  <c:v>0.98755833643084301</c:v>
                </c:pt>
                <c:pt idx="19">
                  <c:v>0.98999504398463645</c:v>
                </c:pt>
                <c:pt idx="20">
                  <c:v>0.99216330070623227</c:v>
                </c:pt>
                <c:pt idx="21">
                  <c:v>0.9942902572997977</c:v>
                </c:pt>
                <c:pt idx="22">
                  <c:v>0.99634493866930995</c:v>
                </c:pt>
                <c:pt idx="23">
                  <c:v>0.99824474455870826</c:v>
                </c:pt>
                <c:pt idx="2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uvet-Ladubay</c:v>
                </c:pt>
                <c:pt idx="2">
                  <c:v>Bottega</c:v>
                </c:pt>
                <c:pt idx="3">
                  <c:v>Chateau Moncontour</c:v>
                </c:pt>
                <c:pt idx="4">
                  <c:v>Savian</c:v>
                </c:pt>
                <c:pt idx="5">
                  <c:v>Mure</c:v>
                </c:pt>
                <c:pt idx="6">
                  <c:v>De Chanceny</c:v>
                </c:pt>
                <c:pt idx="7">
                  <c:v>Kriter</c:v>
                </c:pt>
                <c:pt idx="8">
                  <c:v>Contarini</c:v>
                </c:pt>
                <c:pt idx="9">
                  <c:v>Others</c:v>
                </c:pt>
              </c:strCache>
            </c:strRef>
          </c:cat>
          <c:val>
            <c:numRef>
              <c:f>Sheet1!$B$2:$B$11</c:f>
              <c:numCache>
                <c:formatCode>General</c:formatCode>
                <c:ptCount val="10"/>
                <c:pt idx="0">
                  <c:v>9.7238454288407161E-2</c:v>
                </c:pt>
                <c:pt idx="1">
                  <c:v>7.2884071630537228E-2</c:v>
                </c:pt>
                <c:pt idx="2">
                  <c:v>7.0631479736098027E-2</c:v>
                </c:pt>
                <c:pt idx="3">
                  <c:v>6.3996229971724786E-2</c:v>
                </c:pt>
                <c:pt idx="4">
                  <c:v>5.2563619227144205E-2</c:v>
                </c:pt>
                <c:pt idx="5">
                  <c:v>5.1583411875589069E-2</c:v>
                </c:pt>
                <c:pt idx="6">
                  <c:v>3.2818096135721016E-2</c:v>
                </c:pt>
                <c:pt idx="7">
                  <c:v>2.7332704995287466E-2</c:v>
                </c:pt>
                <c:pt idx="8">
                  <c:v>2.4363807728557965E-2</c:v>
                </c:pt>
                <c:pt idx="9">
                  <c:v>0.5065881244109330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uvet-Ladubay</c:v>
                </c:pt>
                <c:pt idx="2">
                  <c:v>Bottega</c:v>
                </c:pt>
                <c:pt idx="3">
                  <c:v>Chateau Moncontour</c:v>
                </c:pt>
                <c:pt idx="4">
                  <c:v>Savian</c:v>
                </c:pt>
                <c:pt idx="5">
                  <c:v>Mure</c:v>
                </c:pt>
                <c:pt idx="6">
                  <c:v>De Chanceny</c:v>
                </c:pt>
                <c:pt idx="7">
                  <c:v>Kriter</c:v>
                </c:pt>
                <c:pt idx="8">
                  <c:v>Contarini</c:v>
                </c:pt>
                <c:pt idx="9">
                  <c:v>Others</c:v>
                </c:pt>
              </c:strCache>
            </c:strRef>
          </c:cat>
          <c:val>
            <c:numRef>
              <c:f>Sheet1!$C$2:$C$11</c:f>
              <c:numCache>
                <c:formatCode>General</c:formatCode>
                <c:ptCount val="10"/>
                <c:pt idx="0">
                  <c:v>9.1607943625880858E-2</c:v>
                </c:pt>
                <c:pt idx="1">
                  <c:v>8.5201793721973118E-2</c:v>
                </c:pt>
                <c:pt idx="2">
                  <c:v>8.135810377962846E-2</c:v>
                </c:pt>
                <c:pt idx="3">
                  <c:v>5.18898142216528E-2</c:v>
                </c:pt>
                <c:pt idx="4">
                  <c:v>4.9327354260089697E-2</c:v>
                </c:pt>
                <c:pt idx="5">
                  <c:v>5.7014734144778999E-2</c:v>
                </c:pt>
                <c:pt idx="6">
                  <c:v>2.6265214606021783E-2</c:v>
                </c:pt>
                <c:pt idx="7">
                  <c:v>3.4593209481101866E-2</c:v>
                </c:pt>
                <c:pt idx="8">
                  <c:v>7.4311338885329939E-2</c:v>
                </c:pt>
                <c:pt idx="9">
                  <c:v>0.448430493273542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uvet-Ladubay</c:v>
                </c:pt>
                <c:pt idx="2">
                  <c:v>Bottega</c:v>
                </c:pt>
                <c:pt idx="3">
                  <c:v>Chateau Moncontour</c:v>
                </c:pt>
                <c:pt idx="4">
                  <c:v>Savian</c:v>
                </c:pt>
                <c:pt idx="5">
                  <c:v>Mure</c:v>
                </c:pt>
                <c:pt idx="6">
                  <c:v>De Chanceny</c:v>
                </c:pt>
                <c:pt idx="7">
                  <c:v>Kriter</c:v>
                </c:pt>
                <c:pt idx="8">
                  <c:v>Contarini</c:v>
                </c:pt>
                <c:pt idx="9">
                  <c:v>Others</c:v>
                </c:pt>
              </c:strCache>
            </c:strRef>
          </c:cat>
          <c:val>
            <c:numRef>
              <c:f>Sheet1!$D$2:$D$11</c:f>
              <c:numCache>
                <c:formatCode>General</c:formatCode>
                <c:ptCount val="10"/>
                <c:pt idx="0">
                  <c:v>94.209584362760097</c:v>
                </c:pt>
                <c:pt idx="1">
                  <c:v>116.90043080177612</c:v>
                </c:pt>
                <c:pt idx="2">
                  <c:v>115.18674687774993</c:v>
                </c:pt>
                <c:pt idx="3">
                  <c:v>81.082611029710776</c:v>
                </c:pt>
                <c:pt idx="4">
                  <c:v>93.843146619966234</c:v>
                </c:pt>
                <c:pt idx="5">
                  <c:v>110.52920322969216</c:v>
                </c:pt>
                <c:pt idx="6">
                  <c:v>80.032718831100269</c:v>
                </c:pt>
                <c:pt idx="7">
                  <c:v>126.56343192913475</c:v>
                </c:pt>
                <c:pt idx="8">
                  <c:v>305.00708145971009</c:v>
                </c:pt>
                <c:pt idx="9">
                  <c:v>88.5197405278663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Ruinart</c:v>
                </c:pt>
                <c:pt idx="1">
                  <c:v>Deutz</c:v>
                </c:pt>
                <c:pt idx="2">
                  <c:v>Nicolas</c:v>
                </c:pt>
                <c:pt idx="3">
                  <c:v>Demoiselle</c:v>
                </c:pt>
                <c:pt idx="4">
                  <c:v>Laurent Per</c:v>
                </c:pt>
                <c:pt idx="5">
                  <c:v>Ruinart</c:v>
                </c:pt>
                <c:pt idx="6">
                  <c:v>Dom Perigno</c:v>
                </c:pt>
                <c:pt idx="7">
                  <c:v>Nicolas Feu</c:v>
                </c:pt>
                <c:pt idx="8">
                  <c:v>Pommery</c:v>
                </c:pt>
                <c:pt idx="9">
                  <c:v>Besserat De</c:v>
                </c:pt>
                <c:pt idx="10">
                  <c:v>Ruinart</c:v>
                </c:pt>
                <c:pt idx="11">
                  <c:v>Malard</c:v>
                </c:pt>
                <c:pt idx="12">
                  <c:v>Ruinart</c:v>
                </c:pt>
                <c:pt idx="13">
                  <c:v>Deutz</c:v>
                </c:pt>
                <c:pt idx="14">
                  <c:v>Besserat De</c:v>
                </c:pt>
                <c:pt idx="15">
                  <c:v>Nicolas</c:v>
                </c:pt>
                <c:pt idx="16">
                  <c:v>Nicolas</c:v>
                </c:pt>
                <c:pt idx="17">
                  <c:v>Bollinger</c:v>
                </c:pt>
                <c:pt idx="18">
                  <c:v>Nicolas</c:v>
                </c:pt>
                <c:pt idx="19">
                  <c:v>Demoiselle</c:v>
                </c:pt>
                <c:pt idx="20">
                  <c:v>Deutz</c:v>
                </c:pt>
                <c:pt idx="21">
                  <c:v>Nicolas</c:v>
                </c:pt>
                <c:pt idx="22">
                  <c:v>Henriot</c:v>
                </c:pt>
                <c:pt idx="23">
                  <c:v>Laurent Per</c:v>
                </c:pt>
                <c:pt idx="24">
                  <c:v>All Others</c:v>
                </c:pt>
              </c:strCache>
            </c:strRef>
          </c:cat>
          <c:val>
            <c:numRef>
              <c:f>Sheet1!$B$2:$B$26</c:f>
              <c:numCache>
                <c:formatCode>General</c:formatCode>
                <c:ptCount val="25"/>
                <c:pt idx="0">
                  <c:v>0.64</c:v>
                </c:pt>
                <c:pt idx="1">
                  <c:v>0.56000000000000005</c:v>
                </c:pt>
                <c:pt idx="2">
                  <c:v>0.71</c:v>
                </c:pt>
                <c:pt idx="3">
                  <c:v>0.61</c:v>
                </c:pt>
                <c:pt idx="4">
                  <c:v>0.35</c:v>
                </c:pt>
                <c:pt idx="5">
                  <c:v>0.64</c:v>
                </c:pt>
                <c:pt idx="6">
                  <c:v>0.19</c:v>
                </c:pt>
                <c:pt idx="7">
                  <c:v>0.49</c:v>
                </c:pt>
                <c:pt idx="8">
                  <c:v>0.4</c:v>
                </c:pt>
                <c:pt idx="9">
                  <c:v>0.49</c:v>
                </c:pt>
                <c:pt idx="10">
                  <c:v>0.21</c:v>
                </c:pt>
                <c:pt idx="11">
                  <c:v>0.41</c:v>
                </c:pt>
                <c:pt idx="12">
                  <c:v>0.37</c:v>
                </c:pt>
                <c:pt idx="13">
                  <c:v>0.49</c:v>
                </c:pt>
                <c:pt idx="14">
                  <c:v>0.37</c:v>
                </c:pt>
                <c:pt idx="15">
                  <c:v>0.34</c:v>
                </c:pt>
                <c:pt idx="16">
                  <c:v>0.19</c:v>
                </c:pt>
                <c:pt idx="17">
                  <c:v>0.24</c:v>
                </c:pt>
                <c:pt idx="18">
                  <c:v>0.27</c:v>
                </c:pt>
                <c:pt idx="19">
                  <c:v>0.2</c:v>
                </c:pt>
                <c:pt idx="20">
                  <c:v>0.14000000000000001</c:v>
                </c:pt>
                <c:pt idx="21">
                  <c:v>0.12</c:v>
                </c:pt>
                <c:pt idx="22">
                  <c:v>0.06</c:v>
                </c:pt>
                <c:pt idx="23">
                  <c:v>0.06</c:v>
                </c:pt>
                <c:pt idx="24">
                  <c:v>0.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Ruinart</c:v>
                </c:pt>
                <c:pt idx="1">
                  <c:v>Deutz</c:v>
                </c:pt>
                <c:pt idx="2">
                  <c:v>Nicolas</c:v>
                </c:pt>
                <c:pt idx="3">
                  <c:v>Demoiselle</c:v>
                </c:pt>
                <c:pt idx="4">
                  <c:v>Laurent Per</c:v>
                </c:pt>
                <c:pt idx="5">
                  <c:v>Ruinart</c:v>
                </c:pt>
                <c:pt idx="6">
                  <c:v>Dom Perigno</c:v>
                </c:pt>
                <c:pt idx="7">
                  <c:v>Nicolas Feu</c:v>
                </c:pt>
                <c:pt idx="8">
                  <c:v>Pommery</c:v>
                </c:pt>
                <c:pt idx="9">
                  <c:v>Besserat De</c:v>
                </c:pt>
                <c:pt idx="10">
                  <c:v>Ruinart</c:v>
                </c:pt>
                <c:pt idx="11">
                  <c:v>Malard</c:v>
                </c:pt>
                <c:pt idx="12">
                  <c:v>Ruinart</c:v>
                </c:pt>
                <c:pt idx="13">
                  <c:v>Deutz</c:v>
                </c:pt>
                <c:pt idx="14">
                  <c:v>Besserat De</c:v>
                </c:pt>
                <c:pt idx="15">
                  <c:v>Nicolas</c:v>
                </c:pt>
                <c:pt idx="16">
                  <c:v>Nicolas</c:v>
                </c:pt>
                <c:pt idx="17">
                  <c:v>Bollinger</c:v>
                </c:pt>
                <c:pt idx="18">
                  <c:v>Nicolas</c:v>
                </c:pt>
                <c:pt idx="19">
                  <c:v>Demoiselle</c:v>
                </c:pt>
                <c:pt idx="20">
                  <c:v>Deutz</c:v>
                </c:pt>
                <c:pt idx="21">
                  <c:v>Nicolas</c:v>
                </c:pt>
                <c:pt idx="22">
                  <c:v>Henriot</c:v>
                </c:pt>
                <c:pt idx="23">
                  <c:v>Laurent Per</c:v>
                </c:pt>
                <c:pt idx="24">
                  <c:v>All Others</c:v>
                </c:pt>
              </c:strCache>
            </c:strRef>
          </c:cat>
          <c:val>
            <c:numRef>
              <c:f>Sheet1!$C$2:$C$26</c:f>
              <c:numCache>
                <c:formatCode>General</c:formatCode>
                <c:ptCount val="25"/>
                <c:pt idx="0">
                  <c:v>0.14148821746357682</c:v>
                </c:pt>
                <c:pt idx="1">
                  <c:v>0.25410677618069816</c:v>
                </c:pt>
                <c:pt idx="2">
                  <c:v>0.35947736384081352</c:v>
                </c:pt>
                <c:pt idx="3">
                  <c:v>0.45533880903490759</c:v>
                </c:pt>
                <c:pt idx="4">
                  <c:v>0.54693458492226454</c:v>
                </c:pt>
                <c:pt idx="5">
                  <c:v>0.62770118314266155</c:v>
                </c:pt>
                <c:pt idx="6">
                  <c:v>0.68636941429549225</c:v>
                </c:pt>
                <c:pt idx="7">
                  <c:v>0.73676298034614252</c:v>
                </c:pt>
                <c:pt idx="8">
                  <c:v>0.78182751540041062</c:v>
                </c:pt>
                <c:pt idx="9">
                  <c:v>0.82222303705876598</c:v>
                </c:pt>
                <c:pt idx="10">
                  <c:v>0.85066490661973204</c:v>
                </c:pt>
                <c:pt idx="11">
                  <c:v>0.87693116260878068</c:v>
                </c:pt>
                <c:pt idx="12">
                  <c:v>0.89915175515791534</c:v>
                </c:pt>
                <c:pt idx="13">
                  <c:v>0.91716779114109714</c:v>
                </c:pt>
                <c:pt idx="14">
                  <c:v>0.93431602620514331</c:v>
                </c:pt>
                <c:pt idx="15">
                  <c:v>0.94714970176982505</c:v>
                </c:pt>
                <c:pt idx="16">
                  <c:v>0.95877334506697964</c:v>
                </c:pt>
                <c:pt idx="17">
                  <c:v>0.97011586975652697</c:v>
                </c:pt>
                <c:pt idx="18">
                  <c:v>0.9804805905935271</c:v>
                </c:pt>
                <c:pt idx="19">
                  <c:v>0.9896475017111569</c:v>
                </c:pt>
                <c:pt idx="20">
                  <c:v>0.99465874645546115</c:v>
                </c:pt>
                <c:pt idx="21">
                  <c:v>0.99716436882761328</c:v>
                </c:pt>
                <c:pt idx="22">
                  <c:v>0.99854551676933612</c:v>
                </c:pt>
                <c:pt idx="23">
                  <c:v>0.99957221081451064</c:v>
                </c:pt>
                <c:pt idx="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2</c:f>
              <c:strCache>
                <c:ptCount val="21"/>
                <c:pt idx="0">
                  <c:v>Ruinart</c:v>
                </c:pt>
                <c:pt idx="1">
                  <c:v>Deutz</c:v>
                </c:pt>
                <c:pt idx="2">
                  <c:v>Demoiselle</c:v>
                </c:pt>
                <c:pt idx="3">
                  <c:v>Ruinart</c:v>
                </c:pt>
                <c:pt idx="4">
                  <c:v>Laurent Per</c:v>
                </c:pt>
                <c:pt idx="5">
                  <c:v>Nicolas</c:v>
                </c:pt>
                <c:pt idx="6">
                  <c:v>Ruinart</c:v>
                </c:pt>
                <c:pt idx="7">
                  <c:v>Besserat De</c:v>
                </c:pt>
                <c:pt idx="8">
                  <c:v>Malard</c:v>
                </c:pt>
                <c:pt idx="9">
                  <c:v>Nicolas Feu</c:v>
                </c:pt>
                <c:pt idx="10">
                  <c:v>Pommery</c:v>
                </c:pt>
                <c:pt idx="11">
                  <c:v>Deutz</c:v>
                </c:pt>
                <c:pt idx="12">
                  <c:v>Nicolas</c:v>
                </c:pt>
                <c:pt idx="13">
                  <c:v>Ruinart</c:v>
                </c:pt>
                <c:pt idx="14">
                  <c:v>Nicolas</c:v>
                </c:pt>
                <c:pt idx="15">
                  <c:v>Bollinger</c:v>
                </c:pt>
                <c:pt idx="16">
                  <c:v>Besserat De</c:v>
                </c:pt>
                <c:pt idx="17">
                  <c:v>Demoiselle</c:v>
                </c:pt>
                <c:pt idx="18">
                  <c:v>Nicolas</c:v>
                </c:pt>
                <c:pt idx="19">
                  <c:v>Laurent Per</c:v>
                </c:pt>
                <c:pt idx="20">
                  <c:v>Henriot</c:v>
                </c:pt>
              </c:strCache>
            </c:strRef>
          </c:cat>
          <c:val>
            <c:numRef>
              <c:f>Sheet1!$B$2:$B$22</c:f>
              <c:numCache>
                <c:formatCode>General</c:formatCode>
                <c:ptCount val="21"/>
                <c:pt idx="0">
                  <c:v>0.72</c:v>
                </c:pt>
                <c:pt idx="1">
                  <c:v>0.79</c:v>
                </c:pt>
                <c:pt idx="2">
                  <c:v>0.8</c:v>
                </c:pt>
                <c:pt idx="3">
                  <c:v>0.64</c:v>
                </c:pt>
                <c:pt idx="4">
                  <c:v>0.64</c:v>
                </c:pt>
                <c:pt idx="5">
                  <c:v>0.56000000000000005</c:v>
                </c:pt>
                <c:pt idx="6">
                  <c:v>0.28000000000000003</c:v>
                </c:pt>
                <c:pt idx="7">
                  <c:v>0.37</c:v>
                </c:pt>
                <c:pt idx="8">
                  <c:v>0.46</c:v>
                </c:pt>
                <c:pt idx="9">
                  <c:v>0.48</c:v>
                </c:pt>
                <c:pt idx="10">
                  <c:v>0.44</c:v>
                </c:pt>
                <c:pt idx="11">
                  <c:v>0.71</c:v>
                </c:pt>
                <c:pt idx="12">
                  <c:v>0.28000000000000003</c:v>
                </c:pt>
                <c:pt idx="13">
                  <c:v>0.37</c:v>
                </c:pt>
                <c:pt idx="14">
                  <c:v>0.31</c:v>
                </c:pt>
                <c:pt idx="15">
                  <c:v>0.19</c:v>
                </c:pt>
                <c:pt idx="16">
                  <c:v>0.32</c:v>
                </c:pt>
                <c:pt idx="17">
                  <c:v>0.27</c:v>
                </c:pt>
                <c:pt idx="18">
                  <c:v>0.11</c:v>
                </c:pt>
                <c:pt idx="19">
                  <c:v>0.15</c:v>
                </c:pt>
                <c:pt idx="20">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2</c:f>
              <c:strCache>
                <c:ptCount val="21"/>
                <c:pt idx="0">
                  <c:v>Ruinart</c:v>
                </c:pt>
                <c:pt idx="1">
                  <c:v>Deutz</c:v>
                </c:pt>
                <c:pt idx="2">
                  <c:v>Demoiselle</c:v>
                </c:pt>
                <c:pt idx="3">
                  <c:v>Ruinart</c:v>
                </c:pt>
                <c:pt idx="4">
                  <c:v>Laurent Per</c:v>
                </c:pt>
                <c:pt idx="5">
                  <c:v>Nicolas</c:v>
                </c:pt>
                <c:pt idx="6">
                  <c:v>Ruinart</c:v>
                </c:pt>
                <c:pt idx="7">
                  <c:v>Besserat De</c:v>
                </c:pt>
                <c:pt idx="8">
                  <c:v>Malard</c:v>
                </c:pt>
                <c:pt idx="9">
                  <c:v>Nicolas Feu</c:v>
                </c:pt>
                <c:pt idx="10">
                  <c:v>Pommery</c:v>
                </c:pt>
                <c:pt idx="11">
                  <c:v>Deutz</c:v>
                </c:pt>
                <c:pt idx="12">
                  <c:v>Nicolas</c:v>
                </c:pt>
                <c:pt idx="13">
                  <c:v>Ruinart</c:v>
                </c:pt>
                <c:pt idx="14">
                  <c:v>Nicolas</c:v>
                </c:pt>
                <c:pt idx="15">
                  <c:v>Bollinger</c:v>
                </c:pt>
                <c:pt idx="16">
                  <c:v>Besserat De</c:v>
                </c:pt>
                <c:pt idx="17">
                  <c:v>Demoiselle</c:v>
                </c:pt>
                <c:pt idx="18">
                  <c:v>Nicolas</c:v>
                </c:pt>
                <c:pt idx="19">
                  <c:v>Laurent Per</c:v>
                </c:pt>
                <c:pt idx="20">
                  <c:v>Henriot</c:v>
                </c:pt>
              </c:strCache>
            </c:strRef>
          </c:cat>
          <c:val>
            <c:numRef>
              <c:f>Sheet1!$C$2:$C$22</c:f>
              <c:numCache>
                <c:formatCode>General</c:formatCode>
                <c:ptCount val="21"/>
                <c:pt idx="0">
                  <c:v>0.1838966729685319</c:v>
                </c:pt>
                <c:pt idx="1">
                  <c:v>0.29549269395904376</c:v>
                </c:pt>
                <c:pt idx="2">
                  <c:v>0.40641730127038533</c:v>
                </c:pt>
                <c:pt idx="3">
                  <c:v>0.50117497393854793</c:v>
                </c:pt>
                <c:pt idx="4">
                  <c:v>0.59223987137127398</c:v>
                </c:pt>
                <c:pt idx="5">
                  <c:v>0.66238493206353688</c:v>
                </c:pt>
                <c:pt idx="6">
                  <c:v>0.71733484106931455</c:v>
                </c:pt>
                <c:pt idx="7">
                  <c:v>0.76776154213120829</c:v>
                </c:pt>
                <c:pt idx="8">
                  <c:v>0.81672173436754592</c:v>
                </c:pt>
                <c:pt idx="9">
                  <c:v>0.86515186317295967</c:v>
                </c:pt>
                <c:pt idx="10">
                  <c:v>0.89927027934342807</c:v>
                </c:pt>
                <c:pt idx="11">
                  <c:v>0.92254006396098731</c:v>
                </c:pt>
                <c:pt idx="12">
                  <c:v>0.93937841228333652</c:v>
                </c:pt>
                <c:pt idx="13">
                  <c:v>0.95218827853066412</c:v>
                </c:pt>
                <c:pt idx="14">
                  <c:v>0.96392034913511315</c:v>
                </c:pt>
                <c:pt idx="15">
                  <c:v>0.97492799971729949</c:v>
                </c:pt>
                <c:pt idx="16">
                  <c:v>0.98547626199268512</c:v>
                </c:pt>
                <c:pt idx="17">
                  <c:v>0.99183702316377198</c:v>
                </c:pt>
                <c:pt idx="18">
                  <c:v>0.99547679205611606</c:v>
                </c:pt>
                <c:pt idx="19">
                  <c:v>0.9989928794812446</c:v>
                </c:pt>
                <c:pt idx="2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Ruinart</c:v>
                </c:pt>
                <c:pt idx="1">
                  <c:v>Demoiselle</c:v>
                </c:pt>
                <c:pt idx="2">
                  <c:v>Laurent Per</c:v>
                </c:pt>
                <c:pt idx="3">
                  <c:v>Nicolas</c:v>
                </c:pt>
                <c:pt idx="4">
                  <c:v>Deutz</c:v>
                </c:pt>
                <c:pt idx="5">
                  <c:v>Nicolas Feu</c:v>
                </c:pt>
                <c:pt idx="6">
                  <c:v>Malard</c:v>
                </c:pt>
                <c:pt idx="7">
                  <c:v>Besserat De</c:v>
                </c:pt>
                <c:pt idx="8">
                  <c:v>Deutz</c:v>
                </c:pt>
                <c:pt idx="9">
                  <c:v>Pommery</c:v>
                </c:pt>
                <c:pt idx="10">
                  <c:v>Ruinart</c:v>
                </c:pt>
                <c:pt idx="11">
                  <c:v>Ruinart</c:v>
                </c:pt>
                <c:pt idx="12">
                  <c:v>Ruinart</c:v>
                </c:pt>
                <c:pt idx="13">
                  <c:v>Besserat De</c:v>
                </c:pt>
                <c:pt idx="14">
                  <c:v>Nicolas</c:v>
                </c:pt>
                <c:pt idx="15">
                  <c:v>Nicolas</c:v>
                </c:pt>
                <c:pt idx="16">
                  <c:v>Nicolas</c:v>
                </c:pt>
                <c:pt idx="17">
                  <c:v>Laurent Per</c:v>
                </c:pt>
                <c:pt idx="18">
                  <c:v>Demoiselle</c:v>
                </c:pt>
                <c:pt idx="19">
                  <c:v>Ruinart</c:v>
                </c:pt>
                <c:pt idx="20">
                  <c:v>Bollinger</c:v>
                </c:pt>
                <c:pt idx="21">
                  <c:v>Roederer</c:v>
                </c:pt>
                <c:pt idx="22">
                  <c:v>Henriot</c:v>
                </c:pt>
                <c:pt idx="23">
                  <c:v>Ayala</c:v>
                </c:pt>
                <c:pt idx="24">
                  <c:v>Lanson</c:v>
                </c:pt>
              </c:strCache>
            </c:strRef>
          </c:cat>
          <c:val>
            <c:numRef>
              <c:f>Sheet1!$B$2:$B$26</c:f>
              <c:numCache>
                <c:formatCode>General</c:formatCode>
                <c:ptCount val="25"/>
                <c:pt idx="0">
                  <c:v>0.93</c:v>
                </c:pt>
                <c:pt idx="1">
                  <c:v>0.77</c:v>
                </c:pt>
                <c:pt idx="2">
                  <c:v>0.42</c:v>
                </c:pt>
                <c:pt idx="3">
                  <c:v>0.56000000000000005</c:v>
                </c:pt>
                <c:pt idx="4">
                  <c:v>0.64</c:v>
                </c:pt>
                <c:pt idx="5">
                  <c:v>0.53</c:v>
                </c:pt>
                <c:pt idx="6">
                  <c:v>0.6</c:v>
                </c:pt>
                <c:pt idx="7">
                  <c:v>0.41</c:v>
                </c:pt>
                <c:pt idx="8">
                  <c:v>0.38</c:v>
                </c:pt>
                <c:pt idx="9">
                  <c:v>0.38</c:v>
                </c:pt>
                <c:pt idx="10">
                  <c:v>0.35</c:v>
                </c:pt>
                <c:pt idx="11">
                  <c:v>0.52</c:v>
                </c:pt>
                <c:pt idx="12">
                  <c:v>0.45</c:v>
                </c:pt>
                <c:pt idx="13">
                  <c:v>0.33</c:v>
                </c:pt>
                <c:pt idx="14">
                  <c:v>0.62</c:v>
                </c:pt>
                <c:pt idx="15">
                  <c:v>0.24</c:v>
                </c:pt>
                <c:pt idx="16">
                  <c:v>0.48</c:v>
                </c:pt>
                <c:pt idx="17">
                  <c:v>0.12</c:v>
                </c:pt>
                <c:pt idx="18">
                  <c:v>0.24</c:v>
                </c:pt>
                <c:pt idx="19">
                  <c:v>0.11</c:v>
                </c:pt>
                <c:pt idx="20">
                  <c:v>0.2</c:v>
                </c:pt>
                <c:pt idx="21">
                  <c:v>0.06</c:v>
                </c:pt>
                <c:pt idx="22">
                  <c:v>0.21</c:v>
                </c:pt>
                <c:pt idx="23">
                  <c:v>0.21</c:v>
                </c:pt>
                <c:pt idx="24">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Ruinart</c:v>
                </c:pt>
                <c:pt idx="1">
                  <c:v>Demoiselle</c:v>
                </c:pt>
                <c:pt idx="2">
                  <c:v>Laurent Per</c:v>
                </c:pt>
                <c:pt idx="3">
                  <c:v>Nicolas</c:v>
                </c:pt>
                <c:pt idx="4">
                  <c:v>Deutz</c:v>
                </c:pt>
                <c:pt idx="5">
                  <c:v>Nicolas Feu</c:v>
                </c:pt>
                <c:pt idx="6">
                  <c:v>Malard</c:v>
                </c:pt>
                <c:pt idx="7">
                  <c:v>Besserat De</c:v>
                </c:pt>
                <c:pt idx="8">
                  <c:v>Deutz</c:v>
                </c:pt>
                <c:pt idx="9">
                  <c:v>Pommery</c:v>
                </c:pt>
                <c:pt idx="10">
                  <c:v>Ruinart</c:v>
                </c:pt>
                <c:pt idx="11">
                  <c:v>Ruinart</c:v>
                </c:pt>
                <c:pt idx="12">
                  <c:v>Ruinart</c:v>
                </c:pt>
                <c:pt idx="13">
                  <c:v>Besserat De</c:v>
                </c:pt>
                <c:pt idx="14">
                  <c:v>Nicolas</c:v>
                </c:pt>
                <c:pt idx="15">
                  <c:v>Nicolas</c:v>
                </c:pt>
                <c:pt idx="16">
                  <c:v>Nicolas</c:v>
                </c:pt>
                <c:pt idx="17">
                  <c:v>Laurent Per</c:v>
                </c:pt>
                <c:pt idx="18">
                  <c:v>Demoiselle</c:v>
                </c:pt>
                <c:pt idx="19">
                  <c:v>Ruinart</c:v>
                </c:pt>
                <c:pt idx="20">
                  <c:v>Bollinger</c:v>
                </c:pt>
                <c:pt idx="21">
                  <c:v>Roederer</c:v>
                </c:pt>
                <c:pt idx="22">
                  <c:v>Henriot</c:v>
                </c:pt>
                <c:pt idx="23">
                  <c:v>Ayala</c:v>
                </c:pt>
                <c:pt idx="24">
                  <c:v>Lanson</c:v>
                </c:pt>
              </c:strCache>
            </c:strRef>
          </c:cat>
          <c:val>
            <c:numRef>
              <c:f>Sheet1!$C$2:$C$26</c:f>
              <c:numCache>
                <c:formatCode>General</c:formatCode>
                <c:ptCount val="25"/>
                <c:pt idx="0">
                  <c:v>0.20619491083769514</c:v>
                </c:pt>
                <c:pt idx="1">
                  <c:v>0.37001790043731447</c:v>
                </c:pt>
                <c:pt idx="2">
                  <c:v>0.45174812498583827</c:v>
                </c:pt>
                <c:pt idx="3">
                  <c:v>0.53207350508689644</c:v>
                </c:pt>
                <c:pt idx="4">
                  <c:v>0.60041238982167544</c:v>
                </c:pt>
                <c:pt idx="5">
                  <c:v>0.65903065733124877</c:v>
                </c:pt>
                <c:pt idx="6">
                  <c:v>0.70928783450026067</c:v>
                </c:pt>
                <c:pt idx="7">
                  <c:v>0.75587428908073329</c:v>
                </c:pt>
                <c:pt idx="8">
                  <c:v>0.79641084902453951</c:v>
                </c:pt>
                <c:pt idx="9">
                  <c:v>0.83010445698230351</c:v>
                </c:pt>
                <c:pt idx="10">
                  <c:v>0.86173611583169063</c:v>
                </c:pt>
                <c:pt idx="11">
                  <c:v>0.89191761267079062</c:v>
                </c:pt>
                <c:pt idx="12">
                  <c:v>0.9152788163052592</c:v>
                </c:pt>
                <c:pt idx="13">
                  <c:v>0.93730315183649437</c:v>
                </c:pt>
                <c:pt idx="14">
                  <c:v>0.9512383024040969</c:v>
                </c:pt>
                <c:pt idx="15">
                  <c:v>0.96225047016971443</c:v>
                </c:pt>
                <c:pt idx="16">
                  <c:v>0.97278680352570657</c:v>
                </c:pt>
                <c:pt idx="17">
                  <c:v>0.97938050891623063</c:v>
                </c:pt>
                <c:pt idx="18">
                  <c:v>0.98388960641696699</c:v>
                </c:pt>
                <c:pt idx="19">
                  <c:v>0.98828541001064973</c:v>
                </c:pt>
                <c:pt idx="20">
                  <c:v>0.99182017991072446</c:v>
                </c:pt>
                <c:pt idx="21">
                  <c:v>0.99512836199669186</c:v>
                </c:pt>
                <c:pt idx="22">
                  <c:v>0.99768880429610496</c:v>
                </c:pt>
                <c:pt idx="23">
                  <c:v>0.99911630752498126</c:v>
                </c:pt>
                <c:pt idx="2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Ruinart</c:v>
                </c:pt>
                <c:pt idx="1">
                  <c:v>Besserat De</c:v>
                </c:pt>
                <c:pt idx="2">
                  <c:v>Deutz</c:v>
                </c:pt>
                <c:pt idx="3">
                  <c:v>Laurent Per</c:v>
                </c:pt>
                <c:pt idx="4">
                  <c:v>Nicolas</c:v>
                </c:pt>
                <c:pt idx="5">
                  <c:v>Demoiselle</c:v>
                </c:pt>
                <c:pt idx="6">
                  <c:v>Ruinart</c:v>
                </c:pt>
                <c:pt idx="7">
                  <c:v>Nicolas Feu</c:v>
                </c:pt>
                <c:pt idx="8">
                  <c:v>Malard</c:v>
                </c:pt>
                <c:pt idx="9">
                  <c:v>Pommery</c:v>
                </c:pt>
                <c:pt idx="10">
                  <c:v>Ruinart</c:v>
                </c:pt>
                <c:pt idx="11">
                  <c:v>Deutz</c:v>
                </c:pt>
                <c:pt idx="12">
                  <c:v>Ruinart</c:v>
                </c:pt>
                <c:pt idx="13">
                  <c:v>Nicolas</c:v>
                </c:pt>
                <c:pt idx="14">
                  <c:v>Besserat De</c:v>
                </c:pt>
                <c:pt idx="15">
                  <c:v>Bollinger</c:v>
                </c:pt>
                <c:pt idx="16">
                  <c:v>Nicolas</c:v>
                </c:pt>
                <c:pt idx="17">
                  <c:v>Demoiselle</c:v>
                </c:pt>
                <c:pt idx="18">
                  <c:v>Laurent Per</c:v>
                </c:pt>
                <c:pt idx="19">
                  <c:v>Nicolas</c:v>
                </c:pt>
                <c:pt idx="20">
                  <c:v>Henriot</c:v>
                </c:pt>
                <c:pt idx="21">
                  <c:v>Nicolas</c:v>
                </c:pt>
              </c:strCache>
            </c:strRef>
          </c:cat>
          <c:val>
            <c:numRef>
              <c:f>Sheet1!$B$2:$B$23</c:f>
              <c:numCache>
                <c:formatCode>General</c:formatCode>
                <c:ptCount val="22"/>
                <c:pt idx="0">
                  <c:v>0.68</c:v>
                </c:pt>
                <c:pt idx="1">
                  <c:v>0.7</c:v>
                </c:pt>
                <c:pt idx="2">
                  <c:v>0.51</c:v>
                </c:pt>
                <c:pt idx="3">
                  <c:v>0.69</c:v>
                </c:pt>
                <c:pt idx="4">
                  <c:v>0.6</c:v>
                </c:pt>
                <c:pt idx="5">
                  <c:v>0.74</c:v>
                </c:pt>
                <c:pt idx="6">
                  <c:v>0.48</c:v>
                </c:pt>
                <c:pt idx="7">
                  <c:v>0.45</c:v>
                </c:pt>
                <c:pt idx="8">
                  <c:v>0.52</c:v>
                </c:pt>
                <c:pt idx="9">
                  <c:v>0.6</c:v>
                </c:pt>
                <c:pt idx="10">
                  <c:v>0.21</c:v>
                </c:pt>
                <c:pt idx="11">
                  <c:v>0.87</c:v>
                </c:pt>
                <c:pt idx="12">
                  <c:v>0.38</c:v>
                </c:pt>
                <c:pt idx="13">
                  <c:v>0.51</c:v>
                </c:pt>
                <c:pt idx="14">
                  <c:v>0.53</c:v>
                </c:pt>
                <c:pt idx="15">
                  <c:v>0.46</c:v>
                </c:pt>
                <c:pt idx="16">
                  <c:v>0.39</c:v>
                </c:pt>
                <c:pt idx="17">
                  <c:v>0.19</c:v>
                </c:pt>
                <c:pt idx="18">
                  <c:v>0.23</c:v>
                </c:pt>
                <c:pt idx="19">
                  <c:v>0.28000000000000003</c:v>
                </c:pt>
                <c:pt idx="20">
                  <c:v>0.11</c:v>
                </c:pt>
                <c:pt idx="21">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Ruinart</c:v>
                </c:pt>
                <c:pt idx="1">
                  <c:v>Besserat De</c:v>
                </c:pt>
                <c:pt idx="2">
                  <c:v>Deutz</c:v>
                </c:pt>
                <c:pt idx="3">
                  <c:v>Laurent Per</c:v>
                </c:pt>
                <c:pt idx="4">
                  <c:v>Nicolas</c:v>
                </c:pt>
                <c:pt idx="5">
                  <c:v>Demoiselle</c:v>
                </c:pt>
                <c:pt idx="6">
                  <c:v>Ruinart</c:v>
                </c:pt>
                <c:pt idx="7">
                  <c:v>Nicolas Feu</c:v>
                </c:pt>
                <c:pt idx="8">
                  <c:v>Malard</c:v>
                </c:pt>
                <c:pt idx="9">
                  <c:v>Pommery</c:v>
                </c:pt>
                <c:pt idx="10">
                  <c:v>Ruinart</c:v>
                </c:pt>
                <c:pt idx="11">
                  <c:v>Deutz</c:v>
                </c:pt>
                <c:pt idx="12">
                  <c:v>Ruinart</c:v>
                </c:pt>
                <c:pt idx="13">
                  <c:v>Nicolas</c:v>
                </c:pt>
                <c:pt idx="14">
                  <c:v>Besserat De</c:v>
                </c:pt>
                <c:pt idx="15">
                  <c:v>Bollinger</c:v>
                </c:pt>
                <c:pt idx="16">
                  <c:v>Nicolas</c:v>
                </c:pt>
                <c:pt idx="17">
                  <c:v>Demoiselle</c:v>
                </c:pt>
                <c:pt idx="18">
                  <c:v>Laurent Per</c:v>
                </c:pt>
                <c:pt idx="19">
                  <c:v>Nicolas</c:v>
                </c:pt>
                <c:pt idx="20">
                  <c:v>Henriot</c:v>
                </c:pt>
                <c:pt idx="21">
                  <c:v>Nicolas</c:v>
                </c:pt>
              </c:strCache>
            </c:strRef>
          </c:cat>
          <c:val>
            <c:numRef>
              <c:f>Sheet1!$C$2:$C$23</c:f>
              <c:numCache>
                <c:formatCode>General</c:formatCode>
                <c:ptCount val="22"/>
                <c:pt idx="0">
                  <c:v>0.14691572059728203</c:v>
                </c:pt>
                <c:pt idx="1">
                  <c:v>0.2790671662658688</c:v>
                </c:pt>
                <c:pt idx="2">
                  <c:v>0.40996029304848725</c:v>
                </c:pt>
                <c:pt idx="3">
                  <c:v>0.49261786253565237</c:v>
                </c:pt>
                <c:pt idx="4">
                  <c:v>0.55956042726916844</c:v>
                </c:pt>
                <c:pt idx="5">
                  <c:v>0.62451764442704549</c:v>
                </c:pt>
                <c:pt idx="6">
                  <c:v>0.68427381018958677</c:v>
                </c:pt>
                <c:pt idx="7">
                  <c:v>0.74229629215368276</c:v>
                </c:pt>
                <c:pt idx="8">
                  <c:v>0.79975952127957062</c:v>
                </c:pt>
                <c:pt idx="9">
                  <c:v>0.85532129075555074</c:v>
                </c:pt>
                <c:pt idx="10">
                  <c:v>0.88482187797103085</c:v>
                </c:pt>
                <c:pt idx="11">
                  <c:v>0.90747161791846109</c:v>
                </c:pt>
                <c:pt idx="12">
                  <c:v>0.92749286952631305</c:v>
                </c:pt>
                <c:pt idx="13">
                  <c:v>0.94222918181309789</c:v>
                </c:pt>
                <c:pt idx="14">
                  <c:v>0.9567977182484203</c:v>
                </c:pt>
                <c:pt idx="15">
                  <c:v>0.9677870365192105</c:v>
                </c:pt>
                <c:pt idx="16">
                  <c:v>0.97813321402606135</c:v>
                </c:pt>
                <c:pt idx="17">
                  <c:v>0.98691348358592934</c:v>
                </c:pt>
                <c:pt idx="18">
                  <c:v>0.99527431351714124</c:v>
                </c:pt>
                <c:pt idx="19">
                  <c:v>0.99725966109278019</c:v>
                </c:pt>
                <c:pt idx="20">
                  <c:v>0.99885353168167346</c:v>
                </c:pt>
                <c:pt idx="21">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2</c:f>
              <c:strCache>
                <c:ptCount val="21"/>
                <c:pt idx="0">
                  <c:v>Demoiselle</c:v>
                </c:pt>
                <c:pt idx="1">
                  <c:v>Ruinart</c:v>
                </c:pt>
                <c:pt idx="2">
                  <c:v>Laurent Per</c:v>
                </c:pt>
                <c:pt idx="3">
                  <c:v>Deutz</c:v>
                </c:pt>
                <c:pt idx="4">
                  <c:v>Ruinart</c:v>
                </c:pt>
                <c:pt idx="5">
                  <c:v>Malard</c:v>
                </c:pt>
                <c:pt idx="6">
                  <c:v>Pommery</c:v>
                </c:pt>
                <c:pt idx="7">
                  <c:v>Bollinger</c:v>
                </c:pt>
                <c:pt idx="8">
                  <c:v>Ruinart</c:v>
                </c:pt>
                <c:pt idx="9">
                  <c:v>Besserat De</c:v>
                </c:pt>
                <c:pt idx="10">
                  <c:v>Nicolas</c:v>
                </c:pt>
                <c:pt idx="11">
                  <c:v>Deutz</c:v>
                </c:pt>
                <c:pt idx="12">
                  <c:v>Ruinart</c:v>
                </c:pt>
                <c:pt idx="13">
                  <c:v>Nicolas Feu</c:v>
                </c:pt>
                <c:pt idx="14">
                  <c:v>Nicolas</c:v>
                </c:pt>
                <c:pt idx="15">
                  <c:v>Nicolas</c:v>
                </c:pt>
                <c:pt idx="16">
                  <c:v>Besserat De</c:v>
                </c:pt>
                <c:pt idx="17">
                  <c:v>Nicolas</c:v>
                </c:pt>
                <c:pt idx="18">
                  <c:v>Nicolas</c:v>
                </c:pt>
                <c:pt idx="19">
                  <c:v>Henriot</c:v>
                </c:pt>
                <c:pt idx="20">
                  <c:v>Demoiselle</c:v>
                </c:pt>
              </c:strCache>
            </c:strRef>
          </c:cat>
          <c:val>
            <c:numRef>
              <c:f>Sheet1!$B$2:$B$22</c:f>
              <c:numCache>
                <c:formatCode>General</c:formatCode>
                <c:ptCount val="21"/>
                <c:pt idx="0">
                  <c:v>0.88</c:v>
                </c:pt>
                <c:pt idx="1">
                  <c:v>0.8</c:v>
                </c:pt>
                <c:pt idx="2">
                  <c:v>0.63</c:v>
                </c:pt>
                <c:pt idx="3">
                  <c:v>0.7</c:v>
                </c:pt>
                <c:pt idx="4">
                  <c:v>0.5</c:v>
                </c:pt>
                <c:pt idx="5">
                  <c:v>0.73</c:v>
                </c:pt>
                <c:pt idx="6">
                  <c:v>0.55000000000000004</c:v>
                </c:pt>
                <c:pt idx="7">
                  <c:v>0.28000000000000003</c:v>
                </c:pt>
                <c:pt idx="8">
                  <c:v>0.64</c:v>
                </c:pt>
                <c:pt idx="9">
                  <c:v>0.71</c:v>
                </c:pt>
                <c:pt idx="10">
                  <c:v>0.73</c:v>
                </c:pt>
                <c:pt idx="11">
                  <c:v>0.64</c:v>
                </c:pt>
                <c:pt idx="12">
                  <c:v>0.44</c:v>
                </c:pt>
                <c:pt idx="13">
                  <c:v>0.64</c:v>
                </c:pt>
                <c:pt idx="14">
                  <c:v>0.63</c:v>
                </c:pt>
                <c:pt idx="15">
                  <c:v>0.62</c:v>
                </c:pt>
                <c:pt idx="16">
                  <c:v>0.35</c:v>
                </c:pt>
                <c:pt idx="17">
                  <c:v>0.38</c:v>
                </c:pt>
                <c:pt idx="18">
                  <c:v>0.16</c:v>
                </c:pt>
                <c:pt idx="19">
                  <c:v>0.35</c:v>
                </c:pt>
                <c:pt idx="20">
                  <c:v>0.2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2</c:f>
              <c:strCache>
                <c:ptCount val="21"/>
                <c:pt idx="0">
                  <c:v>Demoiselle</c:v>
                </c:pt>
                <c:pt idx="1">
                  <c:v>Ruinart</c:v>
                </c:pt>
                <c:pt idx="2">
                  <c:v>Laurent Per</c:v>
                </c:pt>
                <c:pt idx="3">
                  <c:v>Deutz</c:v>
                </c:pt>
                <c:pt idx="4">
                  <c:v>Ruinart</c:v>
                </c:pt>
                <c:pt idx="5">
                  <c:v>Malard</c:v>
                </c:pt>
                <c:pt idx="6">
                  <c:v>Pommery</c:v>
                </c:pt>
                <c:pt idx="7">
                  <c:v>Bollinger</c:v>
                </c:pt>
                <c:pt idx="8">
                  <c:v>Ruinart</c:v>
                </c:pt>
                <c:pt idx="9">
                  <c:v>Besserat De</c:v>
                </c:pt>
                <c:pt idx="10">
                  <c:v>Nicolas</c:v>
                </c:pt>
                <c:pt idx="11">
                  <c:v>Deutz</c:v>
                </c:pt>
                <c:pt idx="12">
                  <c:v>Ruinart</c:v>
                </c:pt>
                <c:pt idx="13">
                  <c:v>Nicolas Feu</c:v>
                </c:pt>
                <c:pt idx="14">
                  <c:v>Nicolas</c:v>
                </c:pt>
                <c:pt idx="15">
                  <c:v>Nicolas</c:v>
                </c:pt>
                <c:pt idx="16">
                  <c:v>Besserat De</c:v>
                </c:pt>
                <c:pt idx="17">
                  <c:v>Nicolas</c:v>
                </c:pt>
                <c:pt idx="18">
                  <c:v>Nicolas</c:v>
                </c:pt>
                <c:pt idx="19">
                  <c:v>Henriot</c:v>
                </c:pt>
                <c:pt idx="20">
                  <c:v>Demoiselle</c:v>
                </c:pt>
              </c:strCache>
            </c:strRef>
          </c:cat>
          <c:val>
            <c:numRef>
              <c:f>Sheet1!$C$2:$C$22</c:f>
              <c:numCache>
                <c:formatCode>General</c:formatCode>
                <c:ptCount val="21"/>
                <c:pt idx="0">
                  <c:v>0.14325235911623146</c:v>
                </c:pt>
                <c:pt idx="1">
                  <c:v>0.28601205138894148</c:v>
                </c:pt>
                <c:pt idx="2">
                  <c:v>0.40493424792511457</c:v>
                </c:pt>
                <c:pt idx="3">
                  <c:v>0.49198468943040125</c:v>
                </c:pt>
                <c:pt idx="4">
                  <c:v>0.57247887217190274</c:v>
                </c:pt>
                <c:pt idx="5">
                  <c:v>0.64357448743699541</c:v>
                </c:pt>
                <c:pt idx="6">
                  <c:v>0.69181794065259405</c:v>
                </c:pt>
                <c:pt idx="7">
                  <c:v>0.73388410959942396</c:v>
                </c:pt>
                <c:pt idx="8">
                  <c:v>0.77583658619774887</c:v>
                </c:pt>
                <c:pt idx="9">
                  <c:v>0.8172206010535491</c:v>
                </c:pt>
                <c:pt idx="10">
                  <c:v>0.85780876946981466</c:v>
                </c:pt>
                <c:pt idx="11">
                  <c:v>0.89820745063857199</c:v>
                </c:pt>
                <c:pt idx="12">
                  <c:v>0.92867700003789744</c:v>
                </c:pt>
                <c:pt idx="13">
                  <c:v>0.95043013605184368</c:v>
                </c:pt>
                <c:pt idx="14">
                  <c:v>0.96718080873157231</c:v>
                </c:pt>
                <c:pt idx="15">
                  <c:v>0.9805965058551559</c:v>
                </c:pt>
                <c:pt idx="16">
                  <c:v>0.98893394474551855</c:v>
                </c:pt>
                <c:pt idx="17">
                  <c:v>0.99363322848372293</c:v>
                </c:pt>
                <c:pt idx="18">
                  <c:v>0.99632394739833996</c:v>
                </c:pt>
                <c:pt idx="19">
                  <c:v>0.99848410201993387</c:v>
                </c:pt>
                <c:pt idx="20">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Ruinart</c:v>
                </c:pt>
                <c:pt idx="1">
                  <c:v>Laurent Per</c:v>
                </c:pt>
                <c:pt idx="2">
                  <c:v>Deutz</c:v>
                </c:pt>
                <c:pt idx="3">
                  <c:v>Demoiselle</c:v>
                </c:pt>
                <c:pt idx="4">
                  <c:v>Nicolas</c:v>
                </c:pt>
                <c:pt idx="5">
                  <c:v>Malard</c:v>
                </c:pt>
                <c:pt idx="6">
                  <c:v>Ruinart</c:v>
                </c:pt>
                <c:pt idx="7">
                  <c:v>Nicolas Feu</c:v>
                </c:pt>
                <c:pt idx="8">
                  <c:v>Besserat De</c:v>
                </c:pt>
                <c:pt idx="9">
                  <c:v>Pommery</c:v>
                </c:pt>
                <c:pt idx="10">
                  <c:v>Ruinart</c:v>
                </c:pt>
                <c:pt idx="11">
                  <c:v>Deutz</c:v>
                </c:pt>
                <c:pt idx="12">
                  <c:v>Bollinger</c:v>
                </c:pt>
                <c:pt idx="13">
                  <c:v>Nicolas</c:v>
                </c:pt>
                <c:pt idx="14">
                  <c:v>Nicolas</c:v>
                </c:pt>
                <c:pt idx="15">
                  <c:v>Nicolas</c:v>
                </c:pt>
                <c:pt idx="16">
                  <c:v>Demoiselle</c:v>
                </c:pt>
                <c:pt idx="17">
                  <c:v>Besserat De</c:v>
                </c:pt>
                <c:pt idx="18">
                  <c:v>Ruinart</c:v>
                </c:pt>
                <c:pt idx="19">
                  <c:v>Nicolas</c:v>
                </c:pt>
                <c:pt idx="20">
                  <c:v>Ruinart</c:v>
                </c:pt>
                <c:pt idx="21">
                  <c:v>Laurent Per</c:v>
                </c:pt>
                <c:pt idx="22">
                  <c:v>Henriot</c:v>
                </c:pt>
              </c:strCache>
            </c:strRef>
          </c:cat>
          <c:val>
            <c:numRef>
              <c:f>Sheet1!$B$2:$B$24</c:f>
              <c:numCache>
                <c:formatCode>General</c:formatCode>
                <c:ptCount val="23"/>
                <c:pt idx="0">
                  <c:v>0.88</c:v>
                </c:pt>
                <c:pt idx="1">
                  <c:v>0.88</c:v>
                </c:pt>
                <c:pt idx="2">
                  <c:v>0.84</c:v>
                </c:pt>
                <c:pt idx="3">
                  <c:v>0.77</c:v>
                </c:pt>
                <c:pt idx="4">
                  <c:v>0.61</c:v>
                </c:pt>
                <c:pt idx="5">
                  <c:v>0.44</c:v>
                </c:pt>
                <c:pt idx="6">
                  <c:v>0.46</c:v>
                </c:pt>
                <c:pt idx="7">
                  <c:v>0.31</c:v>
                </c:pt>
                <c:pt idx="8">
                  <c:v>0.46</c:v>
                </c:pt>
                <c:pt idx="9">
                  <c:v>0.26</c:v>
                </c:pt>
                <c:pt idx="10">
                  <c:v>0.38</c:v>
                </c:pt>
                <c:pt idx="11">
                  <c:v>0.45</c:v>
                </c:pt>
                <c:pt idx="12">
                  <c:v>0.8</c:v>
                </c:pt>
                <c:pt idx="13">
                  <c:v>0.42</c:v>
                </c:pt>
                <c:pt idx="14">
                  <c:v>0.18</c:v>
                </c:pt>
                <c:pt idx="15">
                  <c:v>0.43</c:v>
                </c:pt>
                <c:pt idx="16">
                  <c:v>0.28000000000000003</c:v>
                </c:pt>
                <c:pt idx="17">
                  <c:v>0.8</c:v>
                </c:pt>
                <c:pt idx="18">
                  <c:v>0.2</c:v>
                </c:pt>
                <c:pt idx="19">
                  <c:v>0.26</c:v>
                </c:pt>
                <c:pt idx="20">
                  <c:v>0.05</c:v>
                </c:pt>
                <c:pt idx="21">
                  <c:v>0.21</c:v>
                </c:pt>
                <c:pt idx="22">
                  <c:v>0.1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Ruinart</c:v>
                </c:pt>
                <c:pt idx="1">
                  <c:v>Laurent Per</c:v>
                </c:pt>
                <c:pt idx="2">
                  <c:v>Deutz</c:v>
                </c:pt>
                <c:pt idx="3">
                  <c:v>Demoiselle</c:v>
                </c:pt>
                <c:pt idx="4">
                  <c:v>Nicolas</c:v>
                </c:pt>
                <c:pt idx="5">
                  <c:v>Malard</c:v>
                </c:pt>
                <c:pt idx="6">
                  <c:v>Ruinart</c:v>
                </c:pt>
                <c:pt idx="7">
                  <c:v>Nicolas Feu</c:v>
                </c:pt>
                <c:pt idx="8">
                  <c:v>Besserat De</c:v>
                </c:pt>
                <c:pt idx="9">
                  <c:v>Pommery</c:v>
                </c:pt>
                <c:pt idx="10">
                  <c:v>Ruinart</c:v>
                </c:pt>
                <c:pt idx="11">
                  <c:v>Deutz</c:v>
                </c:pt>
                <c:pt idx="12">
                  <c:v>Bollinger</c:v>
                </c:pt>
                <c:pt idx="13">
                  <c:v>Nicolas</c:v>
                </c:pt>
                <c:pt idx="14">
                  <c:v>Nicolas</c:v>
                </c:pt>
                <c:pt idx="15">
                  <c:v>Nicolas</c:v>
                </c:pt>
                <c:pt idx="16">
                  <c:v>Demoiselle</c:v>
                </c:pt>
                <c:pt idx="17">
                  <c:v>Besserat De</c:v>
                </c:pt>
                <c:pt idx="18">
                  <c:v>Ruinart</c:v>
                </c:pt>
                <c:pt idx="19">
                  <c:v>Nicolas</c:v>
                </c:pt>
                <c:pt idx="20">
                  <c:v>Ruinart</c:v>
                </c:pt>
                <c:pt idx="21">
                  <c:v>Laurent Per</c:v>
                </c:pt>
                <c:pt idx="22">
                  <c:v>Henriot</c:v>
                </c:pt>
              </c:strCache>
            </c:strRef>
          </c:cat>
          <c:val>
            <c:numRef>
              <c:f>Sheet1!$C$2:$C$24</c:f>
              <c:numCache>
                <c:formatCode>General</c:formatCode>
                <c:ptCount val="23"/>
                <c:pt idx="0">
                  <c:v>0.14171230132229198</c:v>
                </c:pt>
                <c:pt idx="1">
                  <c:v>0.28173278126530432</c:v>
                </c:pt>
                <c:pt idx="2">
                  <c:v>0.41908196429366462</c:v>
                </c:pt>
                <c:pt idx="3">
                  <c:v>0.50296068741373945</c:v>
                </c:pt>
                <c:pt idx="4">
                  <c:v>0.58399002715818538</c:v>
                </c:pt>
                <c:pt idx="5">
                  <c:v>0.65589243577757006</c:v>
                </c:pt>
                <c:pt idx="6">
                  <c:v>0.69743110280040965</c:v>
                </c:pt>
                <c:pt idx="7">
                  <c:v>0.7381683807488536</c:v>
                </c:pt>
                <c:pt idx="8">
                  <c:v>0.77592271047593608</c:v>
                </c:pt>
                <c:pt idx="9">
                  <c:v>0.80762210052980721</c:v>
                </c:pt>
                <c:pt idx="10">
                  <c:v>0.83678375851475895</c:v>
                </c:pt>
                <c:pt idx="11">
                  <c:v>0.86558924357775702</c:v>
                </c:pt>
                <c:pt idx="12">
                  <c:v>0.88660344597301988</c:v>
                </c:pt>
                <c:pt idx="13">
                  <c:v>0.90641556475668938</c:v>
                </c:pt>
                <c:pt idx="14">
                  <c:v>0.92288856239704375</c:v>
                </c:pt>
                <c:pt idx="15">
                  <c:v>0.93931703842215397</c:v>
                </c:pt>
                <c:pt idx="16">
                  <c:v>0.95156048261430926</c:v>
                </c:pt>
                <c:pt idx="17">
                  <c:v>0.96358131873024355</c:v>
                </c:pt>
                <c:pt idx="18">
                  <c:v>0.97350963892970044</c:v>
                </c:pt>
                <c:pt idx="19">
                  <c:v>0.98339343751391306</c:v>
                </c:pt>
                <c:pt idx="20">
                  <c:v>0.99301010640666054</c:v>
                </c:pt>
                <c:pt idx="21">
                  <c:v>0.99746226793108062</c:v>
                </c:pt>
                <c:pt idx="2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Patriarche</c:v>
                </c:pt>
                <c:pt idx="1">
                  <c:v>All Others</c:v>
                </c:pt>
                <c:pt idx="2">
                  <c:v>Patriarche</c:v>
                </c:pt>
                <c:pt idx="3">
                  <c:v>All Others</c:v>
                </c:pt>
                <c:pt idx="4">
                  <c:v>All Others</c:v>
                </c:pt>
                <c:pt idx="5">
                  <c:v>All Others</c:v>
                </c:pt>
                <c:pt idx="6">
                  <c:v>All Others</c:v>
                </c:pt>
              </c:strCache>
            </c:strRef>
          </c:cat>
          <c:val>
            <c:numRef>
              <c:f>Sheet1!$B$2:$B$8</c:f>
              <c:numCache>
                <c:formatCode>General</c:formatCode>
                <c:ptCount val="7"/>
                <c:pt idx="0">
                  <c:v>0.94</c:v>
                </c:pt>
                <c:pt idx="1">
                  <c:v>0.05</c:v>
                </c:pt>
                <c:pt idx="2">
                  <c:v>0.67</c:v>
                </c:pt>
                <c:pt idx="3">
                  <c:v>0.05</c:v>
                </c:pt>
                <c:pt idx="4">
                  <c:v>0.05</c:v>
                </c:pt>
                <c:pt idx="5">
                  <c:v>0.03</c:v>
                </c:pt>
                <c:pt idx="6">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Patriarche</c:v>
                </c:pt>
                <c:pt idx="1">
                  <c:v>All Others</c:v>
                </c:pt>
                <c:pt idx="2">
                  <c:v>Patriarche</c:v>
                </c:pt>
                <c:pt idx="3">
                  <c:v>All Others</c:v>
                </c:pt>
                <c:pt idx="4">
                  <c:v>All Others</c:v>
                </c:pt>
                <c:pt idx="5">
                  <c:v>All Others</c:v>
                </c:pt>
                <c:pt idx="6">
                  <c:v>All Others</c:v>
                </c:pt>
              </c:strCache>
            </c:strRef>
          </c:cat>
          <c:val>
            <c:numRef>
              <c:f>Sheet1!$C$2:$C$8</c:f>
              <c:numCache>
                <c:formatCode>General</c:formatCode>
                <c:ptCount val="7"/>
                <c:pt idx="0">
                  <c:v>0.44533313020515947</c:v>
                </c:pt>
                <c:pt idx="1">
                  <c:v>0.6516605728214504</c:v>
                </c:pt>
                <c:pt idx="2">
                  <c:v>0.83930022344099131</c:v>
                </c:pt>
                <c:pt idx="3">
                  <c:v>0.92872740199065618</c:v>
                </c:pt>
                <c:pt idx="4">
                  <c:v>0.97562461913467402</c:v>
                </c:pt>
                <c:pt idx="5">
                  <c:v>0.99832419256550886</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79</c:v>
                </c:pt>
                <c:pt idx="1">
                  <c:v>0.5600000000000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806538436289634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4</c:v>
                </c:pt>
                <c:pt idx="1">
                  <c:v>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7062099401071771</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2</c:v>
                </c:pt>
                <c:pt idx="1">
                  <c:v>0.7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098343132014967</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vet-Ladubay</c:v>
                </c:pt>
                <c:pt idx="1">
                  <c:v>Patriarche</c:v>
                </c:pt>
                <c:pt idx="2">
                  <c:v>Bottega</c:v>
                </c:pt>
                <c:pt idx="3">
                  <c:v>Chateau Moncontour</c:v>
                </c:pt>
                <c:pt idx="4">
                  <c:v>Savian</c:v>
                </c:pt>
                <c:pt idx="5">
                  <c:v>Mure</c:v>
                </c:pt>
                <c:pt idx="6">
                  <c:v>Kriter</c:v>
                </c:pt>
                <c:pt idx="7">
                  <c:v>De Chanceny</c:v>
                </c:pt>
                <c:pt idx="8">
                  <c:v>Contarini</c:v>
                </c:pt>
                <c:pt idx="9">
                  <c:v>Others</c:v>
                </c:pt>
              </c:strCache>
            </c:strRef>
          </c:cat>
          <c:val>
            <c:numRef>
              <c:f>Sheet1!$B$2:$B$11</c:f>
              <c:numCache>
                <c:formatCode>General</c:formatCode>
                <c:ptCount val="10"/>
                <c:pt idx="0">
                  <c:v>0.17370274400372068</c:v>
                </c:pt>
                <c:pt idx="1">
                  <c:v>0.14174473456913161</c:v>
                </c:pt>
                <c:pt idx="2">
                  <c:v>0.11011892897481895</c:v>
                </c:pt>
                <c:pt idx="3">
                  <c:v>8.9017341040462425E-2</c:v>
                </c:pt>
                <c:pt idx="4">
                  <c:v>6.7623413726662682E-2</c:v>
                </c:pt>
                <c:pt idx="5">
                  <c:v>6.6666666666666666E-2</c:v>
                </c:pt>
                <c:pt idx="6">
                  <c:v>6.3543950568068566E-2</c:v>
                </c:pt>
                <c:pt idx="7">
                  <c:v>4.8089827918410738E-2</c:v>
                </c:pt>
                <c:pt idx="8">
                  <c:v>1.6317852634376455E-2</c:v>
                </c:pt>
                <c:pt idx="9">
                  <c:v>0.2231745398976812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vet-Ladubay</c:v>
                </c:pt>
                <c:pt idx="1">
                  <c:v>Patriarche</c:v>
                </c:pt>
                <c:pt idx="2">
                  <c:v>Bottega</c:v>
                </c:pt>
                <c:pt idx="3">
                  <c:v>Chateau Moncontour</c:v>
                </c:pt>
                <c:pt idx="4">
                  <c:v>Savian</c:v>
                </c:pt>
                <c:pt idx="5">
                  <c:v>Mure</c:v>
                </c:pt>
                <c:pt idx="6">
                  <c:v>Kriter</c:v>
                </c:pt>
                <c:pt idx="7">
                  <c:v>De Chanceny</c:v>
                </c:pt>
                <c:pt idx="8">
                  <c:v>Contarini</c:v>
                </c:pt>
                <c:pt idx="9">
                  <c:v>Others</c:v>
                </c:pt>
              </c:strCache>
            </c:strRef>
          </c:cat>
          <c:val>
            <c:numRef>
              <c:f>Sheet1!$C$2:$C$11</c:f>
              <c:numCache>
                <c:formatCode>General</c:formatCode>
                <c:ptCount val="10"/>
                <c:pt idx="0">
                  <c:v>0.10845175766641735</c:v>
                </c:pt>
                <c:pt idx="1">
                  <c:v>0.10545998504113688</c:v>
                </c:pt>
                <c:pt idx="2">
                  <c:v>0.11368735976065818</c:v>
                </c:pt>
                <c:pt idx="3">
                  <c:v>5.6095736724008971E-2</c:v>
                </c:pt>
                <c:pt idx="4">
                  <c:v>5.5347793567688854E-2</c:v>
                </c:pt>
                <c:pt idx="5">
                  <c:v>4.7868362004487658E-2</c:v>
                </c:pt>
                <c:pt idx="6">
                  <c:v>4.2632759910246815E-2</c:v>
                </c:pt>
                <c:pt idx="7">
                  <c:v>4.4128646222887057E-2</c:v>
                </c:pt>
                <c:pt idx="8">
                  <c:v>6.8810770381451003E-2</c:v>
                </c:pt>
                <c:pt idx="9">
                  <c:v>0.35751682872101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vet-Ladubay</c:v>
                </c:pt>
                <c:pt idx="1">
                  <c:v>Patriarche</c:v>
                </c:pt>
                <c:pt idx="2">
                  <c:v>Bottega</c:v>
                </c:pt>
                <c:pt idx="3">
                  <c:v>Chateau Moncontour</c:v>
                </c:pt>
                <c:pt idx="4">
                  <c:v>Savian</c:v>
                </c:pt>
                <c:pt idx="5">
                  <c:v>Mure</c:v>
                </c:pt>
                <c:pt idx="6">
                  <c:v>Kriter</c:v>
                </c:pt>
                <c:pt idx="7">
                  <c:v>De Chanceny</c:v>
                </c:pt>
                <c:pt idx="8">
                  <c:v>Contarini</c:v>
                </c:pt>
                <c:pt idx="9">
                  <c:v>Others</c:v>
                </c:pt>
              </c:strCache>
            </c:strRef>
          </c:cat>
          <c:val>
            <c:numRef>
              <c:f>Sheet1!$D$2:$D$11</c:f>
              <c:numCache>
                <c:formatCode>General</c:formatCode>
                <c:ptCount val="10"/>
                <c:pt idx="0">
                  <c:v>62.435258745304758</c:v>
                </c:pt>
                <c:pt idx="1">
                  <c:v>74.401342216844057</c:v>
                </c:pt>
                <c:pt idx="2">
                  <c:v>103.24052442124207</c:v>
                </c:pt>
                <c:pt idx="3">
                  <c:v>63.016639306841249</c:v>
                </c:pt>
                <c:pt idx="4">
                  <c:v>81.847085968489381</c:v>
                </c:pt>
                <c:pt idx="5">
                  <c:v>71.802543006731483</c:v>
                </c:pt>
                <c:pt idx="6">
                  <c:v>67.091768026884651</c:v>
                </c:pt>
                <c:pt idx="7">
                  <c:v>91.762953067238612</c:v>
                </c:pt>
                <c:pt idx="8">
                  <c:v>421.69010790359079</c:v>
                </c:pt>
                <c:pt idx="9">
                  <c:v>160.196063979756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3</c:v>
                </c:pt>
                <c:pt idx="1">
                  <c:v>0.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2782785693515561</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8</c:v>
                </c:pt>
                <c:pt idx="1">
                  <c:v>0.5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8494422049310963</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4</c:v>
                </c:pt>
                <c:pt idx="1">
                  <c:v>0.6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8035767070647355</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1</c:v>
                </c:pt>
                <c:pt idx="1">
                  <c:v>0.6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7408142999006946</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85</c:v>
                </c:pt>
                <c:pt idx="1">
                  <c:v>0.6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6673164392462634</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Patriarche</c:v>
                </c:pt>
                <c:pt idx="1">
                  <c:v>Patriarche</c:v>
                </c:pt>
              </c:strCache>
            </c:strRef>
          </c:cat>
          <c:val>
            <c:numRef>
              <c:f>Sheet1!$B$2:$B$3</c:f>
              <c:numCache>
                <c:formatCode>General</c:formatCode>
                <c:ptCount val="2"/>
                <c:pt idx="0">
                  <c:v>0.91</c:v>
                </c:pt>
                <c:pt idx="1">
                  <c:v>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Patriarche</c:v>
                </c:pt>
                <c:pt idx="1">
                  <c:v>Patriarche</c:v>
                </c:pt>
              </c:strCache>
            </c:strRef>
          </c:cat>
          <c:val>
            <c:numRef>
              <c:f>Sheet1!$C$2:$C$3</c:f>
              <c:numCache>
                <c:formatCode>General</c:formatCode>
                <c:ptCount val="2"/>
                <c:pt idx="0">
                  <c:v>0.7048814504881451</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c:f>
              <c:strCache>
                <c:ptCount val="10"/>
                <c:pt idx="0">
                  <c:v>All Others</c:v>
                </c:pt>
                <c:pt idx="1">
                  <c:v>Patriarche</c:v>
                </c:pt>
                <c:pt idx="2">
                  <c:v>All Others</c:v>
                </c:pt>
                <c:pt idx="3">
                  <c:v>All Others</c:v>
                </c:pt>
                <c:pt idx="4">
                  <c:v>All Others</c:v>
                </c:pt>
                <c:pt idx="5">
                  <c:v>All Others</c:v>
                </c:pt>
                <c:pt idx="6">
                  <c:v>Patriarche</c:v>
                </c:pt>
                <c:pt idx="7">
                  <c:v>All Others</c:v>
                </c:pt>
                <c:pt idx="8">
                  <c:v>All Others</c:v>
                </c:pt>
                <c:pt idx="9">
                  <c:v>All Others</c:v>
                </c:pt>
              </c:strCache>
            </c:strRef>
          </c:cat>
          <c:val>
            <c:numRef>
              <c:f>Sheet1!$B$2:$B$11</c:f>
              <c:numCache>
                <c:formatCode>General</c:formatCode>
                <c:ptCount val="10"/>
                <c:pt idx="0">
                  <c:v>0.91</c:v>
                </c:pt>
                <c:pt idx="1">
                  <c:v>1</c:v>
                </c:pt>
                <c:pt idx="2">
                  <c:v>0.71</c:v>
                </c:pt>
                <c:pt idx="3">
                  <c:v>0.81</c:v>
                </c:pt>
                <c:pt idx="4">
                  <c:v>0.61</c:v>
                </c:pt>
                <c:pt idx="5">
                  <c:v>0.8</c:v>
                </c:pt>
                <c:pt idx="6">
                  <c:v>0.63</c:v>
                </c:pt>
                <c:pt idx="7">
                  <c:v>0.53</c:v>
                </c:pt>
                <c:pt idx="8">
                  <c:v>0.16</c:v>
                </c:pt>
                <c:pt idx="9">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c:f>
              <c:strCache>
                <c:ptCount val="10"/>
                <c:pt idx="0">
                  <c:v>All Others</c:v>
                </c:pt>
                <c:pt idx="1">
                  <c:v>Patriarche</c:v>
                </c:pt>
                <c:pt idx="2">
                  <c:v>All Others</c:v>
                </c:pt>
                <c:pt idx="3">
                  <c:v>All Others</c:v>
                </c:pt>
                <c:pt idx="4">
                  <c:v>All Others</c:v>
                </c:pt>
                <c:pt idx="5">
                  <c:v>All Others</c:v>
                </c:pt>
                <c:pt idx="6">
                  <c:v>Patriarche</c:v>
                </c:pt>
                <c:pt idx="7">
                  <c:v>All Others</c:v>
                </c:pt>
                <c:pt idx="8">
                  <c:v>All Others</c:v>
                </c:pt>
                <c:pt idx="9">
                  <c:v>All Others</c:v>
                </c:pt>
              </c:strCache>
            </c:strRef>
          </c:cat>
          <c:val>
            <c:numRef>
              <c:f>Sheet1!$C$2:$C$11</c:f>
              <c:numCache>
                <c:formatCode>General</c:formatCode>
                <c:ptCount val="10"/>
                <c:pt idx="0">
                  <c:v>0.3892625099737832</c:v>
                </c:pt>
                <c:pt idx="1">
                  <c:v>0.58198449789125728</c:v>
                </c:pt>
                <c:pt idx="2">
                  <c:v>0.7107602872449561</c:v>
                </c:pt>
                <c:pt idx="3">
                  <c:v>0.79200387552718565</c:v>
                </c:pt>
                <c:pt idx="4">
                  <c:v>0.86834606178046281</c:v>
                </c:pt>
                <c:pt idx="5">
                  <c:v>0.93371708651544516</c:v>
                </c:pt>
                <c:pt idx="6">
                  <c:v>0.97024962954519556</c:v>
                </c:pt>
                <c:pt idx="7">
                  <c:v>0.99273338652684384</c:v>
                </c:pt>
                <c:pt idx="8">
                  <c:v>0.99811922945400677</c:v>
                </c:pt>
                <c:pt idx="9">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B$2:$B$9</c:f>
              <c:numCache>
                <c:formatCode>General</c:formatCode>
                <c:ptCount val="8"/>
                <c:pt idx="0">
                  <c:v>0.94</c:v>
                </c:pt>
                <c:pt idx="1">
                  <c:v>0.83</c:v>
                </c:pt>
                <c:pt idx="2">
                  <c:v>0.59</c:v>
                </c:pt>
                <c:pt idx="3">
                  <c:v>0.56000000000000005</c:v>
                </c:pt>
                <c:pt idx="4">
                  <c:v>0.66</c:v>
                </c:pt>
                <c:pt idx="5">
                  <c:v>0.22</c:v>
                </c:pt>
                <c:pt idx="6">
                  <c:v>0.24</c:v>
                </c:pt>
                <c:pt idx="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Contarini</c:v>
                </c:pt>
                <c:pt idx="6">
                  <c:v>Bottega</c:v>
                </c:pt>
                <c:pt idx="7">
                  <c:v>Bottega</c:v>
                </c:pt>
              </c:strCache>
            </c:strRef>
          </c:cat>
          <c:val>
            <c:numRef>
              <c:f>Sheet1!$C$2:$C$9</c:f>
              <c:numCache>
                <c:formatCode>General</c:formatCode>
                <c:ptCount val="8"/>
                <c:pt idx="0">
                  <c:v>0.41874468119269737</c:v>
                </c:pt>
                <c:pt idx="1">
                  <c:v>0.72745227123107314</c:v>
                </c:pt>
                <c:pt idx="2">
                  <c:v>0.86920149649159439</c:v>
                </c:pt>
                <c:pt idx="3">
                  <c:v>0.93321986544421087</c:v>
                </c:pt>
                <c:pt idx="4">
                  <c:v>0.97965606384174453</c:v>
                </c:pt>
                <c:pt idx="5">
                  <c:v>0.99454069590070504</c:v>
                </c:pt>
                <c:pt idx="6">
                  <c:v>0.99980731867884853</c:v>
                </c:pt>
                <c:pt idx="7">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Contarini</c:v>
                </c:pt>
                <c:pt idx="4">
                  <c:v>Bottega</c:v>
                </c:pt>
                <c:pt idx="5">
                  <c:v>Contarini</c:v>
                </c:pt>
                <c:pt idx="6">
                  <c:v>Bottega</c:v>
                </c:pt>
                <c:pt idx="7">
                  <c:v>Bottega</c:v>
                </c:pt>
              </c:strCache>
            </c:strRef>
          </c:cat>
          <c:val>
            <c:numRef>
              <c:f>Sheet1!$B$2:$B$9</c:f>
              <c:numCache>
                <c:formatCode>General</c:formatCode>
                <c:ptCount val="8"/>
                <c:pt idx="0">
                  <c:v>0.91</c:v>
                </c:pt>
                <c:pt idx="1">
                  <c:v>0.77</c:v>
                </c:pt>
                <c:pt idx="2">
                  <c:v>0.7</c:v>
                </c:pt>
                <c:pt idx="3">
                  <c:v>0.92</c:v>
                </c:pt>
                <c:pt idx="4">
                  <c:v>0.59</c:v>
                </c:pt>
                <c:pt idx="5">
                  <c:v>0.24</c:v>
                </c:pt>
                <c:pt idx="6">
                  <c:v>0.22</c:v>
                </c:pt>
                <c:pt idx="7">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Contarini</c:v>
                </c:pt>
                <c:pt idx="4">
                  <c:v>Bottega</c:v>
                </c:pt>
                <c:pt idx="5">
                  <c:v>Contarini</c:v>
                </c:pt>
                <c:pt idx="6">
                  <c:v>Bottega</c:v>
                </c:pt>
                <c:pt idx="7">
                  <c:v>Bottega</c:v>
                </c:pt>
              </c:strCache>
            </c:strRef>
          </c:cat>
          <c:val>
            <c:numRef>
              <c:f>Sheet1!$C$2:$C$9</c:f>
              <c:numCache>
                <c:formatCode>General</c:formatCode>
                <c:ptCount val="8"/>
                <c:pt idx="0">
                  <c:v>0.45420158718386117</c:v>
                </c:pt>
                <c:pt idx="1">
                  <c:v>0.76307201661351332</c:v>
                </c:pt>
                <c:pt idx="2">
                  <c:v>0.88123933842616631</c:v>
                </c:pt>
                <c:pt idx="3">
                  <c:v>0.93705035971223027</c:v>
                </c:pt>
                <c:pt idx="4">
                  <c:v>0.97443076466661727</c:v>
                </c:pt>
                <c:pt idx="5">
                  <c:v>0.9888377957427873</c:v>
                </c:pt>
                <c:pt idx="6">
                  <c:v>0.9982385225839947</c:v>
                </c:pt>
                <c:pt idx="7">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Bottega</c:v>
                </c:pt>
                <c:pt idx="1">
                  <c:v>All Others</c:v>
                </c:pt>
                <c:pt idx="2">
                  <c:v>Savian</c:v>
                </c:pt>
                <c:pt idx="3">
                  <c:v>Bottega</c:v>
                </c:pt>
                <c:pt idx="4">
                  <c:v>Contarini</c:v>
                </c:pt>
                <c:pt idx="5">
                  <c:v>Contarini</c:v>
                </c:pt>
              </c:strCache>
            </c:strRef>
          </c:cat>
          <c:val>
            <c:numRef>
              <c:f>Sheet1!$B$2:$B$7</c:f>
              <c:numCache>
                <c:formatCode>General</c:formatCode>
                <c:ptCount val="6"/>
                <c:pt idx="0">
                  <c:v>0.93</c:v>
                </c:pt>
                <c:pt idx="1">
                  <c:v>1</c:v>
                </c:pt>
                <c:pt idx="2">
                  <c:v>0.91</c:v>
                </c:pt>
                <c:pt idx="3">
                  <c:v>0.43</c:v>
                </c:pt>
                <c:pt idx="4">
                  <c:v>0.79</c:v>
                </c:pt>
                <c:pt idx="5">
                  <c:v>0.1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Bottega</c:v>
                </c:pt>
                <c:pt idx="1">
                  <c:v>All Others</c:v>
                </c:pt>
                <c:pt idx="2">
                  <c:v>Savian</c:v>
                </c:pt>
                <c:pt idx="3">
                  <c:v>Bottega</c:v>
                </c:pt>
                <c:pt idx="4">
                  <c:v>Contarini</c:v>
                </c:pt>
                <c:pt idx="5">
                  <c:v>Contarini</c:v>
                </c:pt>
              </c:strCache>
            </c:strRef>
          </c:cat>
          <c:val>
            <c:numRef>
              <c:f>Sheet1!$C$2:$C$7</c:f>
              <c:numCache>
                <c:formatCode>General</c:formatCode>
                <c:ptCount val="6"/>
                <c:pt idx="0">
                  <c:v>0.4069960050667446</c:v>
                </c:pt>
                <c:pt idx="1">
                  <c:v>0.7799538796323362</c:v>
                </c:pt>
                <c:pt idx="2">
                  <c:v>0.90847380557991486</c:v>
                </c:pt>
                <c:pt idx="3">
                  <c:v>0.95972587612458993</c:v>
                </c:pt>
                <c:pt idx="4">
                  <c:v>0.99298450745396083</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Kriter</c:v>
                </c:pt>
                <c:pt idx="5">
                  <c:v>Chateau Moncontour</c:v>
                </c:pt>
                <c:pt idx="6">
                  <c:v>Savian</c:v>
                </c:pt>
                <c:pt idx="7">
                  <c:v>De Chanceny</c:v>
                </c:pt>
                <c:pt idx="8">
                  <c:v>Contarini</c:v>
                </c:pt>
                <c:pt idx="9">
                  <c:v>Others</c:v>
                </c:pt>
              </c:strCache>
            </c:strRef>
          </c:cat>
          <c:val>
            <c:numRef>
              <c:f>Sheet1!$B$2:$B$11</c:f>
              <c:numCache>
                <c:formatCode>General</c:formatCode>
                <c:ptCount val="10"/>
                <c:pt idx="0">
                  <c:v>0.14541781292984871</c:v>
                </c:pt>
                <c:pt idx="1">
                  <c:v>0.11810092847317744</c:v>
                </c:pt>
                <c:pt idx="2">
                  <c:v>9.1611502751031637E-2</c:v>
                </c:pt>
                <c:pt idx="3">
                  <c:v>6.0404487620357633E-2</c:v>
                </c:pt>
                <c:pt idx="4">
                  <c:v>5.6310178817056397E-2</c:v>
                </c:pt>
                <c:pt idx="5">
                  <c:v>4.1974724896836312E-2</c:v>
                </c:pt>
                <c:pt idx="6">
                  <c:v>2.6650618982118294E-2</c:v>
                </c:pt>
                <c:pt idx="7">
                  <c:v>2.3168844566712518E-2</c:v>
                </c:pt>
                <c:pt idx="8">
                  <c:v>1.3658442228335626E-2</c:v>
                </c:pt>
                <c:pt idx="9">
                  <c:v>0.4227024587345254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Kriter</c:v>
                </c:pt>
                <c:pt idx="5">
                  <c:v>Chateau Moncontour</c:v>
                </c:pt>
                <c:pt idx="6">
                  <c:v>Savian</c:v>
                </c:pt>
                <c:pt idx="7">
                  <c:v>De Chanceny</c:v>
                </c:pt>
                <c:pt idx="8">
                  <c:v>Contarini</c:v>
                </c:pt>
                <c:pt idx="9">
                  <c:v>Others</c:v>
                </c:pt>
              </c:strCache>
            </c:strRef>
          </c:cat>
          <c:val>
            <c:numRef>
              <c:f>Sheet1!$C$2:$C$11</c:f>
              <c:numCache>
                <c:formatCode>General</c:formatCode>
                <c:ptCount val="10"/>
                <c:pt idx="0">
                  <c:v>8.6243386243386247E-2</c:v>
                </c:pt>
                <c:pt idx="1">
                  <c:v>8.5714285714285715E-2</c:v>
                </c:pt>
                <c:pt idx="2">
                  <c:v>4.9206349206349212E-2</c:v>
                </c:pt>
                <c:pt idx="3">
                  <c:v>8.3068783068783084E-2</c:v>
                </c:pt>
                <c:pt idx="4">
                  <c:v>5.6084656084656091E-2</c:v>
                </c:pt>
                <c:pt idx="5">
                  <c:v>3.9153439153439155E-2</c:v>
                </c:pt>
                <c:pt idx="6">
                  <c:v>3.0158730158730159E-2</c:v>
                </c:pt>
                <c:pt idx="7">
                  <c:v>3.9153439153439155E-2</c:v>
                </c:pt>
                <c:pt idx="8">
                  <c:v>4.0211640211640212E-2</c:v>
                </c:pt>
                <c:pt idx="9">
                  <c:v>0.4910052910052910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Kriter</c:v>
                </c:pt>
                <c:pt idx="5">
                  <c:v>Chateau Moncontour</c:v>
                </c:pt>
                <c:pt idx="6">
                  <c:v>Savian</c:v>
                </c:pt>
                <c:pt idx="7">
                  <c:v>De Chanceny</c:v>
                </c:pt>
                <c:pt idx="8">
                  <c:v>Contarini</c:v>
                </c:pt>
                <c:pt idx="9">
                  <c:v>Others</c:v>
                </c:pt>
              </c:strCache>
            </c:strRef>
          </c:cat>
          <c:val>
            <c:numRef>
              <c:f>Sheet1!$D$2:$D$11</c:f>
              <c:numCache>
                <c:formatCode>General</c:formatCode>
                <c:ptCount val="10"/>
                <c:pt idx="0">
                  <c:v>59.307305278336905</c:v>
                </c:pt>
                <c:pt idx="1">
                  <c:v>72.577148056674901</c:v>
                </c:pt>
                <c:pt idx="2">
                  <c:v>53.711976911976919</c:v>
                </c:pt>
                <c:pt idx="3">
                  <c:v>137.52088022146734</c:v>
                </c:pt>
                <c:pt idx="4">
                  <c:v>99.59949917201827</c:v>
                </c:pt>
                <c:pt idx="5">
                  <c:v>93.278608137799139</c:v>
                </c:pt>
                <c:pt idx="6">
                  <c:v>113.16333845366104</c:v>
                </c:pt>
                <c:pt idx="7">
                  <c:v>168.99176409380493</c:v>
                </c:pt>
                <c:pt idx="8">
                  <c:v>294.40868540789864</c:v>
                </c:pt>
                <c:pt idx="9">
                  <c:v>116.15860775337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All Others</c:v>
                </c:pt>
                <c:pt idx="1">
                  <c:v>Bottega</c:v>
                </c:pt>
                <c:pt idx="2">
                  <c:v>Savian</c:v>
                </c:pt>
                <c:pt idx="3">
                  <c:v>Vilaveroni</c:v>
                </c:pt>
                <c:pt idx="4">
                  <c:v>Bottega</c:v>
                </c:pt>
                <c:pt idx="5">
                  <c:v>Contarini</c:v>
                </c:pt>
                <c:pt idx="6">
                  <c:v>Vilaveroni</c:v>
                </c:pt>
                <c:pt idx="7">
                  <c:v>Contarini</c:v>
                </c:pt>
                <c:pt idx="8">
                  <c:v>Vilaveroni</c:v>
                </c:pt>
                <c:pt idx="9">
                  <c:v>Vilaveroni</c:v>
                </c:pt>
                <c:pt idx="10">
                  <c:v>Bottega</c:v>
                </c:pt>
              </c:strCache>
            </c:strRef>
          </c:cat>
          <c:val>
            <c:numRef>
              <c:f>Sheet1!$B$2:$B$12</c:f>
              <c:numCache>
                <c:formatCode>General</c:formatCode>
                <c:ptCount val="11"/>
                <c:pt idx="0">
                  <c:v>1</c:v>
                </c:pt>
                <c:pt idx="1">
                  <c:v>0.84</c:v>
                </c:pt>
                <c:pt idx="2">
                  <c:v>0.8</c:v>
                </c:pt>
                <c:pt idx="3">
                  <c:v>0.36</c:v>
                </c:pt>
                <c:pt idx="4">
                  <c:v>0.61</c:v>
                </c:pt>
                <c:pt idx="5">
                  <c:v>0.7</c:v>
                </c:pt>
                <c:pt idx="6">
                  <c:v>0.36</c:v>
                </c:pt>
                <c:pt idx="7">
                  <c:v>0.45</c:v>
                </c:pt>
                <c:pt idx="8">
                  <c:v>0.36</c:v>
                </c:pt>
                <c:pt idx="9">
                  <c:v>0.33</c:v>
                </c:pt>
                <c:pt idx="10">
                  <c:v>0.1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All Others</c:v>
                </c:pt>
                <c:pt idx="1">
                  <c:v>Bottega</c:v>
                </c:pt>
                <c:pt idx="2">
                  <c:v>Savian</c:v>
                </c:pt>
                <c:pt idx="3">
                  <c:v>Vilaveroni</c:v>
                </c:pt>
                <c:pt idx="4">
                  <c:v>Bottega</c:v>
                </c:pt>
                <c:pt idx="5">
                  <c:v>Contarini</c:v>
                </c:pt>
                <c:pt idx="6">
                  <c:v>Vilaveroni</c:v>
                </c:pt>
                <c:pt idx="7">
                  <c:v>Contarini</c:v>
                </c:pt>
                <c:pt idx="8">
                  <c:v>Vilaveroni</c:v>
                </c:pt>
                <c:pt idx="9">
                  <c:v>Vilaveroni</c:v>
                </c:pt>
                <c:pt idx="10">
                  <c:v>Bottega</c:v>
                </c:pt>
              </c:strCache>
            </c:strRef>
          </c:cat>
          <c:val>
            <c:numRef>
              <c:f>Sheet1!$C$2:$C$12</c:f>
              <c:numCache>
                <c:formatCode>General</c:formatCode>
                <c:ptCount val="11"/>
                <c:pt idx="0">
                  <c:v>0.41140404659717966</c:v>
                </c:pt>
                <c:pt idx="1">
                  <c:v>0.64721030042918459</c:v>
                </c:pt>
                <c:pt idx="2">
                  <c:v>0.77243408951563464</c:v>
                </c:pt>
                <c:pt idx="3">
                  <c:v>0.86207234825260581</c:v>
                </c:pt>
                <c:pt idx="4">
                  <c:v>0.91234825260576335</c:v>
                </c:pt>
                <c:pt idx="5">
                  <c:v>0.9481054567749847</c:v>
                </c:pt>
                <c:pt idx="6">
                  <c:v>0.97194359288779897</c:v>
                </c:pt>
                <c:pt idx="7">
                  <c:v>0.98393623543838138</c:v>
                </c:pt>
                <c:pt idx="8">
                  <c:v>0.99225015328019617</c:v>
                </c:pt>
                <c:pt idx="9">
                  <c:v>0.99779276517473936</c:v>
                </c:pt>
                <c:pt idx="10">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Contarini</c:v>
                </c:pt>
                <c:pt idx="4">
                  <c:v>Bottega</c:v>
                </c:pt>
                <c:pt idx="5">
                  <c:v>Contarini</c:v>
                </c:pt>
                <c:pt idx="6">
                  <c:v>Bottega</c:v>
                </c:pt>
                <c:pt idx="7">
                  <c:v>Bottega</c:v>
                </c:pt>
                <c:pt idx="8">
                  <c:v>Bottega</c:v>
                </c:pt>
              </c:strCache>
            </c:strRef>
          </c:cat>
          <c:val>
            <c:numRef>
              <c:f>Sheet1!$B$2:$B$10</c:f>
              <c:numCache>
                <c:formatCode>General</c:formatCode>
                <c:ptCount val="9"/>
                <c:pt idx="0">
                  <c:v>1</c:v>
                </c:pt>
                <c:pt idx="1">
                  <c:v>0.69</c:v>
                </c:pt>
                <c:pt idx="2">
                  <c:v>0.77</c:v>
                </c:pt>
                <c:pt idx="3">
                  <c:v>0.92</c:v>
                </c:pt>
                <c:pt idx="4">
                  <c:v>0.41</c:v>
                </c:pt>
                <c:pt idx="5">
                  <c:v>0.24</c:v>
                </c:pt>
                <c:pt idx="6">
                  <c:v>0.05</c:v>
                </c:pt>
                <c:pt idx="7">
                  <c:v>0.02</c:v>
                </c:pt>
                <c:pt idx="8">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Contarini</c:v>
                </c:pt>
                <c:pt idx="4">
                  <c:v>Bottega</c:v>
                </c:pt>
                <c:pt idx="5">
                  <c:v>Contarini</c:v>
                </c:pt>
                <c:pt idx="6">
                  <c:v>Bottega</c:v>
                </c:pt>
                <c:pt idx="7">
                  <c:v>Bottega</c:v>
                </c:pt>
                <c:pt idx="8">
                  <c:v>Bottega</c:v>
                </c:pt>
              </c:strCache>
            </c:strRef>
          </c:cat>
          <c:val>
            <c:numRef>
              <c:f>Sheet1!$C$2:$C$10</c:f>
              <c:numCache>
                <c:formatCode>General</c:formatCode>
                <c:ptCount val="9"/>
                <c:pt idx="0">
                  <c:v>0.5650144476550345</c:v>
                </c:pt>
                <c:pt idx="1">
                  <c:v>0.7258279617692821</c:v>
                </c:pt>
                <c:pt idx="2">
                  <c:v>0.88077906201378087</c:v>
                </c:pt>
                <c:pt idx="3">
                  <c:v>0.94054234274283177</c:v>
                </c:pt>
                <c:pt idx="4">
                  <c:v>0.985218937541676</c:v>
                </c:pt>
                <c:pt idx="5">
                  <c:v>0.99727717270504568</c:v>
                </c:pt>
                <c:pt idx="6">
                  <c:v>0.99894420982440557</c:v>
                </c:pt>
                <c:pt idx="7">
                  <c:v>0.99980551233607484</c:v>
                </c:pt>
                <c:pt idx="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All Others</c:v>
                </c:pt>
                <c:pt idx="1">
                  <c:v>Bottega</c:v>
                </c:pt>
                <c:pt idx="2">
                  <c:v>Savian</c:v>
                </c:pt>
                <c:pt idx="3">
                  <c:v>Bottega</c:v>
                </c:pt>
                <c:pt idx="4">
                  <c:v>Contarini</c:v>
                </c:pt>
                <c:pt idx="5">
                  <c:v>Bottega</c:v>
                </c:pt>
                <c:pt idx="6">
                  <c:v>Contarini</c:v>
                </c:pt>
                <c:pt idx="7">
                  <c:v>Bottega</c:v>
                </c:pt>
              </c:strCache>
            </c:strRef>
          </c:cat>
          <c:val>
            <c:numRef>
              <c:f>Sheet1!$B$2:$B$9</c:f>
              <c:numCache>
                <c:formatCode>General</c:formatCode>
                <c:ptCount val="8"/>
                <c:pt idx="0">
                  <c:v>0.83</c:v>
                </c:pt>
                <c:pt idx="1">
                  <c:v>0.67</c:v>
                </c:pt>
                <c:pt idx="2">
                  <c:v>0.74</c:v>
                </c:pt>
                <c:pt idx="3">
                  <c:v>0.5</c:v>
                </c:pt>
                <c:pt idx="4">
                  <c:v>0.75</c:v>
                </c:pt>
                <c:pt idx="5">
                  <c:v>0.28000000000000003</c:v>
                </c:pt>
                <c:pt idx="6">
                  <c:v>0.17</c:v>
                </c:pt>
                <c:pt idx="7">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All Others</c:v>
                </c:pt>
                <c:pt idx="1">
                  <c:v>Bottega</c:v>
                </c:pt>
                <c:pt idx="2">
                  <c:v>Savian</c:v>
                </c:pt>
                <c:pt idx="3">
                  <c:v>Bottega</c:v>
                </c:pt>
                <c:pt idx="4">
                  <c:v>Contarini</c:v>
                </c:pt>
                <c:pt idx="5">
                  <c:v>Bottega</c:v>
                </c:pt>
                <c:pt idx="6">
                  <c:v>Contarini</c:v>
                </c:pt>
                <c:pt idx="7">
                  <c:v>Bottega</c:v>
                </c:pt>
              </c:strCache>
            </c:strRef>
          </c:cat>
          <c:val>
            <c:numRef>
              <c:f>Sheet1!$C$2:$C$9</c:f>
              <c:numCache>
                <c:formatCode>General</c:formatCode>
                <c:ptCount val="8"/>
                <c:pt idx="0">
                  <c:v>0.36146211359363384</c:v>
                </c:pt>
                <c:pt idx="1">
                  <c:v>0.65331642691618197</c:v>
                </c:pt>
                <c:pt idx="2">
                  <c:v>0.87582528092344003</c:v>
                </c:pt>
                <c:pt idx="3">
                  <c:v>0.9350268899479689</c:v>
                </c:pt>
                <c:pt idx="4">
                  <c:v>0.98338507279961507</c:v>
                </c:pt>
                <c:pt idx="5">
                  <c:v>0.99051200209872747</c:v>
                </c:pt>
                <c:pt idx="6">
                  <c:v>0.99584626819990363</c:v>
                </c:pt>
                <c:pt idx="7">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6</c:v>
                </c:pt>
                <c:pt idx="1">
                  <c:v>0.83</c:v>
                </c:pt>
                <c:pt idx="2">
                  <c:v>0.56999999999999995</c:v>
                </c:pt>
                <c:pt idx="3">
                  <c:v>0.64</c:v>
                </c:pt>
                <c:pt idx="4">
                  <c:v>0.62</c:v>
                </c:pt>
                <c:pt idx="5">
                  <c:v>0.14000000000000001</c:v>
                </c:pt>
                <c:pt idx="6">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46892675721439636</c:v>
                </c:pt>
                <c:pt idx="1">
                  <c:v>0.81265986958244762</c:v>
                </c:pt>
                <c:pt idx="2">
                  <c:v>0.90200670101235714</c:v>
                </c:pt>
                <c:pt idx="3">
                  <c:v>0.95212018589905234</c:v>
                </c:pt>
                <c:pt idx="4">
                  <c:v>0.99070504737543663</c:v>
                </c:pt>
                <c:pt idx="5">
                  <c:v>0.99791043700688098</c:v>
                </c:pt>
                <c:pt idx="6">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All Others</c:v>
                </c:pt>
                <c:pt idx="1">
                  <c:v>Bottega</c:v>
                </c:pt>
                <c:pt idx="2">
                  <c:v>Savian</c:v>
                </c:pt>
                <c:pt idx="3">
                  <c:v>Bottega</c:v>
                </c:pt>
                <c:pt idx="4">
                  <c:v>Contarini</c:v>
                </c:pt>
                <c:pt idx="5">
                  <c:v>Contarini</c:v>
                </c:pt>
                <c:pt idx="6">
                  <c:v>Bottega</c:v>
                </c:pt>
                <c:pt idx="7">
                  <c:v>Contarini</c:v>
                </c:pt>
                <c:pt idx="8">
                  <c:v>Bottega</c:v>
                </c:pt>
              </c:strCache>
            </c:strRef>
          </c:cat>
          <c:val>
            <c:numRef>
              <c:f>Sheet1!$B$2:$B$10</c:f>
              <c:numCache>
                <c:formatCode>General</c:formatCode>
                <c:ptCount val="9"/>
                <c:pt idx="0">
                  <c:v>1</c:v>
                </c:pt>
                <c:pt idx="1">
                  <c:v>0.72</c:v>
                </c:pt>
                <c:pt idx="2">
                  <c:v>0.8</c:v>
                </c:pt>
                <c:pt idx="3">
                  <c:v>0.59</c:v>
                </c:pt>
                <c:pt idx="4">
                  <c:v>0.83</c:v>
                </c:pt>
                <c:pt idx="5">
                  <c:v>0.45</c:v>
                </c:pt>
                <c:pt idx="6">
                  <c:v>0.52</c:v>
                </c:pt>
                <c:pt idx="7">
                  <c:v>7.0000000000000007E-2</c:v>
                </c:pt>
                <c:pt idx="8">
                  <c:v>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All Others</c:v>
                </c:pt>
                <c:pt idx="1">
                  <c:v>Bottega</c:v>
                </c:pt>
                <c:pt idx="2">
                  <c:v>Savian</c:v>
                </c:pt>
                <c:pt idx="3">
                  <c:v>Bottega</c:v>
                </c:pt>
                <c:pt idx="4">
                  <c:v>Contarini</c:v>
                </c:pt>
                <c:pt idx="5">
                  <c:v>Contarini</c:v>
                </c:pt>
                <c:pt idx="6">
                  <c:v>Bottega</c:v>
                </c:pt>
                <c:pt idx="7">
                  <c:v>Contarini</c:v>
                </c:pt>
                <c:pt idx="8">
                  <c:v>Bottega</c:v>
                </c:pt>
              </c:strCache>
            </c:strRef>
          </c:cat>
          <c:val>
            <c:numRef>
              <c:f>Sheet1!$C$2:$C$10</c:f>
              <c:numCache>
                <c:formatCode>General</c:formatCode>
                <c:ptCount val="9"/>
                <c:pt idx="0">
                  <c:v>0.46441688631551659</c:v>
                </c:pt>
                <c:pt idx="1">
                  <c:v>0.74026703538867045</c:v>
                </c:pt>
                <c:pt idx="2">
                  <c:v>0.86708724020222094</c:v>
                </c:pt>
                <c:pt idx="3">
                  <c:v>0.92637082487145139</c:v>
                </c:pt>
                <c:pt idx="4">
                  <c:v>0.96979648273776087</c:v>
                </c:pt>
                <c:pt idx="5">
                  <c:v>0.9909259819383831</c:v>
                </c:pt>
                <c:pt idx="6">
                  <c:v>0.99796914833859052</c:v>
                </c:pt>
                <c:pt idx="7">
                  <c:v>0.99948148468219333</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B$2:$B$8</c:f>
              <c:numCache>
                <c:formatCode>General</c:formatCode>
                <c:ptCount val="7"/>
                <c:pt idx="0">
                  <c:v>0.94</c:v>
                </c:pt>
                <c:pt idx="1">
                  <c:v>0.75</c:v>
                </c:pt>
                <c:pt idx="2">
                  <c:v>0.6</c:v>
                </c:pt>
                <c:pt idx="3">
                  <c:v>0.68</c:v>
                </c:pt>
                <c:pt idx="4">
                  <c:v>0.7</c:v>
                </c:pt>
                <c:pt idx="5">
                  <c:v>0.35</c:v>
                </c:pt>
                <c:pt idx="6">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Bottega</c:v>
                </c:pt>
                <c:pt idx="2">
                  <c:v>Savian</c:v>
                </c:pt>
                <c:pt idx="3">
                  <c:v>Bottega</c:v>
                </c:pt>
                <c:pt idx="4">
                  <c:v>Contarini</c:v>
                </c:pt>
                <c:pt idx="5">
                  <c:v>Contarini</c:v>
                </c:pt>
                <c:pt idx="6">
                  <c:v>Bottega</c:v>
                </c:pt>
              </c:strCache>
            </c:strRef>
          </c:cat>
          <c:val>
            <c:numRef>
              <c:f>Sheet1!$C$2:$C$8</c:f>
              <c:numCache>
                <c:formatCode>General</c:formatCode>
                <c:ptCount val="7"/>
                <c:pt idx="0">
                  <c:v>0.49206827914832019</c:v>
                </c:pt>
                <c:pt idx="1">
                  <c:v>0.70130888473369923</c:v>
                </c:pt>
                <c:pt idx="2">
                  <c:v>0.84510525363411548</c:v>
                </c:pt>
                <c:pt idx="3">
                  <c:v>0.94034622112310762</c:v>
                </c:pt>
                <c:pt idx="4">
                  <c:v>0.98847940165269321</c:v>
                </c:pt>
                <c:pt idx="5">
                  <c:v>0.99819048193497806</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All Others</c:v>
                </c:pt>
                <c:pt idx="1">
                  <c:v>Savian</c:v>
                </c:pt>
                <c:pt idx="2">
                  <c:v>Contarini</c:v>
                </c:pt>
                <c:pt idx="3">
                  <c:v>Bottega</c:v>
                </c:pt>
                <c:pt idx="4">
                  <c:v>Bottega</c:v>
                </c:pt>
                <c:pt idx="5">
                  <c:v>Contarini</c:v>
                </c:pt>
                <c:pt idx="6">
                  <c:v>Bottega</c:v>
                </c:pt>
              </c:strCache>
            </c:strRef>
          </c:cat>
          <c:val>
            <c:numRef>
              <c:f>Sheet1!$B$2:$B$8</c:f>
              <c:numCache>
                <c:formatCode>General</c:formatCode>
                <c:ptCount val="7"/>
                <c:pt idx="0">
                  <c:v>0.96</c:v>
                </c:pt>
                <c:pt idx="1">
                  <c:v>0.95</c:v>
                </c:pt>
                <c:pt idx="2">
                  <c:v>0.77</c:v>
                </c:pt>
                <c:pt idx="3">
                  <c:v>0.45</c:v>
                </c:pt>
                <c:pt idx="4">
                  <c:v>0.43</c:v>
                </c:pt>
                <c:pt idx="5">
                  <c:v>0.19</c:v>
                </c:pt>
                <c:pt idx="6">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All Others</c:v>
                </c:pt>
                <c:pt idx="1">
                  <c:v>Savian</c:v>
                </c:pt>
                <c:pt idx="2">
                  <c:v>Contarini</c:v>
                </c:pt>
                <c:pt idx="3">
                  <c:v>Bottega</c:v>
                </c:pt>
                <c:pt idx="4">
                  <c:v>Bottega</c:v>
                </c:pt>
                <c:pt idx="5">
                  <c:v>Contarini</c:v>
                </c:pt>
                <c:pt idx="6">
                  <c:v>Bottega</c:v>
                </c:pt>
              </c:strCache>
            </c:strRef>
          </c:cat>
          <c:val>
            <c:numRef>
              <c:f>Sheet1!$C$2:$C$8</c:f>
              <c:numCache>
                <c:formatCode>General</c:formatCode>
                <c:ptCount val="7"/>
                <c:pt idx="0">
                  <c:v>0.48009179575444638</c:v>
                </c:pt>
                <c:pt idx="1">
                  <c:v>0.8499139414802066</c:v>
                </c:pt>
                <c:pt idx="2">
                  <c:v>0.92518646012621919</c:v>
                </c:pt>
                <c:pt idx="3">
                  <c:v>0.97716580608146875</c:v>
                </c:pt>
                <c:pt idx="4">
                  <c:v>0.99036144578313257</c:v>
                </c:pt>
                <c:pt idx="5">
                  <c:v>0.99862306368330467</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All Others</c:v>
                </c:pt>
                <c:pt idx="1">
                  <c:v>Bottega</c:v>
                </c:pt>
                <c:pt idx="2">
                  <c:v>Savian</c:v>
                </c:pt>
                <c:pt idx="3">
                  <c:v>Bottega</c:v>
                </c:pt>
                <c:pt idx="4">
                  <c:v>Contarini</c:v>
                </c:pt>
                <c:pt idx="5">
                  <c:v>Contarini</c:v>
                </c:pt>
              </c:strCache>
            </c:strRef>
          </c:cat>
          <c:val>
            <c:numRef>
              <c:f>Sheet1!$B$2:$B$7</c:f>
              <c:numCache>
                <c:formatCode>General</c:formatCode>
                <c:ptCount val="6"/>
                <c:pt idx="0">
                  <c:v>1</c:v>
                </c:pt>
                <c:pt idx="1">
                  <c:v>0.85</c:v>
                </c:pt>
                <c:pt idx="2">
                  <c:v>0.76</c:v>
                </c:pt>
                <c:pt idx="3">
                  <c:v>0.81</c:v>
                </c:pt>
                <c:pt idx="4">
                  <c:v>0.56999999999999995</c:v>
                </c:pt>
                <c:pt idx="5">
                  <c:v>0.3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All Others</c:v>
                </c:pt>
                <c:pt idx="1">
                  <c:v>Bottega</c:v>
                </c:pt>
                <c:pt idx="2">
                  <c:v>Savian</c:v>
                </c:pt>
                <c:pt idx="3">
                  <c:v>Bottega</c:v>
                </c:pt>
                <c:pt idx="4">
                  <c:v>Contarini</c:v>
                </c:pt>
                <c:pt idx="5">
                  <c:v>Contarini</c:v>
                </c:pt>
              </c:strCache>
            </c:strRef>
          </c:cat>
          <c:val>
            <c:numRef>
              <c:f>Sheet1!$C$2:$C$7</c:f>
              <c:numCache>
                <c:formatCode>General</c:formatCode>
                <c:ptCount val="6"/>
                <c:pt idx="0">
                  <c:v>0.44157285555731729</c:v>
                </c:pt>
                <c:pt idx="1">
                  <c:v>0.7076264468051372</c:v>
                </c:pt>
                <c:pt idx="2">
                  <c:v>0.79387981607737435</c:v>
                </c:pt>
                <c:pt idx="3">
                  <c:v>0.8788647534485492</c:v>
                </c:pt>
                <c:pt idx="4">
                  <c:v>0.95671476137624856</c:v>
                </c:pt>
                <c:pt idx="5">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5</c:f>
              <c:strCache>
                <c:ptCount val="24"/>
                <c:pt idx="0">
                  <c:v>Bouvet-Ladu</c:v>
                </c:pt>
                <c:pt idx="1">
                  <c:v>All Others</c:v>
                </c:pt>
                <c:pt idx="2">
                  <c:v>Chateau Mon</c:v>
                </c:pt>
                <c:pt idx="3">
                  <c:v>All Others</c:v>
                </c:pt>
                <c:pt idx="4">
                  <c:v>All Others</c:v>
                </c:pt>
                <c:pt idx="5">
                  <c:v>De Chanceny</c:v>
                </c:pt>
                <c:pt idx="6">
                  <c:v>All Others</c:v>
                </c:pt>
                <c:pt idx="7">
                  <c:v>All Others</c:v>
                </c:pt>
                <c:pt idx="8">
                  <c:v>All Others</c:v>
                </c:pt>
                <c:pt idx="9">
                  <c:v>All Others</c:v>
                </c:pt>
                <c:pt idx="10">
                  <c:v>All Others</c:v>
                </c:pt>
                <c:pt idx="11">
                  <c:v>Bouvet-Ladu</c:v>
                </c:pt>
                <c:pt idx="12">
                  <c:v>Bouvet-Ladu</c:v>
                </c:pt>
                <c:pt idx="13">
                  <c:v>All Others</c:v>
                </c:pt>
                <c:pt idx="14">
                  <c:v>All Others</c:v>
                </c:pt>
                <c:pt idx="15">
                  <c:v>All Others</c:v>
                </c:pt>
                <c:pt idx="16">
                  <c:v>Bouvet-Ladu</c:v>
                </c:pt>
                <c:pt idx="17">
                  <c:v>All Others</c:v>
                </c:pt>
                <c:pt idx="18">
                  <c:v>Bouvet-Ladu</c:v>
                </c:pt>
                <c:pt idx="19">
                  <c:v>All Others</c:v>
                </c:pt>
                <c:pt idx="20">
                  <c:v>Bouvet-Ladu</c:v>
                </c:pt>
                <c:pt idx="21">
                  <c:v>All Others</c:v>
                </c:pt>
                <c:pt idx="22">
                  <c:v>All Others</c:v>
                </c:pt>
                <c:pt idx="23">
                  <c:v>All Others</c:v>
                </c:pt>
              </c:strCache>
            </c:strRef>
          </c:cat>
          <c:val>
            <c:numRef>
              <c:f>Sheet1!$B$2:$B$25</c:f>
              <c:numCache>
                <c:formatCode>General</c:formatCode>
                <c:ptCount val="24"/>
                <c:pt idx="0">
                  <c:v>0.75</c:v>
                </c:pt>
                <c:pt idx="1">
                  <c:v>0.17</c:v>
                </c:pt>
                <c:pt idx="2">
                  <c:v>0.83</c:v>
                </c:pt>
                <c:pt idx="3">
                  <c:v>0.42</c:v>
                </c:pt>
                <c:pt idx="4">
                  <c:v>0.14000000000000001</c:v>
                </c:pt>
                <c:pt idx="5">
                  <c:v>0.52</c:v>
                </c:pt>
                <c:pt idx="6">
                  <c:v>0.46</c:v>
                </c:pt>
                <c:pt idx="7">
                  <c:v>7.0000000000000007E-2</c:v>
                </c:pt>
                <c:pt idx="8">
                  <c:v>0.15</c:v>
                </c:pt>
                <c:pt idx="9">
                  <c:v>0.15</c:v>
                </c:pt>
                <c:pt idx="10">
                  <c:v>0.08</c:v>
                </c:pt>
                <c:pt idx="11">
                  <c:v>0.21</c:v>
                </c:pt>
                <c:pt idx="12">
                  <c:v>0.15</c:v>
                </c:pt>
                <c:pt idx="13">
                  <c:v>0.11</c:v>
                </c:pt>
                <c:pt idx="14">
                  <c:v>7.0000000000000007E-2</c:v>
                </c:pt>
                <c:pt idx="15">
                  <c:v>0.06</c:v>
                </c:pt>
                <c:pt idx="16">
                  <c:v>0.24</c:v>
                </c:pt>
                <c:pt idx="17">
                  <c:v>0.17</c:v>
                </c:pt>
                <c:pt idx="18">
                  <c:v>0.05</c:v>
                </c:pt>
                <c:pt idx="19">
                  <c:v>0.04</c:v>
                </c:pt>
                <c:pt idx="20">
                  <c:v>0.03</c:v>
                </c:pt>
                <c:pt idx="21">
                  <c:v>0.02</c:v>
                </c:pt>
                <c:pt idx="22">
                  <c:v>0.01</c:v>
                </c:pt>
                <c:pt idx="2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5</c:f>
              <c:strCache>
                <c:ptCount val="24"/>
                <c:pt idx="0">
                  <c:v>Bouvet-Ladu</c:v>
                </c:pt>
                <c:pt idx="1">
                  <c:v>All Others</c:v>
                </c:pt>
                <c:pt idx="2">
                  <c:v>Chateau Mon</c:v>
                </c:pt>
                <c:pt idx="3">
                  <c:v>All Others</c:v>
                </c:pt>
                <c:pt idx="4">
                  <c:v>All Others</c:v>
                </c:pt>
                <c:pt idx="5">
                  <c:v>De Chanceny</c:v>
                </c:pt>
                <c:pt idx="6">
                  <c:v>All Others</c:v>
                </c:pt>
                <c:pt idx="7">
                  <c:v>All Others</c:v>
                </c:pt>
                <c:pt idx="8">
                  <c:v>All Others</c:v>
                </c:pt>
                <c:pt idx="9">
                  <c:v>All Others</c:v>
                </c:pt>
                <c:pt idx="10">
                  <c:v>All Others</c:v>
                </c:pt>
                <c:pt idx="11">
                  <c:v>Bouvet-Ladu</c:v>
                </c:pt>
                <c:pt idx="12">
                  <c:v>Bouvet-Ladu</c:v>
                </c:pt>
                <c:pt idx="13">
                  <c:v>All Others</c:v>
                </c:pt>
                <c:pt idx="14">
                  <c:v>All Others</c:v>
                </c:pt>
                <c:pt idx="15">
                  <c:v>All Others</c:v>
                </c:pt>
                <c:pt idx="16">
                  <c:v>Bouvet-Ladu</c:v>
                </c:pt>
                <c:pt idx="17">
                  <c:v>All Others</c:v>
                </c:pt>
                <c:pt idx="18">
                  <c:v>Bouvet-Ladu</c:v>
                </c:pt>
                <c:pt idx="19">
                  <c:v>All Others</c:v>
                </c:pt>
                <c:pt idx="20">
                  <c:v>Bouvet-Ladu</c:v>
                </c:pt>
                <c:pt idx="21">
                  <c:v>All Others</c:v>
                </c:pt>
                <c:pt idx="22">
                  <c:v>All Others</c:v>
                </c:pt>
                <c:pt idx="23">
                  <c:v>All Others</c:v>
                </c:pt>
              </c:strCache>
            </c:strRef>
          </c:cat>
          <c:val>
            <c:numRef>
              <c:f>Sheet1!$C$2:$C$25</c:f>
              <c:numCache>
                <c:formatCode>General</c:formatCode>
                <c:ptCount val="24"/>
                <c:pt idx="0">
                  <c:v>0.24613037280921884</c:v>
                </c:pt>
                <c:pt idx="1">
                  <c:v>0.42139286502981266</c:v>
                </c:pt>
                <c:pt idx="2">
                  <c:v>0.56156270703258315</c:v>
                </c:pt>
                <c:pt idx="3">
                  <c:v>0.66264479733392223</c:v>
                </c:pt>
                <c:pt idx="4">
                  <c:v>0.75023589167051452</c:v>
                </c:pt>
                <c:pt idx="5">
                  <c:v>0.8155025998273473</c:v>
                </c:pt>
                <c:pt idx="6">
                  <c:v>0.85968962678926331</c:v>
                </c:pt>
                <c:pt idx="7">
                  <c:v>0.90269217642689359</c:v>
                </c:pt>
                <c:pt idx="8">
                  <c:v>0.91933508662745167</c:v>
                </c:pt>
                <c:pt idx="9">
                  <c:v>0.93393025636907501</c:v>
                </c:pt>
                <c:pt idx="10">
                  <c:v>0.94758185942864015</c:v>
                </c:pt>
                <c:pt idx="11">
                  <c:v>0.95509024111140095</c:v>
                </c:pt>
                <c:pt idx="12">
                  <c:v>0.96217702917026349</c:v>
                </c:pt>
                <c:pt idx="13">
                  <c:v>0.96924374134227365</c:v>
                </c:pt>
                <c:pt idx="14">
                  <c:v>0.97540703860593025</c:v>
                </c:pt>
                <c:pt idx="15">
                  <c:v>0.98112866635883622</c:v>
                </c:pt>
                <c:pt idx="16">
                  <c:v>0.98676999056433301</c:v>
                </c:pt>
                <c:pt idx="17">
                  <c:v>0.99196964525907916</c:v>
                </c:pt>
                <c:pt idx="18">
                  <c:v>0.99566360843990265</c:v>
                </c:pt>
                <c:pt idx="19">
                  <c:v>0.99765112123828048</c:v>
                </c:pt>
                <c:pt idx="20">
                  <c:v>0.99909658509164623</c:v>
                </c:pt>
                <c:pt idx="21">
                  <c:v>0.99947802694183996</c:v>
                </c:pt>
                <c:pt idx="22">
                  <c:v>0.99981931701832905</c:v>
                </c:pt>
                <c:pt idx="23">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Bouvet-Ladu</c:v>
                </c:pt>
                <c:pt idx="1">
                  <c:v>All Others</c:v>
                </c:pt>
                <c:pt idx="2">
                  <c:v>Chateau Mon</c:v>
                </c:pt>
                <c:pt idx="3">
                  <c:v>All Others</c:v>
                </c:pt>
                <c:pt idx="4">
                  <c:v>De Chanceny</c:v>
                </c:pt>
                <c:pt idx="5">
                  <c:v>All Others</c:v>
                </c:pt>
                <c:pt idx="6">
                  <c:v>Bouvet-Ladu</c:v>
                </c:pt>
                <c:pt idx="7">
                  <c:v>All Others</c:v>
                </c:pt>
                <c:pt idx="8">
                  <c:v>All Others</c:v>
                </c:pt>
                <c:pt idx="9">
                  <c:v>Bouvet-Ladu</c:v>
                </c:pt>
                <c:pt idx="10">
                  <c:v>All Others</c:v>
                </c:pt>
                <c:pt idx="11">
                  <c:v>All Others</c:v>
                </c:pt>
                <c:pt idx="12">
                  <c:v>Bouvet-Ladu</c:v>
                </c:pt>
                <c:pt idx="13">
                  <c:v>All Others</c:v>
                </c:pt>
                <c:pt idx="14">
                  <c:v>Bouvet-Ladu</c:v>
                </c:pt>
                <c:pt idx="15">
                  <c:v>All Others</c:v>
                </c:pt>
                <c:pt idx="16">
                  <c:v>All Others</c:v>
                </c:pt>
                <c:pt idx="17">
                  <c:v>Bouvet-Ladu</c:v>
                </c:pt>
                <c:pt idx="18">
                  <c:v>All Others</c:v>
                </c:pt>
                <c:pt idx="19">
                  <c:v>All Others</c:v>
                </c:pt>
                <c:pt idx="20">
                  <c:v>All Others</c:v>
                </c:pt>
                <c:pt idx="21">
                  <c:v>All Others</c:v>
                </c:pt>
                <c:pt idx="22">
                  <c:v>All Others</c:v>
                </c:pt>
              </c:strCache>
            </c:strRef>
          </c:cat>
          <c:val>
            <c:numRef>
              <c:f>Sheet1!$B$2:$B$24</c:f>
              <c:numCache>
                <c:formatCode>General</c:formatCode>
                <c:ptCount val="23"/>
                <c:pt idx="0">
                  <c:v>0.55000000000000004</c:v>
                </c:pt>
                <c:pt idx="1">
                  <c:v>0.09</c:v>
                </c:pt>
                <c:pt idx="2">
                  <c:v>0.59</c:v>
                </c:pt>
                <c:pt idx="3">
                  <c:v>0.11</c:v>
                </c:pt>
                <c:pt idx="4">
                  <c:v>0.37</c:v>
                </c:pt>
                <c:pt idx="5">
                  <c:v>0.39</c:v>
                </c:pt>
                <c:pt idx="6">
                  <c:v>0.28000000000000003</c:v>
                </c:pt>
                <c:pt idx="7">
                  <c:v>0.06</c:v>
                </c:pt>
                <c:pt idx="8">
                  <c:v>0.28000000000000003</c:v>
                </c:pt>
                <c:pt idx="9">
                  <c:v>0.1</c:v>
                </c:pt>
                <c:pt idx="10">
                  <c:v>0.05</c:v>
                </c:pt>
                <c:pt idx="11">
                  <c:v>0.04</c:v>
                </c:pt>
                <c:pt idx="12">
                  <c:v>7.0000000000000007E-2</c:v>
                </c:pt>
                <c:pt idx="13">
                  <c:v>0.04</c:v>
                </c:pt>
                <c:pt idx="14">
                  <c:v>0.17</c:v>
                </c:pt>
                <c:pt idx="15">
                  <c:v>0.03</c:v>
                </c:pt>
                <c:pt idx="16">
                  <c:v>0.09</c:v>
                </c:pt>
                <c:pt idx="17">
                  <c:v>0.05</c:v>
                </c:pt>
                <c:pt idx="18">
                  <c:v>0.06</c:v>
                </c:pt>
                <c:pt idx="19">
                  <c:v>0.03</c:v>
                </c:pt>
                <c:pt idx="20">
                  <c:v>0.02</c:v>
                </c:pt>
                <c:pt idx="21">
                  <c:v>0.03</c:v>
                </c:pt>
                <c:pt idx="22">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Bouvet-Ladu</c:v>
                </c:pt>
                <c:pt idx="1">
                  <c:v>All Others</c:v>
                </c:pt>
                <c:pt idx="2">
                  <c:v>Chateau Mon</c:v>
                </c:pt>
                <c:pt idx="3">
                  <c:v>All Others</c:v>
                </c:pt>
                <c:pt idx="4">
                  <c:v>De Chanceny</c:v>
                </c:pt>
                <c:pt idx="5">
                  <c:v>All Others</c:v>
                </c:pt>
                <c:pt idx="6">
                  <c:v>Bouvet-Ladu</c:v>
                </c:pt>
                <c:pt idx="7">
                  <c:v>All Others</c:v>
                </c:pt>
                <c:pt idx="8">
                  <c:v>All Others</c:v>
                </c:pt>
                <c:pt idx="9">
                  <c:v>Bouvet-Ladu</c:v>
                </c:pt>
                <c:pt idx="10">
                  <c:v>All Others</c:v>
                </c:pt>
                <c:pt idx="11">
                  <c:v>All Others</c:v>
                </c:pt>
                <c:pt idx="12">
                  <c:v>Bouvet-Ladu</c:v>
                </c:pt>
                <c:pt idx="13">
                  <c:v>All Others</c:v>
                </c:pt>
                <c:pt idx="14">
                  <c:v>Bouvet-Ladu</c:v>
                </c:pt>
                <c:pt idx="15">
                  <c:v>All Others</c:v>
                </c:pt>
                <c:pt idx="16">
                  <c:v>All Others</c:v>
                </c:pt>
                <c:pt idx="17">
                  <c:v>Bouvet-Ladu</c:v>
                </c:pt>
                <c:pt idx="18">
                  <c:v>All Others</c:v>
                </c:pt>
                <c:pt idx="19">
                  <c:v>All Others</c:v>
                </c:pt>
                <c:pt idx="20">
                  <c:v>All Others</c:v>
                </c:pt>
                <c:pt idx="21">
                  <c:v>All Others</c:v>
                </c:pt>
                <c:pt idx="22">
                  <c:v>All Others</c:v>
                </c:pt>
              </c:strCache>
            </c:strRef>
          </c:cat>
          <c:val>
            <c:numRef>
              <c:f>Sheet1!$C$2:$C$24</c:f>
              <c:numCache>
                <c:formatCode>General</c:formatCode>
                <c:ptCount val="23"/>
                <c:pt idx="0">
                  <c:v>0.26529437920121363</c:v>
                </c:pt>
                <c:pt idx="1">
                  <c:v>0.51118144011717626</c:v>
                </c:pt>
                <c:pt idx="2">
                  <c:v>0.65194988622394268</c:v>
                </c:pt>
                <c:pt idx="3">
                  <c:v>0.73334553919389012</c:v>
                </c:pt>
                <c:pt idx="4">
                  <c:v>0.80161117359349254</c:v>
                </c:pt>
                <c:pt idx="5">
                  <c:v>0.84824627939214814</c:v>
                </c:pt>
                <c:pt idx="6">
                  <c:v>0.88800251091988591</c:v>
                </c:pt>
                <c:pt idx="7">
                  <c:v>0.91959825281824592</c:v>
                </c:pt>
                <c:pt idx="8">
                  <c:v>0.95027855517484883</c:v>
                </c:pt>
                <c:pt idx="9">
                  <c:v>0.95872675437449306</c:v>
                </c:pt>
                <c:pt idx="10">
                  <c:v>0.9667303115109982</c:v>
                </c:pt>
                <c:pt idx="11">
                  <c:v>0.97316454371877681</c:v>
                </c:pt>
                <c:pt idx="12">
                  <c:v>0.9785002484764469</c:v>
                </c:pt>
                <c:pt idx="13">
                  <c:v>0.9838097978186382</c:v>
                </c:pt>
                <c:pt idx="14">
                  <c:v>0.98817775220359361</c:v>
                </c:pt>
                <c:pt idx="15">
                  <c:v>0.99136871289200412</c:v>
                </c:pt>
                <c:pt idx="16">
                  <c:v>0.99369654486961512</c:v>
                </c:pt>
                <c:pt idx="17">
                  <c:v>0.99544895770669306</c:v>
                </c:pt>
                <c:pt idx="18">
                  <c:v>0.99665210681871674</c:v>
                </c:pt>
                <c:pt idx="19">
                  <c:v>0.99780294509978285</c:v>
                </c:pt>
                <c:pt idx="20">
                  <c:v>0.99879685088797632</c:v>
                </c:pt>
                <c:pt idx="21">
                  <c:v>0.99945073627494574</c:v>
                </c:pt>
                <c:pt idx="2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De Bligny</c:v>
                </c:pt>
                <c:pt idx="7">
                  <c:v>Nicolas Feuillatte</c:v>
                </c:pt>
                <c:pt idx="8">
                  <c:v>Canard Duchêne</c:v>
                </c:pt>
                <c:pt idx="9">
                  <c:v>Others</c:v>
                </c:pt>
              </c:strCache>
            </c:strRef>
          </c:cat>
          <c:val>
            <c:numRef>
              <c:f>Sheet1!$B$2:$B$11</c:f>
              <c:numCache>
                <c:formatCode>General</c:formatCode>
                <c:ptCount val="10"/>
                <c:pt idx="0">
                  <c:v>0.23620028016315714</c:v>
                </c:pt>
                <c:pt idx="1">
                  <c:v>8.9630454128195702E-2</c:v>
                </c:pt>
                <c:pt idx="2">
                  <c:v>7.6774670780217893E-2</c:v>
                </c:pt>
                <c:pt idx="3">
                  <c:v>5.3502600913477867E-2</c:v>
                </c:pt>
                <c:pt idx="4">
                  <c:v>4.6593968351107878E-2</c:v>
                </c:pt>
                <c:pt idx="5">
                  <c:v>3.8434707667431171E-2</c:v>
                </c:pt>
                <c:pt idx="6">
                  <c:v>3.4555795419135872E-2</c:v>
                </c:pt>
                <c:pt idx="7">
                  <c:v>3.2034186642561781E-2</c:v>
                </c:pt>
                <c:pt idx="8">
                  <c:v>3.1704335230095922E-2</c:v>
                </c:pt>
                <c:pt idx="9">
                  <c:v>0.3605690007046187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De Bligny</c:v>
                </c:pt>
                <c:pt idx="7">
                  <c:v>Nicolas Feuillatte</c:v>
                </c:pt>
                <c:pt idx="8">
                  <c:v>Canard Duchêne</c:v>
                </c:pt>
                <c:pt idx="9">
                  <c:v>Others</c:v>
                </c:pt>
              </c:strCache>
            </c:strRef>
          </c:cat>
          <c:val>
            <c:numRef>
              <c:f>Sheet1!$C$2:$C$11</c:f>
              <c:numCache>
                <c:formatCode>General</c:formatCode>
                <c:ptCount val="10"/>
                <c:pt idx="0">
                  <c:v>9.1849026299939712E-2</c:v>
                </c:pt>
                <c:pt idx="1">
                  <c:v>8.4119654687813683E-2</c:v>
                </c:pt>
                <c:pt idx="2">
                  <c:v>4.4870507930134494E-2</c:v>
                </c:pt>
                <c:pt idx="3">
                  <c:v>3.9650672555711683E-2</c:v>
                </c:pt>
                <c:pt idx="4">
                  <c:v>4.0353342702268598E-2</c:v>
                </c:pt>
                <c:pt idx="5">
                  <c:v>1.0038144950813085E-2</c:v>
                </c:pt>
                <c:pt idx="6">
                  <c:v>1.676370206785785E-2</c:v>
                </c:pt>
                <c:pt idx="7">
                  <c:v>3.0014053402931125E-2</c:v>
                </c:pt>
                <c:pt idx="8">
                  <c:v>3.4832362979321407E-2</c:v>
                </c:pt>
                <c:pt idx="9">
                  <c:v>0.60750853242320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Malard</c:v>
                </c:pt>
                <c:pt idx="5">
                  <c:v>Heidsieck &amp; Co Monopole</c:v>
                </c:pt>
                <c:pt idx="6">
                  <c:v>De Bligny</c:v>
                </c:pt>
                <c:pt idx="7">
                  <c:v>Nicolas Feuillatte</c:v>
                </c:pt>
                <c:pt idx="8">
                  <c:v>Canard Duchêne</c:v>
                </c:pt>
                <c:pt idx="9">
                  <c:v>Others</c:v>
                </c:pt>
              </c:strCache>
            </c:strRef>
          </c:cat>
          <c:val>
            <c:numRef>
              <c:f>Sheet1!$D$2:$D$11</c:f>
              <c:numCache>
                <c:formatCode>General</c:formatCode>
                <c:ptCount val="10"/>
                <c:pt idx="0">
                  <c:v>38.886078473951983</c:v>
                </c:pt>
                <c:pt idx="1">
                  <c:v>93.851643959652279</c:v>
                </c:pt>
                <c:pt idx="2">
                  <c:v>58.444415943618779</c:v>
                </c:pt>
                <c:pt idx="3">
                  <c:v>74.109803782872291</c:v>
                </c:pt>
                <c:pt idx="4">
                  <c:v>86.606365867330354</c:v>
                </c:pt>
                <c:pt idx="5">
                  <c:v>26.117396384724461</c:v>
                </c:pt>
                <c:pt idx="6">
                  <c:v>48.511984356102126</c:v>
                </c:pt>
                <c:pt idx="7">
                  <c:v>93.693820722931562</c:v>
                </c:pt>
                <c:pt idx="8">
                  <c:v>109.86624613486975</c:v>
                </c:pt>
                <c:pt idx="9">
                  <c:v>168.486068196662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Kriter</c:v>
                </c:pt>
                <c:pt idx="5">
                  <c:v>Chateau Moncontour</c:v>
                </c:pt>
                <c:pt idx="6">
                  <c:v>Savian</c:v>
                </c:pt>
                <c:pt idx="7">
                  <c:v>De Chanceny</c:v>
                </c:pt>
                <c:pt idx="8">
                  <c:v>Contarini</c:v>
                </c:pt>
                <c:pt idx="9">
                  <c:v>Others</c:v>
                </c:pt>
              </c:strCache>
            </c:strRef>
          </c:cat>
          <c:val>
            <c:numRef>
              <c:f>Sheet1!$B$2:$B$11</c:f>
              <c:numCache>
                <c:formatCode>General</c:formatCode>
                <c:ptCount val="10"/>
                <c:pt idx="0">
                  <c:v>0.12016825942978748</c:v>
                </c:pt>
                <c:pt idx="1">
                  <c:v>7.8869121610198989E-2</c:v>
                </c:pt>
                <c:pt idx="2">
                  <c:v>6.4310504281068825E-2</c:v>
                </c:pt>
                <c:pt idx="3">
                  <c:v>6.0491850555395341E-2</c:v>
                </c:pt>
                <c:pt idx="4">
                  <c:v>3.992680913692459E-2</c:v>
                </c:pt>
                <c:pt idx="5">
                  <c:v>3.7689316719537784E-2</c:v>
                </c:pt>
                <c:pt idx="6">
                  <c:v>2.9186845533467915E-2</c:v>
                </c:pt>
                <c:pt idx="7">
                  <c:v>1.6129834226672898E-2</c:v>
                </c:pt>
                <c:pt idx="8">
                  <c:v>1.5205004027486351E-2</c:v>
                </c:pt>
                <c:pt idx="9">
                  <c:v>0.5380224544794598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Kriter</c:v>
                </c:pt>
                <c:pt idx="5">
                  <c:v>Chateau Moncontour</c:v>
                </c:pt>
                <c:pt idx="6">
                  <c:v>Savian</c:v>
                </c:pt>
                <c:pt idx="7">
                  <c:v>De Chanceny</c:v>
                </c:pt>
                <c:pt idx="8">
                  <c:v>Contarini</c:v>
                </c:pt>
                <c:pt idx="9">
                  <c:v>Others</c:v>
                </c:pt>
              </c:strCache>
            </c:strRef>
          </c:cat>
          <c:val>
            <c:numRef>
              <c:f>Sheet1!$C$2:$C$11</c:f>
              <c:numCache>
                <c:formatCode>General</c:formatCode>
                <c:ptCount val="10"/>
                <c:pt idx="0">
                  <c:v>7.5615212527964229E-2</c:v>
                </c:pt>
                <c:pt idx="1">
                  <c:v>9.0827740492170059E-2</c:v>
                </c:pt>
                <c:pt idx="2">
                  <c:v>3.7136465324384797E-2</c:v>
                </c:pt>
                <c:pt idx="3">
                  <c:v>6.0850111856823284E-2</c:v>
                </c:pt>
                <c:pt idx="4">
                  <c:v>4.4742729306487705E-2</c:v>
                </c:pt>
                <c:pt idx="5">
                  <c:v>3.6689038031319919E-2</c:v>
                </c:pt>
                <c:pt idx="6">
                  <c:v>3.579418344519017E-2</c:v>
                </c:pt>
                <c:pt idx="7">
                  <c:v>3.3557046979865779E-2</c:v>
                </c:pt>
                <c:pt idx="8">
                  <c:v>6.0402684563758406E-2</c:v>
                </c:pt>
                <c:pt idx="9">
                  <c:v>0.524384787472035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Bottega</c:v>
                </c:pt>
                <c:pt idx="2">
                  <c:v>Mure</c:v>
                </c:pt>
                <c:pt idx="3">
                  <c:v>Bouvet-Ladubay</c:v>
                </c:pt>
                <c:pt idx="4">
                  <c:v>Kriter</c:v>
                </c:pt>
                <c:pt idx="5">
                  <c:v>Chateau Moncontour</c:v>
                </c:pt>
                <c:pt idx="6">
                  <c:v>Savian</c:v>
                </c:pt>
                <c:pt idx="7">
                  <c:v>De Chanceny</c:v>
                </c:pt>
                <c:pt idx="8">
                  <c:v>Contarini</c:v>
                </c:pt>
                <c:pt idx="9">
                  <c:v>Others</c:v>
                </c:pt>
              </c:strCache>
            </c:strRef>
          </c:cat>
          <c:val>
            <c:numRef>
              <c:f>Sheet1!$D$2:$D$11</c:f>
              <c:numCache>
                <c:formatCode>General</c:formatCode>
                <c:ptCount val="10"/>
                <c:pt idx="0">
                  <c:v>62.924446843756662</c:v>
                </c:pt>
                <c:pt idx="1">
                  <c:v>115.16261198023111</c:v>
                </c:pt>
                <c:pt idx="2">
                  <c:v>57.745566979353811</c:v>
                </c:pt>
                <c:pt idx="3">
                  <c:v>100.59224721700299</c:v>
                </c:pt>
                <c:pt idx="4">
                  <c:v>112.06187089243083</c:v>
                </c:pt>
                <c:pt idx="5">
                  <c:v>97.34598879660949</c:v>
                </c:pt>
                <c:pt idx="6">
                  <c:v>122.63806790681015</c:v>
                </c:pt>
                <c:pt idx="7">
                  <c:v>208.04334693269561</c:v>
                </c:pt>
                <c:pt idx="8">
                  <c:v>397.25530131111719</c:v>
                </c:pt>
                <c:pt idx="9">
                  <c:v>97.46522345045644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c:f>
              <c:strCache>
                <c:ptCount val="20"/>
                <c:pt idx="0">
                  <c:v>Bouvet-Ladu</c:v>
                </c:pt>
                <c:pt idx="1">
                  <c:v>Chateau Mon</c:v>
                </c:pt>
                <c:pt idx="2">
                  <c:v>All Others</c:v>
                </c:pt>
                <c:pt idx="3">
                  <c:v>De Chanceny</c:v>
                </c:pt>
                <c:pt idx="4">
                  <c:v>All Others</c:v>
                </c:pt>
                <c:pt idx="5">
                  <c:v>All Others</c:v>
                </c:pt>
                <c:pt idx="6">
                  <c:v>All Others</c:v>
                </c:pt>
                <c:pt idx="7">
                  <c:v>All Others</c:v>
                </c:pt>
                <c:pt idx="8">
                  <c:v>Bouvet-Ladu</c:v>
                </c:pt>
                <c:pt idx="9">
                  <c:v>All Others</c:v>
                </c:pt>
                <c:pt idx="10">
                  <c:v>Bouvet-Ladu</c:v>
                </c:pt>
                <c:pt idx="11">
                  <c:v>All Others</c:v>
                </c:pt>
                <c:pt idx="12">
                  <c:v>All Others</c:v>
                </c:pt>
                <c:pt idx="13">
                  <c:v>Bouvet-Ladu</c:v>
                </c:pt>
                <c:pt idx="14">
                  <c:v>All Others</c:v>
                </c:pt>
                <c:pt idx="15">
                  <c:v>All Others</c:v>
                </c:pt>
                <c:pt idx="16">
                  <c:v>All Others</c:v>
                </c:pt>
                <c:pt idx="17">
                  <c:v>All Others</c:v>
                </c:pt>
                <c:pt idx="18">
                  <c:v>All Others</c:v>
                </c:pt>
                <c:pt idx="19">
                  <c:v>All Others</c:v>
                </c:pt>
              </c:strCache>
            </c:strRef>
          </c:cat>
          <c:val>
            <c:numRef>
              <c:f>Sheet1!$B$2:$B$21</c:f>
              <c:numCache>
                <c:formatCode>General</c:formatCode>
                <c:ptCount val="20"/>
                <c:pt idx="0">
                  <c:v>0.62</c:v>
                </c:pt>
                <c:pt idx="1">
                  <c:v>0.87</c:v>
                </c:pt>
                <c:pt idx="2">
                  <c:v>0.31</c:v>
                </c:pt>
                <c:pt idx="3">
                  <c:v>0.52</c:v>
                </c:pt>
                <c:pt idx="4">
                  <c:v>0.22</c:v>
                </c:pt>
                <c:pt idx="5">
                  <c:v>0.42</c:v>
                </c:pt>
                <c:pt idx="6">
                  <c:v>0.2</c:v>
                </c:pt>
                <c:pt idx="7">
                  <c:v>0.31</c:v>
                </c:pt>
                <c:pt idx="8">
                  <c:v>0.28000000000000003</c:v>
                </c:pt>
                <c:pt idx="9">
                  <c:v>0.22</c:v>
                </c:pt>
                <c:pt idx="10">
                  <c:v>0.26</c:v>
                </c:pt>
                <c:pt idx="11">
                  <c:v>0.09</c:v>
                </c:pt>
                <c:pt idx="12">
                  <c:v>0.3</c:v>
                </c:pt>
                <c:pt idx="13">
                  <c:v>0.24</c:v>
                </c:pt>
                <c:pt idx="14">
                  <c:v>0.15</c:v>
                </c:pt>
                <c:pt idx="15">
                  <c:v>0.14000000000000001</c:v>
                </c:pt>
                <c:pt idx="16">
                  <c:v>0.09</c:v>
                </c:pt>
                <c:pt idx="17">
                  <c:v>0.09</c:v>
                </c:pt>
                <c:pt idx="18">
                  <c:v>0.09</c:v>
                </c:pt>
                <c:pt idx="19">
                  <c:v>0.1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c:f>
              <c:strCache>
                <c:ptCount val="20"/>
                <c:pt idx="0">
                  <c:v>Bouvet-Ladu</c:v>
                </c:pt>
                <c:pt idx="1">
                  <c:v>Chateau Mon</c:v>
                </c:pt>
                <c:pt idx="2">
                  <c:v>All Others</c:v>
                </c:pt>
                <c:pt idx="3">
                  <c:v>De Chanceny</c:v>
                </c:pt>
                <c:pt idx="4">
                  <c:v>All Others</c:v>
                </c:pt>
                <c:pt idx="5">
                  <c:v>All Others</c:v>
                </c:pt>
                <c:pt idx="6">
                  <c:v>All Others</c:v>
                </c:pt>
                <c:pt idx="7">
                  <c:v>All Others</c:v>
                </c:pt>
                <c:pt idx="8">
                  <c:v>Bouvet-Ladu</c:v>
                </c:pt>
                <c:pt idx="9">
                  <c:v>All Others</c:v>
                </c:pt>
                <c:pt idx="10">
                  <c:v>Bouvet-Ladu</c:v>
                </c:pt>
                <c:pt idx="11">
                  <c:v>All Others</c:v>
                </c:pt>
                <c:pt idx="12">
                  <c:v>All Others</c:v>
                </c:pt>
                <c:pt idx="13">
                  <c:v>Bouvet-Ladu</c:v>
                </c:pt>
                <c:pt idx="14">
                  <c:v>All Others</c:v>
                </c:pt>
                <c:pt idx="15">
                  <c:v>All Others</c:v>
                </c:pt>
                <c:pt idx="16">
                  <c:v>All Others</c:v>
                </c:pt>
                <c:pt idx="17">
                  <c:v>All Others</c:v>
                </c:pt>
                <c:pt idx="18">
                  <c:v>All Others</c:v>
                </c:pt>
                <c:pt idx="19">
                  <c:v>All Others</c:v>
                </c:pt>
              </c:strCache>
            </c:strRef>
          </c:cat>
          <c:val>
            <c:numRef>
              <c:f>Sheet1!$C$2:$C$21</c:f>
              <c:numCache>
                <c:formatCode>General</c:formatCode>
                <c:ptCount val="20"/>
                <c:pt idx="0">
                  <c:v>0.36058738216098624</c:v>
                </c:pt>
                <c:pt idx="1">
                  <c:v>0.49137055837563454</c:v>
                </c:pt>
                <c:pt idx="2">
                  <c:v>0.60946337926033356</c:v>
                </c:pt>
                <c:pt idx="3">
                  <c:v>0.70641769398114573</c:v>
                </c:pt>
                <c:pt idx="4">
                  <c:v>0.78538796229151553</c:v>
                </c:pt>
                <c:pt idx="5">
                  <c:v>0.84474256707759243</c:v>
                </c:pt>
                <c:pt idx="6">
                  <c:v>0.87697606961566354</c:v>
                </c:pt>
                <c:pt idx="7">
                  <c:v>0.90913705583756343</c:v>
                </c:pt>
                <c:pt idx="8">
                  <c:v>0.92777374909354604</c:v>
                </c:pt>
                <c:pt idx="9">
                  <c:v>0.94597534445250175</c:v>
                </c:pt>
                <c:pt idx="10">
                  <c:v>0.95920957215373448</c:v>
                </c:pt>
                <c:pt idx="11">
                  <c:v>0.96809282088469895</c:v>
                </c:pt>
                <c:pt idx="12">
                  <c:v>0.97675852066714997</c:v>
                </c:pt>
                <c:pt idx="13">
                  <c:v>0.98393763596809269</c:v>
                </c:pt>
                <c:pt idx="14">
                  <c:v>0.98879622915155896</c:v>
                </c:pt>
                <c:pt idx="15">
                  <c:v>0.99347353154459739</c:v>
                </c:pt>
                <c:pt idx="16">
                  <c:v>0.99738941261783887</c:v>
                </c:pt>
                <c:pt idx="17">
                  <c:v>0.99920232052211733</c:v>
                </c:pt>
                <c:pt idx="18">
                  <c:v>0.99967367657722972</c:v>
                </c:pt>
                <c:pt idx="19">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Chateau Mon</c:v>
                </c:pt>
                <c:pt idx="1">
                  <c:v>Bouvet-Ladu</c:v>
                </c:pt>
                <c:pt idx="2">
                  <c:v>De Chanceny</c:v>
                </c:pt>
                <c:pt idx="3">
                  <c:v>All Others</c:v>
                </c:pt>
                <c:pt idx="4">
                  <c:v>Bouvet-Ladu</c:v>
                </c:pt>
                <c:pt idx="5">
                  <c:v>All Others</c:v>
                </c:pt>
                <c:pt idx="6">
                  <c:v>Bouvet-Ladu</c:v>
                </c:pt>
                <c:pt idx="7">
                  <c:v>Bouvet-Ladu</c:v>
                </c:pt>
                <c:pt idx="8">
                  <c:v>All Others</c:v>
                </c:pt>
              </c:strCache>
            </c:strRef>
          </c:cat>
          <c:val>
            <c:numRef>
              <c:f>Sheet1!$B$2:$B$10</c:f>
              <c:numCache>
                <c:formatCode>General</c:formatCode>
                <c:ptCount val="9"/>
                <c:pt idx="0">
                  <c:v>0.78</c:v>
                </c:pt>
                <c:pt idx="1">
                  <c:v>0.82</c:v>
                </c:pt>
                <c:pt idx="2">
                  <c:v>0.75</c:v>
                </c:pt>
                <c:pt idx="3">
                  <c:v>0.8</c:v>
                </c:pt>
                <c:pt idx="4">
                  <c:v>0.3</c:v>
                </c:pt>
                <c:pt idx="5">
                  <c:v>0.4</c:v>
                </c:pt>
                <c:pt idx="6">
                  <c:v>0.26</c:v>
                </c:pt>
                <c:pt idx="7">
                  <c:v>0.16</c:v>
                </c:pt>
                <c:pt idx="8">
                  <c:v>0.2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Chateau Mon</c:v>
                </c:pt>
                <c:pt idx="1">
                  <c:v>Bouvet-Ladu</c:v>
                </c:pt>
                <c:pt idx="2">
                  <c:v>De Chanceny</c:v>
                </c:pt>
                <c:pt idx="3">
                  <c:v>All Others</c:v>
                </c:pt>
                <c:pt idx="4">
                  <c:v>Bouvet-Ladu</c:v>
                </c:pt>
                <c:pt idx="5">
                  <c:v>All Others</c:v>
                </c:pt>
                <c:pt idx="6">
                  <c:v>Bouvet-Ladu</c:v>
                </c:pt>
                <c:pt idx="7">
                  <c:v>Bouvet-Ladu</c:v>
                </c:pt>
                <c:pt idx="8">
                  <c:v>All Others</c:v>
                </c:pt>
              </c:strCache>
            </c:strRef>
          </c:cat>
          <c:val>
            <c:numRef>
              <c:f>Sheet1!$C$2:$C$10</c:f>
              <c:numCache>
                <c:formatCode>General</c:formatCode>
                <c:ptCount val="9"/>
                <c:pt idx="0">
                  <c:v>0.33306561721950045</c:v>
                </c:pt>
                <c:pt idx="1">
                  <c:v>0.56862902578106178</c:v>
                </c:pt>
                <c:pt idx="2">
                  <c:v>0.80154204481567748</c:v>
                </c:pt>
                <c:pt idx="3">
                  <c:v>0.9288410569432175</c:v>
                </c:pt>
                <c:pt idx="4">
                  <c:v>0.95084732150028117</c:v>
                </c:pt>
                <c:pt idx="5">
                  <c:v>0.96996225202794961</c:v>
                </c:pt>
                <c:pt idx="6">
                  <c:v>0.98176853264798014</c:v>
                </c:pt>
                <c:pt idx="7">
                  <c:v>0.99116536824351464</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c:f>
              <c:strCache>
                <c:ptCount val="15"/>
                <c:pt idx="0">
                  <c:v>Chateau Mon</c:v>
                </c:pt>
                <c:pt idx="1">
                  <c:v>Bouvet-Ladu</c:v>
                </c:pt>
                <c:pt idx="2">
                  <c:v>De Chanceny</c:v>
                </c:pt>
                <c:pt idx="3">
                  <c:v>All Others</c:v>
                </c:pt>
                <c:pt idx="4">
                  <c:v>Bouvet-Ladu</c:v>
                </c:pt>
                <c:pt idx="5">
                  <c:v>All Others</c:v>
                </c:pt>
                <c:pt idx="6">
                  <c:v>Bouvet-Ladu</c:v>
                </c:pt>
                <c:pt idx="7">
                  <c:v>All Others</c:v>
                </c:pt>
                <c:pt idx="8">
                  <c:v>Bouvet-Ladu</c:v>
                </c:pt>
                <c:pt idx="9">
                  <c:v>Bouvet-Ladu</c:v>
                </c:pt>
                <c:pt idx="10">
                  <c:v>Bouvet-Ladu</c:v>
                </c:pt>
                <c:pt idx="11">
                  <c:v>All Others</c:v>
                </c:pt>
                <c:pt idx="12">
                  <c:v>Bouvet-Ladu</c:v>
                </c:pt>
                <c:pt idx="13">
                  <c:v>All Others</c:v>
                </c:pt>
                <c:pt idx="14">
                  <c:v>All Others</c:v>
                </c:pt>
              </c:strCache>
            </c:strRef>
          </c:cat>
          <c:val>
            <c:numRef>
              <c:f>Sheet1!$B$2:$B$16</c:f>
              <c:numCache>
                <c:formatCode>General</c:formatCode>
                <c:ptCount val="15"/>
                <c:pt idx="0">
                  <c:v>0.81</c:v>
                </c:pt>
                <c:pt idx="1">
                  <c:v>0.75</c:v>
                </c:pt>
                <c:pt idx="2">
                  <c:v>0.41</c:v>
                </c:pt>
                <c:pt idx="3">
                  <c:v>0.59</c:v>
                </c:pt>
                <c:pt idx="4">
                  <c:v>0.19</c:v>
                </c:pt>
                <c:pt idx="5">
                  <c:v>0.19</c:v>
                </c:pt>
                <c:pt idx="6">
                  <c:v>0.08</c:v>
                </c:pt>
                <c:pt idx="7">
                  <c:v>0.15</c:v>
                </c:pt>
                <c:pt idx="8">
                  <c:v>0.08</c:v>
                </c:pt>
                <c:pt idx="9">
                  <c:v>0.12</c:v>
                </c:pt>
                <c:pt idx="10">
                  <c:v>7.0000000000000007E-2</c:v>
                </c:pt>
                <c:pt idx="11">
                  <c:v>0.06</c:v>
                </c:pt>
                <c:pt idx="12">
                  <c:v>0.04</c:v>
                </c:pt>
                <c:pt idx="13">
                  <c:v>7.0000000000000007E-2</c:v>
                </c:pt>
                <c:pt idx="14">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c:f>
              <c:strCache>
                <c:ptCount val="15"/>
                <c:pt idx="0">
                  <c:v>Chateau Mon</c:v>
                </c:pt>
                <c:pt idx="1">
                  <c:v>Bouvet-Ladu</c:v>
                </c:pt>
                <c:pt idx="2">
                  <c:v>De Chanceny</c:v>
                </c:pt>
                <c:pt idx="3">
                  <c:v>All Others</c:v>
                </c:pt>
                <c:pt idx="4">
                  <c:v>Bouvet-Ladu</c:v>
                </c:pt>
                <c:pt idx="5">
                  <c:v>All Others</c:v>
                </c:pt>
                <c:pt idx="6">
                  <c:v>Bouvet-Ladu</c:v>
                </c:pt>
                <c:pt idx="7">
                  <c:v>All Others</c:v>
                </c:pt>
                <c:pt idx="8">
                  <c:v>Bouvet-Ladu</c:v>
                </c:pt>
                <c:pt idx="9">
                  <c:v>Bouvet-Ladu</c:v>
                </c:pt>
                <c:pt idx="10">
                  <c:v>Bouvet-Ladu</c:v>
                </c:pt>
                <c:pt idx="11">
                  <c:v>All Others</c:v>
                </c:pt>
                <c:pt idx="12">
                  <c:v>Bouvet-Ladu</c:v>
                </c:pt>
                <c:pt idx="13">
                  <c:v>All Others</c:v>
                </c:pt>
                <c:pt idx="14">
                  <c:v>All Others</c:v>
                </c:pt>
              </c:strCache>
            </c:strRef>
          </c:cat>
          <c:val>
            <c:numRef>
              <c:f>Sheet1!$C$2:$C$16</c:f>
              <c:numCache>
                <c:formatCode>General</c:formatCode>
                <c:ptCount val="15"/>
                <c:pt idx="0">
                  <c:v>0.32026791189094855</c:v>
                </c:pt>
                <c:pt idx="1">
                  <c:v>0.62643271543795098</c:v>
                </c:pt>
                <c:pt idx="2">
                  <c:v>0.79067025140323566</c:v>
                </c:pt>
                <c:pt idx="3">
                  <c:v>0.90759869817461436</c:v>
                </c:pt>
                <c:pt idx="4">
                  <c:v>0.93089948587330784</c:v>
                </c:pt>
                <c:pt idx="5">
                  <c:v>0.9509928776944484</c:v>
                </c:pt>
                <c:pt idx="6">
                  <c:v>0.96264327154379514</c:v>
                </c:pt>
                <c:pt idx="7">
                  <c:v>0.9733503136644498</c:v>
                </c:pt>
                <c:pt idx="8">
                  <c:v>0.98349134474788924</c:v>
                </c:pt>
                <c:pt idx="9">
                  <c:v>0.99292486203480967</c:v>
                </c:pt>
                <c:pt idx="10">
                  <c:v>0.99608509032592807</c:v>
                </c:pt>
                <c:pt idx="11">
                  <c:v>0.99787745861044297</c:v>
                </c:pt>
                <c:pt idx="12">
                  <c:v>0.99877364275270042</c:v>
                </c:pt>
                <c:pt idx="13">
                  <c:v>0.9995754917220887</c:v>
                </c:pt>
                <c:pt idx="1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Bouvet-Ladu</c:v>
                </c:pt>
                <c:pt idx="1">
                  <c:v>Chateau Mon</c:v>
                </c:pt>
                <c:pt idx="2">
                  <c:v>De Chanceny</c:v>
                </c:pt>
                <c:pt idx="3">
                  <c:v>All Others</c:v>
                </c:pt>
                <c:pt idx="4">
                  <c:v>All Others</c:v>
                </c:pt>
                <c:pt idx="5">
                  <c:v>Bouvet-Ladu</c:v>
                </c:pt>
                <c:pt idx="6">
                  <c:v>Bouvet-Ladu</c:v>
                </c:pt>
                <c:pt idx="7">
                  <c:v>All Others</c:v>
                </c:pt>
                <c:pt idx="8">
                  <c:v>Bouvet-Ladu</c:v>
                </c:pt>
                <c:pt idx="9">
                  <c:v>All Others</c:v>
                </c:pt>
                <c:pt idx="10">
                  <c:v>All Others</c:v>
                </c:pt>
                <c:pt idx="11">
                  <c:v>Bouvet-Ladu</c:v>
                </c:pt>
                <c:pt idx="12">
                  <c:v>Bouvet-Ladu</c:v>
                </c:pt>
                <c:pt idx="13">
                  <c:v>All Others</c:v>
                </c:pt>
              </c:strCache>
            </c:strRef>
          </c:cat>
          <c:val>
            <c:numRef>
              <c:f>Sheet1!$B$2:$B$15</c:f>
              <c:numCache>
                <c:formatCode>General</c:formatCode>
                <c:ptCount val="14"/>
                <c:pt idx="0">
                  <c:v>0.9</c:v>
                </c:pt>
                <c:pt idx="1">
                  <c:v>0.7</c:v>
                </c:pt>
                <c:pt idx="2">
                  <c:v>0.59</c:v>
                </c:pt>
                <c:pt idx="3">
                  <c:v>0.37</c:v>
                </c:pt>
                <c:pt idx="4">
                  <c:v>0.25</c:v>
                </c:pt>
                <c:pt idx="5">
                  <c:v>0.16</c:v>
                </c:pt>
                <c:pt idx="6">
                  <c:v>0.11</c:v>
                </c:pt>
                <c:pt idx="7">
                  <c:v>0.16</c:v>
                </c:pt>
                <c:pt idx="8">
                  <c:v>7.0000000000000007E-2</c:v>
                </c:pt>
                <c:pt idx="9">
                  <c:v>0.12</c:v>
                </c:pt>
                <c:pt idx="10">
                  <c:v>0.19</c:v>
                </c:pt>
                <c:pt idx="11">
                  <c:v>0.14000000000000001</c:v>
                </c:pt>
                <c:pt idx="12">
                  <c:v>7.0000000000000007E-2</c:v>
                </c:pt>
                <c:pt idx="13">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Bouvet-Ladu</c:v>
                </c:pt>
                <c:pt idx="1">
                  <c:v>Chateau Mon</c:v>
                </c:pt>
                <c:pt idx="2">
                  <c:v>De Chanceny</c:v>
                </c:pt>
                <c:pt idx="3">
                  <c:v>All Others</c:v>
                </c:pt>
                <c:pt idx="4">
                  <c:v>All Others</c:v>
                </c:pt>
                <c:pt idx="5">
                  <c:v>Bouvet-Ladu</c:v>
                </c:pt>
                <c:pt idx="6">
                  <c:v>Bouvet-Ladu</c:v>
                </c:pt>
                <c:pt idx="7">
                  <c:v>All Others</c:v>
                </c:pt>
                <c:pt idx="8">
                  <c:v>Bouvet-Ladu</c:v>
                </c:pt>
                <c:pt idx="9">
                  <c:v>All Others</c:v>
                </c:pt>
                <c:pt idx="10">
                  <c:v>All Others</c:v>
                </c:pt>
                <c:pt idx="11">
                  <c:v>Bouvet-Ladu</c:v>
                </c:pt>
                <c:pt idx="12">
                  <c:v>Bouvet-Ladu</c:v>
                </c:pt>
                <c:pt idx="13">
                  <c:v>All Others</c:v>
                </c:pt>
              </c:strCache>
            </c:strRef>
          </c:cat>
          <c:val>
            <c:numRef>
              <c:f>Sheet1!$C$2:$C$15</c:f>
              <c:numCache>
                <c:formatCode>General</c:formatCode>
                <c:ptCount val="14"/>
                <c:pt idx="0">
                  <c:v>0.46259176143927577</c:v>
                </c:pt>
                <c:pt idx="1">
                  <c:v>0.71693735498839906</c:v>
                </c:pt>
                <c:pt idx="2">
                  <c:v>0.85458902285953364</c:v>
                </c:pt>
                <c:pt idx="3">
                  <c:v>0.91978243505382062</c:v>
                </c:pt>
                <c:pt idx="4">
                  <c:v>0.95466129093606167</c:v>
                </c:pt>
                <c:pt idx="5">
                  <c:v>0.97139705602677717</c:v>
                </c:pt>
                <c:pt idx="6">
                  <c:v>0.98010726103989954</c:v>
                </c:pt>
                <c:pt idx="7">
                  <c:v>0.98653531626792434</c:v>
                </c:pt>
                <c:pt idx="8">
                  <c:v>0.9925830131984329</c:v>
                </c:pt>
                <c:pt idx="9">
                  <c:v>0.99463694800502067</c:v>
                </c:pt>
                <c:pt idx="10">
                  <c:v>0.99638659617359548</c:v>
                </c:pt>
                <c:pt idx="11">
                  <c:v>0.998060172682667</c:v>
                </c:pt>
                <c:pt idx="12">
                  <c:v>0.99950553421322874</c:v>
                </c:pt>
                <c:pt idx="13">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All Others</c:v>
                </c:pt>
                <c:pt idx="1">
                  <c:v>All Others</c:v>
                </c:pt>
                <c:pt idx="2">
                  <c:v>Bouvet-Ladu</c:v>
                </c:pt>
                <c:pt idx="3">
                  <c:v>Chateau Mon</c:v>
                </c:pt>
                <c:pt idx="4">
                  <c:v>De Chanceny</c:v>
                </c:pt>
                <c:pt idx="5">
                  <c:v>All Others</c:v>
                </c:pt>
                <c:pt idx="6">
                  <c:v>All Others</c:v>
                </c:pt>
                <c:pt idx="7">
                  <c:v>All Others</c:v>
                </c:pt>
                <c:pt idx="8">
                  <c:v>All Others</c:v>
                </c:pt>
                <c:pt idx="9">
                  <c:v>All Others</c:v>
                </c:pt>
                <c:pt idx="10">
                  <c:v>All Others</c:v>
                </c:pt>
                <c:pt idx="11">
                  <c:v>All Others</c:v>
                </c:pt>
                <c:pt idx="12">
                  <c:v>All Others</c:v>
                </c:pt>
                <c:pt idx="13">
                  <c:v>All Others</c:v>
                </c:pt>
                <c:pt idx="14">
                  <c:v>Bouvet-Ladu</c:v>
                </c:pt>
                <c:pt idx="15">
                  <c:v>Bouvet-Ladu</c:v>
                </c:pt>
                <c:pt idx="16">
                  <c:v>All Others</c:v>
                </c:pt>
                <c:pt idx="17">
                  <c:v>Bouvet-Ladu</c:v>
                </c:pt>
                <c:pt idx="18">
                  <c:v>All Others</c:v>
                </c:pt>
                <c:pt idx="19">
                  <c:v>Bouvet-Ladu</c:v>
                </c:pt>
                <c:pt idx="20">
                  <c:v>Bouvet-Ladu</c:v>
                </c:pt>
                <c:pt idx="21">
                  <c:v>All Others</c:v>
                </c:pt>
                <c:pt idx="22">
                  <c:v>All Others</c:v>
                </c:pt>
                <c:pt idx="23">
                  <c:v>All Others</c:v>
                </c:pt>
                <c:pt idx="24">
                  <c:v>All Others</c:v>
                </c:pt>
              </c:strCache>
            </c:strRef>
          </c:cat>
          <c:val>
            <c:numRef>
              <c:f>Sheet1!$B$2:$B$26</c:f>
              <c:numCache>
                <c:formatCode>General</c:formatCode>
                <c:ptCount val="25"/>
                <c:pt idx="0">
                  <c:v>0.73</c:v>
                </c:pt>
                <c:pt idx="1">
                  <c:v>0.47</c:v>
                </c:pt>
                <c:pt idx="2">
                  <c:v>0.8</c:v>
                </c:pt>
                <c:pt idx="3">
                  <c:v>0.74</c:v>
                </c:pt>
                <c:pt idx="4">
                  <c:v>0.74</c:v>
                </c:pt>
                <c:pt idx="5">
                  <c:v>0.42</c:v>
                </c:pt>
                <c:pt idx="6">
                  <c:v>0.28000000000000003</c:v>
                </c:pt>
                <c:pt idx="7">
                  <c:v>0.49</c:v>
                </c:pt>
                <c:pt idx="8">
                  <c:v>0.28000000000000003</c:v>
                </c:pt>
                <c:pt idx="9">
                  <c:v>0.23</c:v>
                </c:pt>
                <c:pt idx="10">
                  <c:v>0.15</c:v>
                </c:pt>
                <c:pt idx="11">
                  <c:v>0.22</c:v>
                </c:pt>
                <c:pt idx="12">
                  <c:v>0.15</c:v>
                </c:pt>
                <c:pt idx="13">
                  <c:v>0.25</c:v>
                </c:pt>
                <c:pt idx="14">
                  <c:v>0.2</c:v>
                </c:pt>
                <c:pt idx="15">
                  <c:v>0.13</c:v>
                </c:pt>
                <c:pt idx="16">
                  <c:v>0.14000000000000001</c:v>
                </c:pt>
                <c:pt idx="17">
                  <c:v>0.2</c:v>
                </c:pt>
                <c:pt idx="18">
                  <c:v>0.15</c:v>
                </c:pt>
                <c:pt idx="19">
                  <c:v>0.16</c:v>
                </c:pt>
                <c:pt idx="20">
                  <c:v>0.08</c:v>
                </c:pt>
                <c:pt idx="21">
                  <c:v>0.13</c:v>
                </c:pt>
                <c:pt idx="22">
                  <c:v>0.13</c:v>
                </c:pt>
                <c:pt idx="23">
                  <c:v>0.09</c:v>
                </c:pt>
                <c:pt idx="24">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All Others</c:v>
                </c:pt>
                <c:pt idx="1">
                  <c:v>All Others</c:v>
                </c:pt>
                <c:pt idx="2">
                  <c:v>Bouvet-Ladu</c:v>
                </c:pt>
                <c:pt idx="3">
                  <c:v>Chateau Mon</c:v>
                </c:pt>
                <c:pt idx="4">
                  <c:v>De Chanceny</c:v>
                </c:pt>
                <c:pt idx="5">
                  <c:v>All Others</c:v>
                </c:pt>
                <c:pt idx="6">
                  <c:v>All Others</c:v>
                </c:pt>
                <c:pt idx="7">
                  <c:v>All Others</c:v>
                </c:pt>
                <c:pt idx="8">
                  <c:v>All Others</c:v>
                </c:pt>
                <c:pt idx="9">
                  <c:v>All Others</c:v>
                </c:pt>
                <c:pt idx="10">
                  <c:v>All Others</c:v>
                </c:pt>
                <c:pt idx="11">
                  <c:v>All Others</c:v>
                </c:pt>
                <c:pt idx="12">
                  <c:v>All Others</c:v>
                </c:pt>
                <c:pt idx="13">
                  <c:v>All Others</c:v>
                </c:pt>
                <c:pt idx="14">
                  <c:v>Bouvet-Ladu</c:v>
                </c:pt>
                <c:pt idx="15">
                  <c:v>Bouvet-Ladu</c:v>
                </c:pt>
                <c:pt idx="16">
                  <c:v>All Others</c:v>
                </c:pt>
                <c:pt idx="17">
                  <c:v>Bouvet-Ladu</c:v>
                </c:pt>
                <c:pt idx="18">
                  <c:v>All Others</c:v>
                </c:pt>
                <c:pt idx="19">
                  <c:v>Bouvet-Ladu</c:v>
                </c:pt>
                <c:pt idx="20">
                  <c:v>Bouvet-Ladu</c:v>
                </c:pt>
                <c:pt idx="21">
                  <c:v>All Others</c:v>
                </c:pt>
                <c:pt idx="22">
                  <c:v>All Others</c:v>
                </c:pt>
                <c:pt idx="23">
                  <c:v>All Others</c:v>
                </c:pt>
                <c:pt idx="24">
                  <c:v>All Others</c:v>
                </c:pt>
              </c:strCache>
            </c:strRef>
          </c:cat>
          <c:val>
            <c:numRef>
              <c:f>Sheet1!$C$2:$C$26</c:f>
              <c:numCache>
                <c:formatCode>General</c:formatCode>
                <c:ptCount val="25"/>
                <c:pt idx="0">
                  <c:v>0.26677147165452852</c:v>
                </c:pt>
                <c:pt idx="1">
                  <c:v>0.43661971830985913</c:v>
                </c:pt>
                <c:pt idx="2">
                  <c:v>0.59674676762167533</c:v>
                </c:pt>
                <c:pt idx="3">
                  <c:v>0.7220635888222271</c:v>
                </c:pt>
                <c:pt idx="4">
                  <c:v>0.79123488081106219</c:v>
                </c:pt>
                <c:pt idx="5">
                  <c:v>0.84240752029259836</c:v>
                </c:pt>
                <c:pt idx="6">
                  <c:v>0.87105778177034865</c:v>
                </c:pt>
                <c:pt idx="7">
                  <c:v>0.89794346947287362</c:v>
                </c:pt>
                <c:pt idx="8">
                  <c:v>0.9118996438769289</c:v>
                </c:pt>
                <c:pt idx="9">
                  <c:v>0.92566331932368695</c:v>
                </c:pt>
                <c:pt idx="10">
                  <c:v>0.93868908210080526</c:v>
                </c:pt>
                <c:pt idx="11">
                  <c:v>0.9513298469633289</c:v>
                </c:pt>
                <c:pt idx="12">
                  <c:v>0.96085854534954596</c:v>
                </c:pt>
                <c:pt idx="13">
                  <c:v>0.96980974686387111</c:v>
                </c:pt>
                <c:pt idx="14">
                  <c:v>0.97709262408161957</c:v>
                </c:pt>
                <c:pt idx="15">
                  <c:v>0.98168051589720562</c:v>
                </c:pt>
                <c:pt idx="16">
                  <c:v>0.98581924347909788</c:v>
                </c:pt>
                <c:pt idx="17">
                  <c:v>0.98979755526324242</c:v>
                </c:pt>
                <c:pt idx="18">
                  <c:v>0.99249254066540482</c:v>
                </c:pt>
                <c:pt idx="19">
                  <c:v>0.99473836183387354</c:v>
                </c:pt>
                <c:pt idx="20">
                  <c:v>0.99685585036414404</c:v>
                </c:pt>
                <c:pt idx="21">
                  <c:v>0.99842792518207213</c:v>
                </c:pt>
                <c:pt idx="22">
                  <c:v>0.99913375469216226</c:v>
                </c:pt>
                <c:pt idx="23">
                  <c:v>0.99971125156405416</c:v>
                </c:pt>
                <c:pt idx="2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c:f>
              <c:strCache>
                <c:ptCount val="19"/>
                <c:pt idx="0">
                  <c:v>All Others</c:v>
                </c:pt>
                <c:pt idx="1">
                  <c:v>All Others</c:v>
                </c:pt>
                <c:pt idx="2">
                  <c:v>Bouvet-Ladu</c:v>
                </c:pt>
                <c:pt idx="3">
                  <c:v>All Others</c:v>
                </c:pt>
                <c:pt idx="4">
                  <c:v>Chateau Mon</c:v>
                </c:pt>
                <c:pt idx="5">
                  <c:v>All Others</c:v>
                </c:pt>
                <c:pt idx="6">
                  <c:v>All Others</c:v>
                </c:pt>
                <c:pt idx="7">
                  <c:v>De Chanceny</c:v>
                </c:pt>
                <c:pt idx="8">
                  <c:v>All Others</c:v>
                </c:pt>
                <c:pt idx="9">
                  <c:v>All Others</c:v>
                </c:pt>
                <c:pt idx="10">
                  <c:v>All Others</c:v>
                </c:pt>
                <c:pt idx="11">
                  <c:v>All Others</c:v>
                </c:pt>
                <c:pt idx="12">
                  <c:v>All Others</c:v>
                </c:pt>
                <c:pt idx="13">
                  <c:v>All Others</c:v>
                </c:pt>
                <c:pt idx="14">
                  <c:v>Bouvet-Ladu</c:v>
                </c:pt>
                <c:pt idx="15">
                  <c:v>All Others</c:v>
                </c:pt>
                <c:pt idx="16">
                  <c:v>Bouvet-Ladu</c:v>
                </c:pt>
                <c:pt idx="17">
                  <c:v>All Others</c:v>
                </c:pt>
                <c:pt idx="18">
                  <c:v>All Others</c:v>
                </c:pt>
              </c:strCache>
            </c:strRef>
          </c:cat>
          <c:val>
            <c:numRef>
              <c:f>Sheet1!$B$2:$B$20</c:f>
              <c:numCache>
                <c:formatCode>General</c:formatCode>
                <c:ptCount val="19"/>
                <c:pt idx="0">
                  <c:v>0.28000000000000003</c:v>
                </c:pt>
                <c:pt idx="1">
                  <c:v>0.9</c:v>
                </c:pt>
                <c:pt idx="2">
                  <c:v>0.98</c:v>
                </c:pt>
                <c:pt idx="3">
                  <c:v>0.56999999999999995</c:v>
                </c:pt>
                <c:pt idx="4">
                  <c:v>0.82</c:v>
                </c:pt>
                <c:pt idx="5">
                  <c:v>0.66</c:v>
                </c:pt>
                <c:pt idx="6">
                  <c:v>0.68</c:v>
                </c:pt>
                <c:pt idx="7">
                  <c:v>0.75</c:v>
                </c:pt>
                <c:pt idx="8">
                  <c:v>0.23</c:v>
                </c:pt>
                <c:pt idx="9">
                  <c:v>0.33</c:v>
                </c:pt>
                <c:pt idx="10">
                  <c:v>0.56000000000000005</c:v>
                </c:pt>
                <c:pt idx="11">
                  <c:v>0.59</c:v>
                </c:pt>
                <c:pt idx="12">
                  <c:v>0.28000000000000003</c:v>
                </c:pt>
                <c:pt idx="13">
                  <c:v>0.21</c:v>
                </c:pt>
                <c:pt idx="14">
                  <c:v>0.33</c:v>
                </c:pt>
                <c:pt idx="15">
                  <c:v>0.56000000000000005</c:v>
                </c:pt>
                <c:pt idx="16">
                  <c:v>0.05</c:v>
                </c:pt>
                <c:pt idx="17">
                  <c:v>0.34</c:v>
                </c:pt>
                <c:pt idx="18">
                  <c:v>0.3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c:f>
              <c:strCache>
                <c:ptCount val="19"/>
                <c:pt idx="0">
                  <c:v>All Others</c:v>
                </c:pt>
                <c:pt idx="1">
                  <c:v>All Others</c:v>
                </c:pt>
                <c:pt idx="2">
                  <c:v>Bouvet-Ladu</c:v>
                </c:pt>
                <c:pt idx="3">
                  <c:v>All Others</c:v>
                </c:pt>
                <c:pt idx="4">
                  <c:v>Chateau Mon</c:v>
                </c:pt>
                <c:pt idx="5">
                  <c:v>All Others</c:v>
                </c:pt>
                <c:pt idx="6">
                  <c:v>All Others</c:v>
                </c:pt>
                <c:pt idx="7">
                  <c:v>De Chanceny</c:v>
                </c:pt>
                <c:pt idx="8">
                  <c:v>All Others</c:v>
                </c:pt>
                <c:pt idx="9">
                  <c:v>All Others</c:v>
                </c:pt>
                <c:pt idx="10">
                  <c:v>All Others</c:v>
                </c:pt>
                <c:pt idx="11">
                  <c:v>All Others</c:v>
                </c:pt>
                <c:pt idx="12">
                  <c:v>All Others</c:v>
                </c:pt>
                <c:pt idx="13">
                  <c:v>All Others</c:v>
                </c:pt>
                <c:pt idx="14">
                  <c:v>Bouvet-Ladu</c:v>
                </c:pt>
                <c:pt idx="15">
                  <c:v>All Others</c:v>
                </c:pt>
                <c:pt idx="16">
                  <c:v>Bouvet-Ladu</c:v>
                </c:pt>
                <c:pt idx="17">
                  <c:v>All Others</c:v>
                </c:pt>
                <c:pt idx="18">
                  <c:v>All Others</c:v>
                </c:pt>
              </c:strCache>
            </c:strRef>
          </c:cat>
          <c:val>
            <c:numRef>
              <c:f>Sheet1!$C$2:$C$20</c:f>
              <c:numCache>
                <c:formatCode>General</c:formatCode>
                <c:ptCount val="19"/>
                <c:pt idx="0">
                  <c:v>0.21758990117099908</c:v>
                </c:pt>
                <c:pt idx="1">
                  <c:v>0.42527613985549373</c:v>
                </c:pt>
                <c:pt idx="2">
                  <c:v>0.5453658334025413</c:v>
                </c:pt>
                <c:pt idx="3">
                  <c:v>0.64616726185532758</c:v>
                </c:pt>
                <c:pt idx="4">
                  <c:v>0.72485673947346563</c:v>
                </c:pt>
                <c:pt idx="5">
                  <c:v>0.77092849431110366</c:v>
                </c:pt>
                <c:pt idx="6">
                  <c:v>0.81118677850676846</c:v>
                </c:pt>
                <c:pt idx="7">
                  <c:v>0.84486338343991352</c:v>
                </c:pt>
                <c:pt idx="8">
                  <c:v>0.87746034382526361</c:v>
                </c:pt>
                <c:pt idx="9">
                  <c:v>0.90669379619632917</c:v>
                </c:pt>
                <c:pt idx="10">
                  <c:v>0.93187858151316327</c:v>
                </c:pt>
                <c:pt idx="11">
                  <c:v>0.95668964371729914</c:v>
                </c:pt>
                <c:pt idx="12">
                  <c:v>0.9807117349057386</c:v>
                </c:pt>
                <c:pt idx="13">
                  <c:v>0.98993023835229621</c:v>
                </c:pt>
                <c:pt idx="14">
                  <c:v>0.99505854995432264</c:v>
                </c:pt>
                <c:pt idx="15">
                  <c:v>0.99817290922680835</c:v>
                </c:pt>
                <c:pt idx="16">
                  <c:v>0.99925255377460342</c:v>
                </c:pt>
                <c:pt idx="17">
                  <c:v>0.99981313844365083</c:v>
                </c:pt>
                <c:pt idx="1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Bouvet-Ladu</c:v>
                </c:pt>
                <c:pt idx="1">
                  <c:v>All Others</c:v>
                </c:pt>
                <c:pt idx="2">
                  <c:v>All Others</c:v>
                </c:pt>
                <c:pt idx="3">
                  <c:v>All Others</c:v>
                </c:pt>
                <c:pt idx="4">
                  <c:v>De Chanceny</c:v>
                </c:pt>
                <c:pt idx="5">
                  <c:v>Chateau Mon</c:v>
                </c:pt>
                <c:pt idx="6">
                  <c:v>Bouvet-Ladu</c:v>
                </c:pt>
                <c:pt idx="7">
                  <c:v>All Others</c:v>
                </c:pt>
                <c:pt idx="8">
                  <c:v>All Others</c:v>
                </c:pt>
                <c:pt idx="9">
                  <c:v>All Others</c:v>
                </c:pt>
                <c:pt idx="10">
                  <c:v>All Others</c:v>
                </c:pt>
                <c:pt idx="11">
                  <c:v>All Others</c:v>
                </c:pt>
                <c:pt idx="12">
                  <c:v>All Others</c:v>
                </c:pt>
                <c:pt idx="13">
                  <c:v>All Others</c:v>
                </c:pt>
                <c:pt idx="14">
                  <c:v>Bouvet-Ladu</c:v>
                </c:pt>
                <c:pt idx="15">
                  <c:v>All Others</c:v>
                </c:pt>
                <c:pt idx="16">
                  <c:v>All Others</c:v>
                </c:pt>
                <c:pt idx="17">
                  <c:v>Bouvet-Ladu</c:v>
                </c:pt>
                <c:pt idx="18">
                  <c:v>All Others</c:v>
                </c:pt>
                <c:pt idx="19">
                  <c:v>All Others</c:v>
                </c:pt>
                <c:pt idx="20">
                  <c:v>All Others</c:v>
                </c:pt>
                <c:pt idx="21">
                  <c:v>Bouvet-Ladu</c:v>
                </c:pt>
              </c:strCache>
            </c:strRef>
          </c:cat>
          <c:val>
            <c:numRef>
              <c:f>Sheet1!$B$2:$B$23</c:f>
              <c:numCache>
                <c:formatCode>General</c:formatCode>
                <c:ptCount val="22"/>
                <c:pt idx="0">
                  <c:v>1</c:v>
                </c:pt>
                <c:pt idx="1">
                  <c:v>0.97</c:v>
                </c:pt>
                <c:pt idx="2">
                  <c:v>0.83</c:v>
                </c:pt>
                <c:pt idx="3">
                  <c:v>0.7</c:v>
                </c:pt>
                <c:pt idx="4">
                  <c:v>0.76</c:v>
                </c:pt>
                <c:pt idx="5">
                  <c:v>0.63</c:v>
                </c:pt>
                <c:pt idx="6">
                  <c:v>0.35</c:v>
                </c:pt>
                <c:pt idx="7">
                  <c:v>0.3</c:v>
                </c:pt>
                <c:pt idx="8">
                  <c:v>0.18</c:v>
                </c:pt>
                <c:pt idx="9">
                  <c:v>0.43</c:v>
                </c:pt>
                <c:pt idx="10">
                  <c:v>0.44</c:v>
                </c:pt>
                <c:pt idx="11">
                  <c:v>0.49</c:v>
                </c:pt>
                <c:pt idx="12">
                  <c:v>0.26</c:v>
                </c:pt>
                <c:pt idx="13">
                  <c:v>0.47</c:v>
                </c:pt>
                <c:pt idx="14">
                  <c:v>0.2</c:v>
                </c:pt>
                <c:pt idx="15">
                  <c:v>0.59</c:v>
                </c:pt>
                <c:pt idx="16">
                  <c:v>0.49</c:v>
                </c:pt>
                <c:pt idx="17">
                  <c:v>0.13</c:v>
                </c:pt>
                <c:pt idx="18">
                  <c:v>0.25</c:v>
                </c:pt>
                <c:pt idx="19">
                  <c:v>0.41</c:v>
                </c:pt>
                <c:pt idx="20">
                  <c:v>0.17</c:v>
                </c:pt>
                <c:pt idx="21">
                  <c:v>0.4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Bouvet-Ladu</c:v>
                </c:pt>
                <c:pt idx="1">
                  <c:v>All Others</c:v>
                </c:pt>
                <c:pt idx="2">
                  <c:v>All Others</c:v>
                </c:pt>
                <c:pt idx="3">
                  <c:v>All Others</c:v>
                </c:pt>
                <c:pt idx="4">
                  <c:v>De Chanceny</c:v>
                </c:pt>
                <c:pt idx="5">
                  <c:v>Chateau Mon</c:v>
                </c:pt>
                <c:pt idx="6">
                  <c:v>Bouvet-Ladu</c:v>
                </c:pt>
                <c:pt idx="7">
                  <c:v>All Others</c:v>
                </c:pt>
                <c:pt idx="8">
                  <c:v>All Others</c:v>
                </c:pt>
                <c:pt idx="9">
                  <c:v>All Others</c:v>
                </c:pt>
                <c:pt idx="10">
                  <c:v>All Others</c:v>
                </c:pt>
                <c:pt idx="11">
                  <c:v>All Others</c:v>
                </c:pt>
                <c:pt idx="12">
                  <c:v>All Others</c:v>
                </c:pt>
                <c:pt idx="13">
                  <c:v>All Others</c:v>
                </c:pt>
                <c:pt idx="14">
                  <c:v>Bouvet-Ladu</c:v>
                </c:pt>
                <c:pt idx="15">
                  <c:v>All Others</c:v>
                </c:pt>
                <c:pt idx="16">
                  <c:v>All Others</c:v>
                </c:pt>
                <c:pt idx="17">
                  <c:v>Bouvet-Ladu</c:v>
                </c:pt>
                <c:pt idx="18">
                  <c:v>All Others</c:v>
                </c:pt>
                <c:pt idx="19">
                  <c:v>All Others</c:v>
                </c:pt>
                <c:pt idx="20">
                  <c:v>All Others</c:v>
                </c:pt>
                <c:pt idx="21">
                  <c:v>Bouvet-Ladu</c:v>
                </c:pt>
              </c:strCache>
            </c:strRef>
          </c:cat>
          <c:val>
            <c:numRef>
              <c:f>Sheet1!$C$2:$C$23</c:f>
              <c:numCache>
                <c:formatCode>General</c:formatCode>
                <c:ptCount val="22"/>
                <c:pt idx="0">
                  <c:v>0.28086186172817523</c:v>
                </c:pt>
                <c:pt idx="1">
                  <c:v>0.50190683939515357</c:v>
                </c:pt>
                <c:pt idx="2">
                  <c:v>0.66822478446037192</c:v>
                </c:pt>
                <c:pt idx="3">
                  <c:v>0.72900621763195783</c:v>
                </c:pt>
                <c:pt idx="4">
                  <c:v>0.78391132083871262</c:v>
                </c:pt>
                <c:pt idx="5">
                  <c:v>0.82317588924008378</c:v>
                </c:pt>
                <c:pt idx="6">
                  <c:v>0.84822448767603031</c:v>
                </c:pt>
                <c:pt idx="7">
                  <c:v>0.87146270162786221</c:v>
                </c:pt>
                <c:pt idx="8">
                  <c:v>0.89220792710976582</c:v>
                </c:pt>
                <c:pt idx="9">
                  <c:v>0.91240410155960183</c:v>
                </c:pt>
                <c:pt idx="10">
                  <c:v>0.92926145216578382</c:v>
                </c:pt>
                <c:pt idx="11">
                  <c:v>0.93935211978216038</c:v>
                </c:pt>
                <c:pt idx="12">
                  <c:v>0.94936859131312246</c:v>
                </c:pt>
                <c:pt idx="13">
                  <c:v>0.95922183145617246</c:v>
                </c:pt>
                <c:pt idx="14">
                  <c:v>0.96906023238213956</c:v>
                </c:pt>
                <c:pt idx="15">
                  <c:v>0.97851281366395115</c:v>
                </c:pt>
                <c:pt idx="16">
                  <c:v>0.98474528483877199</c:v>
                </c:pt>
                <c:pt idx="17">
                  <c:v>0.98870735579990809</c:v>
                </c:pt>
                <c:pt idx="18">
                  <c:v>0.99223908946563988</c:v>
                </c:pt>
                <c:pt idx="19">
                  <c:v>0.99562243096054259</c:v>
                </c:pt>
                <c:pt idx="20">
                  <c:v>0.99879802341628465</c:v>
                </c:pt>
                <c:pt idx="2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6</c:f>
              <c:strCache>
                <c:ptCount val="25"/>
                <c:pt idx="0">
                  <c:v>All Others</c:v>
                </c:pt>
                <c:pt idx="1">
                  <c:v>All Others</c:v>
                </c:pt>
                <c:pt idx="2">
                  <c:v>All Others</c:v>
                </c:pt>
                <c:pt idx="3">
                  <c:v>All Others</c:v>
                </c:pt>
                <c:pt idx="4">
                  <c:v>All Others</c:v>
                </c:pt>
                <c:pt idx="5">
                  <c:v>Bouvet-Ladu</c:v>
                </c:pt>
                <c:pt idx="6">
                  <c:v>All Others</c:v>
                </c:pt>
                <c:pt idx="7">
                  <c:v>All Others</c:v>
                </c:pt>
                <c:pt idx="8">
                  <c:v>Chateau Mon</c:v>
                </c:pt>
                <c:pt idx="9">
                  <c:v>All Others</c:v>
                </c:pt>
                <c:pt idx="10">
                  <c:v>De Chanceny</c:v>
                </c:pt>
                <c:pt idx="11">
                  <c:v>All Others</c:v>
                </c:pt>
                <c:pt idx="12">
                  <c:v>All Others</c:v>
                </c:pt>
                <c:pt idx="13">
                  <c:v>All Others</c:v>
                </c:pt>
                <c:pt idx="14">
                  <c:v>Bouvet-Ladu</c:v>
                </c:pt>
                <c:pt idx="15">
                  <c:v>All Others</c:v>
                </c:pt>
                <c:pt idx="16">
                  <c:v>Bouvet-Ladu</c:v>
                </c:pt>
                <c:pt idx="17">
                  <c:v>Bouvet-Ladu</c:v>
                </c:pt>
                <c:pt idx="18">
                  <c:v>All Others</c:v>
                </c:pt>
                <c:pt idx="19">
                  <c:v>All Others</c:v>
                </c:pt>
                <c:pt idx="20">
                  <c:v>Bouvet-Ladu</c:v>
                </c:pt>
                <c:pt idx="21">
                  <c:v>All Others</c:v>
                </c:pt>
                <c:pt idx="22">
                  <c:v>All Others</c:v>
                </c:pt>
                <c:pt idx="23">
                  <c:v>All Others</c:v>
                </c:pt>
                <c:pt idx="24">
                  <c:v>All Others</c:v>
                </c:pt>
              </c:strCache>
            </c:strRef>
          </c:cat>
          <c:val>
            <c:numRef>
              <c:f>Sheet1!$B$2:$B$26</c:f>
              <c:numCache>
                <c:formatCode>General</c:formatCode>
                <c:ptCount val="25"/>
                <c:pt idx="0">
                  <c:v>1</c:v>
                </c:pt>
                <c:pt idx="1">
                  <c:v>1</c:v>
                </c:pt>
                <c:pt idx="2">
                  <c:v>0.63</c:v>
                </c:pt>
                <c:pt idx="3">
                  <c:v>0.7</c:v>
                </c:pt>
                <c:pt idx="4">
                  <c:v>0.61</c:v>
                </c:pt>
                <c:pt idx="5">
                  <c:v>1</c:v>
                </c:pt>
                <c:pt idx="6">
                  <c:v>0.92</c:v>
                </c:pt>
                <c:pt idx="7">
                  <c:v>0.7</c:v>
                </c:pt>
                <c:pt idx="8">
                  <c:v>0.78</c:v>
                </c:pt>
                <c:pt idx="9">
                  <c:v>0.5</c:v>
                </c:pt>
                <c:pt idx="10">
                  <c:v>0.92</c:v>
                </c:pt>
                <c:pt idx="11">
                  <c:v>0.8</c:v>
                </c:pt>
                <c:pt idx="12">
                  <c:v>0.41</c:v>
                </c:pt>
                <c:pt idx="13">
                  <c:v>0.55000000000000004</c:v>
                </c:pt>
                <c:pt idx="14">
                  <c:v>0.64</c:v>
                </c:pt>
                <c:pt idx="15">
                  <c:v>0.22</c:v>
                </c:pt>
                <c:pt idx="16">
                  <c:v>0.2</c:v>
                </c:pt>
                <c:pt idx="17">
                  <c:v>0.28000000000000003</c:v>
                </c:pt>
                <c:pt idx="18">
                  <c:v>0.25</c:v>
                </c:pt>
                <c:pt idx="19">
                  <c:v>0.22</c:v>
                </c:pt>
                <c:pt idx="20">
                  <c:v>0.37</c:v>
                </c:pt>
                <c:pt idx="21">
                  <c:v>0.11</c:v>
                </c:pt>
                <c:pt idx="22">
                  <c:v>0.22</c:v>
                </c:pt>
                <c:pt idx="23">
                  <c:v>0.13</c:v>
                </c:pt>
                <c:pt idx="24">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6</c:f>
              <c:strCache>
                <c:ptCount val="25"/>
                <c:pt idx="0">
                  <c:v>All Others</c:v>
                </c:pt>
                <c:pt idx="1">
                  <c:v>All Others</c:v>
                </c:pt>
                <c:pt idx="2">
                  <c:v>All Others</c:v>
                </c:pt>
                <c:pt idx="3">
                  <c:v>All Others</c:v>
                </c:pt>
                <c:pt idx="4">
                  <c:v>All Others</c:v>
                </c:pt>
                <c:pt idx="5">
                  <c:v>Bouvet-Ladu</c:v>
                </c:pt>
                <c:pt idx="6">
                  <c:v>All Others</c:v>
                </c:pt>
                <c:pt idx="7">
                  <c:v>All Others</c:v>
                </c:pt>
                <c:pt idx="8">
                  <c:v>Chateau Mon</c:v>
                </c:pt>
                <c:pt idx="9">
                  <c:v>All Others</c:v>
                </c:pt>
                <c:pt idx="10">
                  <c:v>De Chanceny</c:v>
                </c:pt>
                <c:pt idx="11">
                  <c:v>All Others</c:v>
                </c:pt>
                <c:pt idx="12">
                  <c:v>All Others</c:v>
                </c:pt>
                <c:pt idx="13">
                  <c:v>All Others</c:v>
                </c:pt>
                <c:pt idx="14">
                  <c:v>Bouvet-Ladu</c:v>
                </c:pt>
                <c:pt idx="15">
                  <c:v>All Others</c:v>
                </c:pt>
                <c:pt idx="16">
                  <c:v>Bouvet-Ladu</c:v>
                </c:pt>
                <c:pt idx="17">
                  <c:v>Bouvet-Ladu</c:v>
                </c:pt>
                <c:pt idx="18">
                  <c:v>All Others</c:v>
                </c:pt>
                <c:pt idx="19">
                  <c:v>All Others</c:v>
                </c:pt>
                <c:pt idx="20">
                  <c:v>Bouvet-Ladu</c:v>
                </c:pt>
                <c:pt idx="21">
                  <c:v>All Others</c:v>
                </c:pt>
                <c:pt idx="22">
                  <c:v>All Others</c:v>
                </c:pt>
                <c:pt idx="23">
                  <c:v>All Others</c:v>
                </c:pt>
                <c:pt idx="24">
                  <c:v>All Others</c:v>
                </c:pt>
              </c:strCache>
            </c:strRef>
          </c:cat>
          <c:val>
            <c:numRef>
              <c:f>Sheet1!$C$2:$C$26</c:f>
              <c:numCache>
                <c:formatCode>General</c:formatCode>
                <c:ptCount val="25"/>
                <c:pt idx="0">
                  <c:v>0.50422659939888359</c:v>
                </c:pt>
                <c:pt idx="1">
                  <c:v>0.58143248175182483</c:v>
                </c:pt>
                <c:pt idx="2">
                  <c:v>0.64960820094461147</c:v>
                </c:pt>
                <c:pt idx="3">
                  <c:v>0.70235347788750546</c:v>
                </c:pt>
                <c:pt idx="4">
                  <c:v>0.75237494632889657</c:v>
                </c:pt>
                <c:pt idx="5">
                  <c:v>0.79727082438814945</c:v>
                </c:pt>
                <c:pt idx="6">
                  <c:v>0.83575300558179477</c:v>
                </c:pt>
                <c:pt idx="7">
                  <c:v>0.87293366251610138</c:v>
                </c:pt>
                <c:pt idx="8">
                  <c:v>0.901272005152426</c:v>
                </c:pt>
                <c:pt idx="9">
                  <c:v>0.92316981537140408</c:v>
                </c:pt>
                <c:pt idx="10">
                  <c:v>0.94469192786603695</c:v>
                </c:pt>
                <c:pt idx="11">
                  <c:v>0.96381225848003438</c:v>
                </c:pt>
                <c:pt idx="12">
                  <c:v>0.97548572348647489</c:v>
                </c:pt>
                <c:pt idx="13">
                  <c:v>0.98346930012881062</c:v>
                </c:pt>
                <c:pt idx="14">
                  <c:v>0.98823261056247313</c:v>
                </c:pt>
                <c:pt idx="15">
                  <c:v>0.99141262344353798</c:v>
                </c:pt>
                <c:pt idx="16">
                  <c:v>0.99366680978960931</c:v>
                </c:pt>
                <c:pt idx="17">
                  <c:v>0.99525010734220698</c:v>
                </c:pt>
                <c:pt idx="18">
                  <c:v>0.99647112494632895</c:v>
                </c:pt>
                <c:pt idx="19">
                  <c:v>0.9975177114641478</c:v>
                </c:pt>
                <c:pt idx="20">
                  <c:v>0.99851062687848868</c:v>
                </c:pt>
                <c:pt idx="21">
                  <c:v>0.99902050236152862</c:v>
                </c:pt>
                <c:pt idx="22">
                  <c:v>0.99949012451696018</c:v>
                </c:pt>
                <c:pt idx="23">
                  <c:v>0.99975848003434964</c:v>
                </c:pt>
                <c:pt idx="24">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Chateau Mon</c:v>
                </c:pt>
                <c:pt idx="1">
                  <c:v>De Chanceny</c:v>
                </c:pt>
                <c:pt idx="2">
                  <c:v>Bouvet-Ladu</c:v>
                </c:pt>
                <c:pt idx="3">
                  <c:v>Bouvet-Ladu</c:v>
                </c:pt>
                <c:pt idx="4">
                  <c:v>All Others</c:v>
                </c:pt>
                <c:pt idx="5">
                  <c:v>All Others</c:v>
                </c:pt>
                <c:pt idx="6">
                  <c:v>All Others</c:v>
                </c:pt>
              </c:strCache>
            </c:strRef>
          </c:cat>
          <c:val>
            <c:numRef>
              <c:f>Sheet1!$B$2:$B$8</c:f>
              <c:numCache>
                <c:formatCode>General</c:formatCode>
                <c:ptCount val="7"/>
                <c:pt idx="0">
                  <c:v>0.8</c:v>
                </c:pt>
                <c:pt idx="1">
                  <c:v>0.73</c:v>
                </c:pt>
                <c:pt idx="2">
                  <c:v>0.61</c:v>
                </c:pt>
                <c:pt idx="3">
                  <c:v>0.17</c:v>
                </c:pt>
                <c:pt idx="4">
                  <c:v>0.8</c:v>
                </c:pt>
                <c:pt idx="5">
                  <c:v>0.35</c:v>
                </c:pt>
                <c:pt idx="6">
                  <c:v>0.2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7ECAC4"/>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Chateau Mon</c:v>
                </c:pt>
                <c:pt idx="1">
                  <c:v>De Chanceny</c:v>
                </c:pt>
                <c:pt idx="2">
                  <c:v>Bouvet-Ladu</c:v>
                </c:pt>
                <c:pt idx="3">
                  <c:v>Bouvet-Ladu</c:v>
                </c:pt>
                <c:pt idx="4">
                  <c:v>All Others</c:v>
                </c:pt>
                <c:pt idx="5">
                  <c:v>All Others</c:v>
                </c:pt>
                <c:pt idx="6">
                  <c:v>All Others</c:v>
                </c:pt>
              </c:strCache>
            </c:strRef>
          </c:cat>
          <c:val>
            <c:numRef>
              <c:f>Sheet1!$C$2:$C$8</c:f>
              <c:numCache>
                <c:formatCode>General</c:formatCode>
                <c:ptCount val="7"/>
                <c:pt idx="0">
                  <c:v>0.37491115849324802</c:v>
                </c:pt>
                <c:pt idx="1">
                  <c:v>0.66204690831556501</c:v>
                </c:pt>
                <c:pt idx="2">
                  <c:v>0.85323383084577109</c:v>
                </c:pt>
                <c:pt idx="3">
                  <c:v>0.89374555792466237</c:v>
                </c:pt>
                <c:pt idx="4">
                  <c:v>0.9324804548685145</c:v>
                </c:pt>
                <c:pt idx="5">
                  <c:v>0.97121535181236662</c:v>
                </c:pt>
                <c:pt idx="6">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ure</c:v>
                </c:pt>
                <c:pt idx="1">
                  <c:v>All Others</c:v>
                </c:pt>
                <c:pt idx="2">
                  <c:v>All Others</c:v>
                </c:pt>
                <c:pt idx="3">
                  <c:v>Mure</c:v>
                </c:pt>
                <c:pt idx="4">
                  <c:v>All Others</c:v>
                </c:pt>
                <c:pt idx="5">
                  <c:v>Mure</c:v>
                </c:pt>
                <c:pt idx="6">
                  <c:v>All Others</c:v>
                </c:pt>
                <c:pt idx="7">
                  <c:v>All Others</c:v>
                </c:pt>
                <c:pt idx="8">
                  <c:v>Mure</c:v>
                </c:pt>
              </c:strCache>
            </c:strRef>
          </c:cat>
          <c:val>
            <c:numRef>
              <c:f>Sheet1!$B$2:$B$10</c:f>
              <c:numCache>
                <c:formatCode>General</c:formatCode>
                <c:ptCount val="9"/>
                <c:pt idx="0">
                  <c:v>0.86</c:v>
                </c:pt>
                <c:pt idx="1">
                  <c:v>0.04</c:v>
                </c:pt>
                <c:pt idx="2">
                  <c:v>0.04</c:v>
                </c:pt>
                <c:pt idx="3">
                  <c:v>0.04</c:v>
                </c:pt>
                <c:pt idx="4">
                  <c:v>0.04</c:v>
                </c:pt>
                <c:pt idx="5">
                  <c:v>0.03</c:v>
                </c:pt>
                <c:pt idx="6">
                  <c:v>0.04</c:v>
                </c:pt>
                <c:pt idx="7">
                  <c:v>0.02</c:v>
                </c:pt>
                <c:pt idx="8">
                  <c:v>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ure</c:v>
                </c:pt>
                <c:pt idx="1">
                  <c:v>All Others</c:v>
                </c:pt>
                <c:pt idx="2">
                  <c:v>All Others</c:v>
                </c:pt>
                <c:pt idx="3">
                  <c:v>Mure</c:v>
                </c:pt>
                <c:pt idx="4">
                  <c:v>All Others</c:v>
                </c:pt>
                <c:pt idx="5">
                  <c:v>Mure</c:v>
                </c:pt>
                <c:pt idx="6">
                  <c:v>All Others</c:v>
                </c:pt>
                <c:pt idx="7">
                  <c:v>All Others</c:v>
                </c:pt>
                <c:pt idx="8">
                  <c:v>Mure</c:v>
                </c:pt>
              </c:strCache>
            </c:strRef>
          </c:cat>
          <c:val>
            <c:numRef>
              <c:f>Sheet1!$C$2:$C$10</c:f>
              <c:numCache>
                <c:formatCode>General</c:formatCode>
                <c:ptCount val="9"/>
                <c:pt idx="0">
                  <c:v>0.689714466717951</c:v>
                </c:pt>
                <c:pt idx="1">
                  <c:v>0.79967419340241641</c:v>
                </c:pt>
                <c:pt idx="2">
                  <c:v>0.88433865785782162</c:v>
                </c:pt>
                <c:pt idx="3">
                  <c:v>0.92180641657993578</c:v>
                </c:pt>
                <c:pt idx="4">
                  <c:v>0.95827865514276667</c:v>
                </c:pt>
                <c:pt idx="5">
                  <c:v>0.97922982940404546</c:v>
                </c:pt>
                <c:pt idx="6">
                  <c:v>0.99294085705235535</c:v>
                </c:pt>
                <c:pt idx="7">
                  <c:v>0.99932123625503422</c:v>
                </c:pt>
                <c:pt idx="8">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uvet-Ladubay</c:v>
                </c:pt>
                <c:pt idx="1">
                  <c:v>Bottega</c:v>
                </c:pt>
                <c:pt idx="2">
                  <c:v>Patriarche</c:v>
                </c:pt>
                <c:pt idx="3">
                  <c:v>De Chanceny</c:v>
                </c:pt>
                <c:pt idx="4">
                  <c:v>Mure</c:v>
                </c:pt>
                <c:pt idx="5">
                  <c:v>Chateau Moncontour</c:v>
                </c:pt>
                <c:pt idx="6">
                  <c:v>Savian</c:v>
                </c:pt>
                <c:pt idx="7">
                  <c:v>Kriter</c:v>
                </c:pt>
                <c:pt idx="8">
                  <c:v>Others</c:v>
                </c:pt>
              </c:strCache>
            </c:strRef>
          </c:cat>
          <c:val>
            <c:numRef>
              <c:f>Sheet1!$B$2:$B$10</c:f>
              <c:numCache>
                <c:formatCode>General</c:formatCode>
                <c:ptCount val="9"/>
                <c:pt idx="0">
                  <c:v>0.22041931242546858</c:v>
                </c:pt>
                <c:pt idx="1">
                  <c:v>5.1756647946755274E-2</c:v>
                </c:pt>
                <c:pt idx="2">
                  <c:v>4.7057984161120343E-2</c:v>
                </c:pt>
                <c:pt idx="3">
                  <c:v>3.7711618236115498E-2</c:v>
                </c:pt>
                <c:pt idx="4">
                  <c:v>3.7191809444212284E-2</c:v>
                </c:pt>
                <c:pt idx="5">
                  <c:v>2.6968903203449083E-2</c:v>
                </c:pt>
                <c:pt idx="6">
                  <c:v>2.4298512939161986E-2</c:v>
                </c:pt>
                <c:pt idx="7">
                  <c:v>2.3167164392078523E-2</c:v>
                </c:pt>
                <c:pt idx="8">
                  <c:v>0.5314280472516383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uvet-Ladubay</c:v>
                </c:pt>
                <c:pt idx="1">
                  <c:v>Bottega</c:v>
                </c:pt>
                <c:pt idx="2">
                  <c:v>Patriarche</c:v>
                </c:pt>
                <c:pt idx="3">
                  <c:v>De Chanceny</c:v>
                </c:pt>
                <c:pt idx="4">
                  <c:v>Mure</c:v>
                </c:pt>
                <c:pt idx="5">
                  <c:v>Chateau Moncontour</c:v>
                </c:pt>
                <c:pt idx="6">
                  <c:v>Savian</c:v>
                </c:pt>
                <c:pt idx="7">
                  <c:v>Kriter</c:v>
                </c:pt>
                <c:pt idx="8">
                  <c:v>Others</c:v>
                </c:pt>
              </c:strCache>
            </c:strRef>
          </c:cat>
          <c:val>
            <c:numRef>
              <c:f>Sheet1!$C$2:$C$10</c:f>
              <c:numCache>
                <c:formatCode>General</c:formatCode>
                <c:ptCount val="9"/>
                <c:pt idx="0">
                  <c:v>9.7846441947565588E-2</c:v>
                </c:pt>
                <c:pt idx="1">
                  <c:v>6.9288389513108645E-2</c:v>
                </c:pt>
                <c:pt idx="2">
                  <c:v>7.162921348314609E-2</c:v>
                </c:pt>
                <c:pt idx="3">
                  <c:v>3.5580524344569299E-2</c:v>
                </c:pt>
                <c:pt idx="4">
                  <c:v>3.4176029962546831E-2</c:v>
                </c:pt>
                <c:pt idx="5">
                  <c:v>2.949438202247192E-2</c:v>
                </c:pt>
                <c:pt idx="6">
                  <c:v>2.8089887640449448E-2</c:v>
                </c:pt>
                <c:pt idx="7">
                  <c:v>3.9325842696629226E-2</c:v>
                </c:pt>
                <c:pt idx="8">
                  <c:v>0.59456928838951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uvet-Ladubay</c:v>
                </c:pt>
                <c:pt idx="1">
                  <c:v>Bottega</c:v>
                </c:pt>
                <c:pt idx="2">
                  <c:v>Patriarche</c:v>
                </c:pt>
                <c:pt idx="3">
                  <c:v>De Chanceny</c:v>
                </c:pt>
                <c:pt idx="4">
                  <c:v>Mure</c:v>
                </c:pt>
                <c:pt idx="5">
                  <c:v>Chateau Moncontour</c:v>
                </c:pt>
                <c:pt idx="6">
                  <c:v>Savian</c:v>
                </c:pt>
                <c:pt idx="7">
                  <c:v>Kriter</c:v>
                </c:pt>
                <c:pt idx="8">
                  <c:v>Others</c:v>
                </c:pt>
              </c:strCache>
            </c:strRef>
          </c:cat>
          <c:val>
            <c:numRef>
              <c:f>Sheet1!$D$2:$D$10</c:f>
              <c:numCache>
                <c:formatCode>General</c:formatCode>
                <c:ptCount val="9"/>
                <c:pt idx="0">
                  <c:v>44.391047622313437</c:v>
                </c:pt>
                <c:pt idx="1">
                  <c:v>133.87341000983909</c:v>
                </c:pt>
                <c:pt idx="2">
                  <c:v>152.21479364244991</c:v>
                </c:pt>
                <c:pt idx="3">
                  <c:v>94.348972568073734</c:v>
                </c:pt>
                <c:pt idx="4">
                  <c:v>91.891280562218611</c:v>
                </c:pt>
                <c:pt idx="5">
                  <c:v>109.36441055823083</c:v>
                </c:pt>
                <c:pt idx="6">
                  <c:v>115.60331988537823</c:v>
                </c:pt>
                <c:pt idx="7">
                  <c:v>169.74819201471109</c:v>
                </c:pt>
                <c:pt idx="8">
                  <c:v>111.88142806244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Mure</c:v>
                </c:pt>
              </c:strCache>
            </c:strRef>
          </c:cat>
          <c:val>
            <c:numRef>
              <c:f>Sheet1!$B$2:$B$2</c:f>
              <c:numCache>
                <c:formatCode>General</c:formatCode>
                <c:ptCount val="1"/>
                <c:pt idx="0">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Mure</c:v>
                </c:pt>
                <c:pt idx="1">
                  <c:v>All Others</c:v>
                </c:pt>
                <c:pt idx="2">
                  <c:v>All Others</c:v>
                </c:pt>
                <c:pt idx="3">
                  <c:v>All Others</c:v>
                </c:pt>
              </c:strCache>
            </c:strRef>
          </c:cat>
          <c:val>
            <c:numRef>
              <c:f>Sheet1!$B$2:$B$5</c:f>
              <c:numCache>
                <c:formatCode>General</c:formatCode>
                <c:ptCount val="4"/>
                <c:pt idx="0">
                  <c:v>0.77</c:v>
                </c:pt>
                <c:pt idx="1">
                  <c:v>0.11</c:v>
                </c:pt>
                <c:pt idx="2">
                  <c:v>0.11</c:v>
                </c:pt>
                <c:pt idx="3">
                  <c:v>7.0000000000000007E-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Mure</c:v>
                </c:pt>
                <c:pt idx="1">
                  <c:v>All Others</c:v>
                </c:pt>
                <c:pt idx="2">
                  <c:v>All Others</c:v>
                </c:pt>
                <c:pt idx="3">
                  <c:v>All Others</c:v>
                </c:pt>
              </c:strCache>
            </c:strRef>
          </c:cat>
          <c:val>
            <c:numRef>
              <c:f>Sheet1!$C$2:$C$5</c:f>
              <c:numCache>
                <c:formatCode>General</c:formatCode>
                <c:ptCount val="4"/>
                <c:pt idx="0">
                  <c:v>0.52387004931618286</c:v>
                </c:pt>
                <c:pt idx="1">
                  <c:v>0.95581880115918461</c:v>
                </c:pt>
                <c:pt idx="2">
                  <c:v>0.99593268595251416</c:v>
                </c:pt>
                <c:pt idx="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c:f>
              <c:strCache>
                <c:ptCount val="9"/>
                <c:pt idx="0">
                  <c:v>Mure</c:v>
                </c:pt>
                <c:pt idx="1">
                  <c:v>All Others</c:v>
                </c:pt>
                <c:pt idx="2">
                  <c:v>All Others</c:v>
                </c:pt>
                <c:pt idx="3">
                  <c:v>All Others</c:v>
                </c:pt>
                <c:pt idx="4">
                  <c:v>All Others</c:v>
                </c:pt>
                <c:pt idx="5">
                  <c:v>All Others</c:v>
                </c:pt>
                <c:pt idx="6">
                  <c:v>Mure</c:v>
                </c:pt>
                <c:pt idx="7">
                  <c:v>Mure</c:v>
                </c:pt>
                <c:pt idx="8">
                  <c:v>All Others</c:v>
                </c:pt>
              </c:strCache>
            </c:strRef>
          </c:cat>
          <c:val>
            <c:numRef>
              <c:f>Sheet1!$B$2:$B$10</c:f>
              <c:numCache>
                <c:formatCode>General</c:formatCode>
                <c:ptCount val="9"/>
                <c:pt idx="0">
                  <c:v>0.88</c:v>
                </c:pt>
                <c:pt idx="1">
                  <c:v>0.1</c:v>
                </c:pt>
                <c:pt idx="2">
                  <c:v>0.1</c:v>
                </c:pt>
                <c:pt idx="3">
                  <c:v>0.1</c:v>
                </c:pt>
                <c:pt idx="4">
                  <c:v>0.09</c:v>
                </c:pt>
                <c:pt idx="5">
                  <c:v>0.09</c:v>
                </c:pt>
                <c:pt idx="6">
                  <c:v>0.1</c:v>
                </c:pt>
                <c:pt idx="7">
                  <c:v>0.08</c:v>
                </c:pt>
                <c:pt idx="8">
                  <c:v>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c:f>
              <c:strCache>
                <c:ptCount val="9"/>
                <c:pt idx="0">
                  <c:v>Mure</c:v>
                </c:pt>
                <c:pt idx="1">
                  <c:v>All Others</c:v>
                </c:pt>
                <c:pt idx="2">
                  <c:v>All Others</c:v>
                </c:pt>
                <c:pt idx="3">
                  <c:v>All Others</c:v>
                </c:pt>
                <c:pt idx="4">
                  <c:v>All Others</c:v>
                </c:pt>
                <c:pt idx="5">
                  <c:v>All Others</c:v>
                </c:pt>
                <c:pt idx="6">
                  <c:v>Mure</c:v>
                </c:pt>
                <c:pt idx="7">
                  <c:v>Mure</c:v>
                </c:pt>
                <c:pt idx="8">
                  <c:v>All Others</c:v>
                </c:pt>
              </c:strCache>
            </c:strRef>
          </c:cat>
          <c:val>
            <c:numRef>
              <c:f>Sheet1!$C$2:$C$10</c:f>
              <c:numCache>
                <c:formatCode>General</c:formatCode>
                <c:ptCount val="9"/>
                <c:pt idx="0">
                  <c:v>0.37798934086457431</c:v>
                </c:pt>
                <c:pt idx="1">
                  <c:v>0.55313624561563335</c:v>
                </c:pt>
                <c:pt idx="2">
                  <c:v>0.6831868081811141</c:v>
                </c:pt>
                <c:pt idx="3">
                  <c:v>0.79378672618776469</c:v>
                </c:pt>
                <c:pt idx="4">
                  <c:v>0.87177151186625967</c:v>
                </c:pt>
                <c:pt idx="5">
                  <c:v>0.92037534733293846</c:v>
                </c:pt>
                <c:pt idx="6">
                  <c:v>0.95371930943379024</c:v>
                </c:pt>
                <c:pt idx="7">
                  <c:v>0.98437571174782479</c:v>
                </c:pt>
                <c:pt idx="8">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Mure</c:v>
                </c:pt>
              </c:strCache>
            </c:strRef>
          </c:cat>
          <c:val>
            <c:numRef>
              <c:f>Sheet1!$B$2:$B$2</c:f>
              <c:numCache>
                <c:formatCode>General</c:formatCode>
                <c:ptCount val="1"/>
                <c:pt idx="0">
                  <c:v>0.8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Mure</c:v>
                </c:pt>
                <c:pt idx="1">
                  <c:v>Mure</c:v>
                </c:pt>
              </c:strCache>
            </c:strRef>
          </c:cat>
          <c:val>
            <c:numRef>
              <c:f>Sheet1!$B$2:$B$3</c:f>
              <c:numCache>
                <c:formatCode>General</c:formatCode>
                <c:ptCount val="2"/>
                <c:pt idx="0">
                  <c:v>0.59</c:v>
                </c:pt>
                <c:pt idx="1">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Mure</c:v>
                </c:pt>
                <c:pt idx="1">
                  <c:v>Mure</c:v>
                </c:pt>
              </c:strCache>
            </c:strRef>
          </c:cat>
          <c:val>
            <c:numRef>
              <c:f>Sheet1!$C$2:$C$3</c:f>
              <c:numCache>
                <c:formatCode>General</c:formatCode>
                <c:ptCount val="2"/>
                <c:pt idx="0">
                  <c:v>0.98505082718756232</c:v>
                </c:pt>
                <c:pt idx="1">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Mure</c:v>
                </c:pt>
              </c:strCache>
            </c:strRef>
          </c:cat>
          <c:val>
            <c:numRef>
              <c:f>Sheet1!$B$2:$B$2</c:f>
              <c:numCache>
                <c:formatCode>General</c:formatCode>
                <c:ptCount val="1"/>
                <c:pt idx="0">
                  <c:v>0.9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Mure</c:v>
                </c:pt>
              </c:strCache>
            </c:strRef>
          </c:cat>
          <c:val>
            <c:numRef>
              <c:f>Sheet1!$B$2:$B$2</c:f>
              <c:numCache>
                <c:formatCode>General</c:formatCode>
                <c:ptCount val="1"/>
                <c:pt idx="0">
                  <c:v>0.8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Mure</c:v>
                </c:pt>
              </c:strCache>
            </c:strRef>
          </c:cat>
          <c:val>
            <c:numRef>
              <c:f>Sheet1!$B$2:$B$2</c:f>
              <c:numCache>
                <c:formatCode>General</c:formatCode>
                <c:ptCount val="1"/>
                <c:pt idx="0">
                  <c:v>0.7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Mure</c:v>
                </c:pt>
              </c:strCache>
            </c:strRef>
          </c:cat>
          <c:val>
            <c:numRef>
              <c:f>Sheet1!$B$2:$B$2</c:f>
              <c:numCache>
                <c:formatCode>General</c:formatCode>
                <c:ptCount val="1"/>
                <c:pt idx="0">
                  <c:v>0.9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Mure</c:v>
                </c:pt>
              </c:strCache>
            </c:strRef>
          </c:cat>
          <c:val>
            <c:numRef>
              <c:f>Sheet1!$C$2:$C$2</c:f>
              <c:numCache>
                <c:formatCode>General</c:formatCode>
                <c:ptCount val="1"/>
                <c:pt idx="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Mure</c:v>
                </c:pt>
                <c:pt idx="1">
                  <c:v>All Others</c:v>
                </c:pt>
                <c:pt idx="2">
                  <c:v>All Others</c:v>
                </c:pt>
                <c:pt idx="3">
                  <c:v>All Others</c:v>
                </c:pt>
              </c:strCache>
            </c:strRef>
          </c:cat>
          <c:val>
            <c:numRef>
              <c:f>Sheet1!$B$2:$B$5</c:f>
              <c:numCache>
                <c:formatCode>General</c:formatCode>
                <c:ptCount val="4"/>
                <c:pt idx="0">
                  <c:v>0.88</c:v>
                </c:pt>
                <c:pt idx="1">
                  <c:v>0.44</c:v>
                </c:pt>
                <c:pt idx="2">
                  <c:v>0.42</c:v>
                </c:pt>
                <c:pt idx="3">
                  <c:v>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Mure</c:v>
                </c:pt>
                <c:pt idx="1">
                  <c:v>All Others</c:v>
                </c:pt>
                <c:pt idx="2">
                  <c:v>All Others</c:v>
                </c:pt>
                <c:pt idx="3">
                  <c:v>All Others</c:v>
                </c:pt>
              </c:strCache>
            </c:strRef>
          </c:cat>
          <c:val>
            <c:numRef>
              <c:f>Sheet1!$C$2:$C$5</c:f>
              <c:numCache>
                <c:formatCode>General</c:formatCode>
                <c:ptCount val="4"/>
                <c:pt idx="0">
                  <c:v>0.86383329894780281</c:v>
                </c:pt>
                <c:pt idx="1">
                  <c:v>0.97317928615638549</c:v>
                </c:pt>
                <c:pt idx="2">
                  <c:v>0.99587373633175169</c:v>
                </c:pt>
                <c:pt idx="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ouvet-Ladubay</c:v>
                </c:pt>
                <c:pt idx="1">
                  <c:v>Patriarche</c:v>
                </c:pt>
                <c:pt idx="2">
                  <c:v>Savian</c:v>
                </c:pt>
                <c:pt idx="3">
                  <c:v>Mure</c:v>
                </c:pt>
                <c:pt idx="4">
                  <c:v>Chateau Moncontour</c:v>
                </c:pt>
                <c:pt idx="5">
                  <c:v>De Chanceny</c:v>
                </c:pt>
                <c:pt idx="6">
                  <c:v>Others</c:v>
                </c:pt>
              </c:strCache>
            </c:strRef>
          </c:cat>
          <c:val>
            <c:numRef>
              <c:f>Sheet1!$B$2:$B$8</c:f>
              <c:numCache>
                <c:formatCode>General</c:formatCode>
                <c:ptCount val="7"/>
                <c:pt idx="0">
                  <c:v>4.418645137423019E-2</c:v>
                </c:pt>
                <c:pt idx="1">
                  <c:v>3.9007246534502646E-2</c:v>
                </c:pt>
                <c:pt idx="2">
                  <c:v>3.5068439492524972E-2</c:v>
                </c:pt>
                <c:pt idx="3">
                  <c:v>3.1020825626183274E-2</c:v>
                </c:pt>
                <c:pt idx="4">
                  <c:v>2.2980001305681893E-2</c:v>
                </c:pt>
                <c:pt idx="5">
                  <c:v>1.7452614627989468E-2</c:v>
                </c:pt>
                <c:pt idx="6">
                  <c:v>0.8102844210388875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ouvet-Ladubay</c:v>
                </c:pt>
                <c:pt idx="1">
                  <c:v>Patriarche</c:v>
                </c:pt>
                <c:pt idx="2">
                  <c:v>Savian</c:v>
                </c:pt>
                <c:pt idx="3">
                  <c:v>Mure</c:v>
                </c:pt>
                <c:pt idx="4">
                  <c:v>Chateau Moncontour</c:v>
                </c:pt>
                <c:pt idx="5">
                  <c:v>De Chanceny</c:v>
                </c:pt>
                <c:pt idx="6">
                  <c:v>Others</c:v>
                </c:pt>
              </c:strCache>
            </c:strRef>
          </c:cat>
          <c:val>
            <c:numRef>
              <c:f>Sheet1!$C$2:$C$8</c:f>
              <c:numCache>
                <c:formatCode>General</c:formatCode>
                <c:ptCount val="7"/>
                <c:pt idx="0">
                  <c:v>0.10293509714758167</c:v>
                </c:pt>
                <c:pt idx="1">
                  <c:v>7.0690367920628383E-2</c:v>
                </c:pt>
                <c:pt idx="2">
                  <c:v>3.9272426622571327E-2</c:v>
                </c:pt>
                <c:pt idx="3">
                  <c:v>3.7618850764778847E-2</c:v>
                </c:pt>
                <c:pt idx="4">
                  <c:v>3.2244729226953303E-2</c:v>
                </c:pt>
                <c:pt idx="5">
                  <c:v>3.803224472922697E-2</c:v>
                </c:pt>
                <c:pt idx="6">
                  <c:v>0.6792062835882599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ouvet-Ladubay</c:v>
                </c:pt>
                <c:pt idx="1">
                  <c:v>Patriarche</c:v>
                </c:pt>
                <c:pt idx="2">
                  <c:v>Savian</c:v>
                </c:pt>
                <c:pt idx="3">
                  <c:v>Mure</c:v>
                </c:pt>
                <c:pt idx="4">
                  <c:v>Chateau Moncontour</c:v>
                </c:pt>
                <c:pt idx="5">
                  <c:v>De Chanceny</c:v>
                </c:pt>
                <c:pt idx="6">
                  <c:v>Others</c:v>
                </c:pt>
              </c:strCache>
            </c:strRef>
          </c:cat>
          <c:val>
            <c:numRef>
              <c:f>Sheet1!$D$2:$D$8</c:f>
              <c:numCache>
                <c:formatCode>General</c:formatCode>
                <c:ptCount val="7"/>
                <c:pt idx="0">
                  <c:v>232.95624325155484</c:v>
                </c:pt>
                <c:pt idx="1">
                  <c:v>181.22368072840368</c:v>
                </c:pt>
                <c:pt idx="2">
                  <c:v>111.98795039323737</c:v>
                </c:pt>
                <c:pt idx="3">
                  <c:v>121.26966321949368</c:v>
                </c:pt>
                <c:pt idx="4">
                  <c:v>140.31648126573722</c:v>
                </c:pt>
                <c:pt idx="5">
                  <c:v>217.91717481822533</c:v>
                </c:pt>
                <c:pt idx="6">
                  <c:v>83.8231941714282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36</c:v>
                </c:pt>
                <c:pt idx="1">
                  <c:v>7.0000000000000007E-2</c:v>
                </c:pt>
                <c:pt idx="2">
                  <c:v>0.1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4549531186302485</c:v>
                </c:pt>
                <c:pt idx="1">
                  <c:v>0.92458214431308594</c:v>
                </c:pt>
                <c:pt idx="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43</c:v>
                </c:pt>
                <c:pt idx="1">
                  <c:v>0.13</c:v>
                </c:pt>
                <c:pt idx="2">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75400696864111494</c:v>
                </c:pt>
                <c:pt idx="1">
                  <c:v>0.89407665505226475</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All Others</c:v>
                </c:pt>
                <c:pt idx="1">
                  <c:v>All Others</c:v>
                </c:pt>
                <c:pt idx="2">
                  <c:v>Cru La Maqu</c:v>
                </c:pt>
                <c:pt idx="3">
                  <c:v>Celene</c:v>
                </c:pt>
                <c:pt idx="4">
                  <c:v>Celene</c:v>
                </c:pt>
              </c:strCache>
            </c:strRef>
          </c:cat>
          <c:val>
            <c:numRef>
              <c:f>Sheet1!$B$2:$B$6</c:f>
              <c:numCache>
                <c:formatCode>General</c:formatCode>
                <c:ptCount val="5"/>
                <c:pt idx="0">
                  <c:v>0.2</c:v>
                </c:pt>
                <c:pt idx="1">
                  <c:v>0.19</c:v>
                </c:pt>
                <c:pt idx="2">
                  <c:v>0.3</c:v>
                </c:pt>
                <c:pt idx="3">
                  <c:v>0.2</c:v>
                </c:pt>
                <c:pt idx="4">
                  <c:v>0.1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All Others</c:v>
                </c:pt>
                <c:pt idx="1">
                  <c:v>All Others</c:v>
                </c:pt>
                <c:pt idx="2">
                  <c:v>Cru La Maqu</c:v>
                </c:pt>
                <c:pt idx="3">
                  <c:v>Celene</c:v>
                </c:pt>
                <c:pt idx="4">
                  <c:v>Celene</c:v>
                </c:pt>
              </c:strCache>
            </c:strRef>
          </c:cat>
          <c:val>
            <c:numRef>
              <c:f>Sheet1!$C$2:$C$6</c:f>
              <c:numCache>
                <c:formatCode>General</c:formatCode>
                <c:ptCount val="5"/>
                <c:pt idx="0">
                  <c:v>0.43170441001191895</c:v>
                </c:pt>
                <c:pt idx="1">
                  <c:v>0.7644815256257449</c:v>
                </c:pt>
                <c:pt idx="2">
                  <c:v>0.97568533969010729</c:v>
                </c:pt>
                <c:pt idx="3">
                  <c:v>0.98855780691299167</c:v>
                </c:pt>
                <c:pt idx="4">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5000000000000004</c:v>
                </c:pt>
                <c:pt idx="1">
                  <c:v>0.56000000000000005</c:v>
                </c:pt>
                <c:pt idx="2">
                  <c:v>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78526645768025083</c:v>
                </c:pt>
                <c:pt idx="1">
                  <c:v>0.96865203761755492</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Cru La Maqu</c:v>
                </c:pt>
                <c:pt idx="1">
                  <c:v>All Others</c:v>
                </c:pt>
                <c:pt idx="2">
                  <c:v>Celene</c:v>
                </c:pt>
                <c:pt idx="3">
                  <c:v>Celene</c:v>
                </c:pt>
              </c:strCache>
            </c:strRef>
          </c:cat>
          <c:val>
            <c:numRef>
              <c:f>Sheet1!$B$2:$B$5</c:f>
              <c:numCache>
                <c:formatCode>General</c:formatCode>
                <c:ptCount val="4"/>
                <c:pt idx="0">
                  <c:v>0.28000000000000003</c:v>
                </c:pt>
                <c:pt idx="1">
                  <c:v>0.1</c:v>
                </c:pt>
                <c:pt idx="2">
                  <c:v>0.09</c:v>
                </c:pt>
                <c:pt idx="3">
                  <c:v>0.1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7ECAC4"/>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Cru La Maqu</c:v>
                </c:pt>
                <c:pt idx="1">
                  <c:v>All Others</c:v>
                </c:pt>
                <c:pt idx="2">
                  <c:v>Celene</c:v>
                </c:pt>
                <c:pt idx="3">
                  <c:v>Celene</c:v>
                </c:pt>
              </c:strCache>
            </c:strRef>
          </c:cat>
          <c:val>
            <c:numRef>
              <c:f>Sheet1!$C$2:$C$5</c:f>
              <c:numCache>
                <c:formatCode>General</c:formatCode>
                <c:ptCount val="4"/>
                <c:pt idx="0">
                  <c:v>0.60664244940321743</c:v>
                </c:pt>
                <c:pt idx="1">
                  <c:v>0.8105864037363778</c:v>
                </c:pt>
                <c:pt idx="2">
                  <c:v>0.9076284379865075</c:v>
                </c:pt>
                <c:pt idx="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25</c:v>
                </c:pt>
                <c:pt idx="1">
                  <c:v>0.19</c:v>
                </c:pt>
                <c:pt idx="2">
                  <c:v>0.1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3850437549721557</c:v>
                </c:pt>
                <c:pt idx="1">
                  <c:v>0.93715194908512323</c:v>
                </c:pt>
                <c:pt idx="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48</c:v>
                </c:pt>
                <c:pt idx="1">
                  <c:v>0.15</c:v>
                </c:pt>
                <c:pt idx="2">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9517980107115536</c:v>
                </c:pt>
                <c:pt idx="1">
                  <c:v>0.95944912012241779</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62</c:v>
                </c:pt>
                <c:pt idx="1">
                  <c:v>0.39</c:v>
                </c:pt>
                <c:pt idx="2">
                  <c:v>0.3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7ECAC4"/>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85782272456870912</c:v>
                </c:pt>
                <c:pt idx="1">
                  <c:v>0.94765020820939916</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c:v>
                </c:pt>
                <c:pt idx="1">
                  <c:v>0.22</c:v>
                </c:pt>
                <c:pt idx="2">
                  <c:v>0.2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74729241877256314</c:v>
                </c:pt>
                <c:pt idx="1">
                  <c:v>0.90493381468110701</c:v>
                </c:pt>
                <c:pt idx="2">
                  <c:v>0.999999999999999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51</c:v>
                </c:pt>
                <c:pt idx="1">
                  <c:v>0.28000000000000003</c:v>
                </c:pt>
                <c:pt idx="2">
                  <c:v>0.1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58076923076923082</c:v>
                </c:pt>
                <c:pt idx="1">
                  <c:v>0.96153846153846156</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Mure</c:v>
                </c:pt>
                <c:pt idx="2">
                  <c:v>Bottega</c:v>
                </c:pt>
                <c:pt idx="3">
                  <c:v>Chateau Moncontour</c:v>
                </c:pt>
                <c:pt idx="4">
                  <c:v>De Chanceny</c:v>
                </c:pt>
                <c:pt idx="5">
                  <c:v>Cru La Maqueline</c:v>
                </c:pt>
                <c:pt idx="6">
                  <c:v>Contarini</c:v>
                </c:pt>
                <c:pt idx="7">
                  <c:v>Kriter</c:v>
                </c:pt>
                <c:pt idx="8">
                  <c:v>Bouvet-Ladubay</c:v>
                </c:pt>
                <c:pt idx="9">
                  <c:v>Others</c:v>
                </c:pt>
              </c:strCache>
            </c:strRef>
          </c:cat>
          <c:val>
            <c:numRef>
              <c:f>Sheet1!$B$2:$B$11</c:f>
              <c:numCache>
                <c:formatCode>General</c:formatCode>
                <c:ptCount val="10"/>
                <c:pt idx="0">
                  <c:v>0.13819224955338738</c:v>
                </c:pt>
                <c:pt idx="1">
                  <c:v>7.192180843754295E-2</c:v>
                </c:pt>
                <c:pt idx="2">
                  <c:v>3.8030781915624569E-2</c:v>
                </c:pt>
                <c:pt idx="3">
                  <c:v>1.8122165727635014E-2</c:v>
                </c:pt>
                <c:pt idx="4">
                  <c:v>1.3879345884292979E-2</c:v>
                </c:pt>
                <c:pt idx="5">
                  <c:v>1.3535797718840181E-2</c:v>
                </c:pt>
                <c:pt idx="6">
                  <c:v>1.3123539920296825E-2</c:v>
                </c:pt>
                <c:pt idx="7">
                  <c:v>1.2195959873574275E-2</c:v>
                </c:pt>
                <c:pt idx="8">
                  <c:v>1.1199670193761165E-2</c:v>
                </c:pt>
                <c:pt idx="9">
                  <c:v>0.6697986807750446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Mure</c:v>
                </c:pt>
                <c:pt idx="2">
                  <c:v>Bottega</c:v>
                </c:pt>
                <c:pt idx="3">
                  <c:v>Chateau Moncontour</c:v>
                </c:pt>
                <c:pt idx="4">
                  <c:v>De Chanceny</c:v>
                </c:pt>
                <c:pt idx="5">
                  <c:v>Cru La Maqueline</c:v>
                </c:pt>
                <c:pt idx="6">
                  <c:v>Contarini</c:v>
                </c:pt>
                <c:pt idx="7">
                  <c:v>Kriter</c:v>
                </c:pt>
                <c:pt idx="8">
                  <c:v>Bouvet-Ladubay</c:v>
                </c:pt>
                <c:pt idx="9">
                  <c:v>Others</c:v>
                </c:pt>
              </c:strCache>
            </c:strRef>
          </c:cat>
          <c:val>
            <c:numRef>
              <c:f>Sheet1!$C$2:$C$11</c:f>
              <c:numCache>
                <c:formatCode>General</c:formatCode>
                <c:ptCount val="10"/>
                <c:pt idx="0">
                  <c:v>7.0501730103806184E-2</c:v>
                </c:pt>
                <c:pt idx="1">
                  <c:v>3.8062283737024201E-2</c:v>
                </c:pt>
                <c:pt idx="2">
                  <c:v>7.1799307958477485E-2</c:v>
                </c:pt>
                <c:pt idx="3">
                  <c:v>3.4602076124567456E-2</c:v>
                </c:pt>
                <c:pt idx="4">
                  <c:v>3.1574394463667804E-2</c:v>
                </c:pt>
                <c:pt idx="5">
                  <c:v>3.1141868512110711E-2</c:v>
                </c:pt>
                <c:pt idx="6">
                  <c:v>3.935986159169548E-2</c:v>
                </c:pt>
                <c:pt idx="7">
                  <c:v>3.4602076124567456E-2</c:v>
                </c:pt>
                <c:pt idx="8">
                  <c:v>3.373702422145327E-2</c:v>
                </c:pt>
                <c:pt idx="9">
                  <c:v>0.6146193771626293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triarche</c:v>
                </c:pt>
                <c:pt idx="1">
                  <c:v>Mure</c:v>
                </c:pt>
                <c:pt idx="2">
                  <c:v>Bottega</c:v>
                </c:pt>
                <c:pt idx="3">
                  <c:v>Chateau Moncontour</c:v>
                </c:pt>
                <c:pt idx="4">
                  <c:v>De Chanceny</c:v>
                </c:pt>
                <c:pt idx="5">
                  <c:v>Cru La Maqueline</c:v>
                </c:pt>
                <c:pt idx="6">
                  <c:v>Contarini</c:v>
                </c:pt>
                <c:pt idx="7">
                  <c:v>Kriter</c:v>
                </c:pt>
                <c:pt idx="8">
                  <c:v>Bouvet-Ladubay</c:v>
                </c:pt>
                <c:pt idx="9">
                  <c:v>Others</c:v>
                </c:pt>
              </c:strCache>
            </c:strRef>
          </c:cat>
          <c:val>
            <c:numRef>
              <c:f>Sheet1!$D$2:$D$11</c:f>
              <c:numCache>
                <c:formatCode>General</c:formatCode>
                <c:ptCount val="10"/>
                <c:pt idx="0">
                  <c:v>51.017137597553521</c:v>
                </c:pt>
                <c:pt idx="1">
                  <c:v>52.921755673145462</c:v>
                </c:pt>
                <c:pt idx="2">
                  <c:v>188.79261572315832</c:v>
                </c:pt>
                <c:pt idx="3">
                  <c:v>190.93786385476957</c:v>
                </c:pt>
                <c:pt idx="4">
                  <c:v>227.49194902189168</c:v>
                </c:pt>
                <c:pt idx="5">
                  <c:v>230.07043366764432</c:v>
                </c:pt>
                <c:pt idx="6">
                  <c:v>299.91802387724402</c:v>
                </c:pt>
                <c:pt idx="7">
                  <c:v>283.71753009405904</c:v>
                </c:pt>
                <c:pt idx="8">
                  <c:v>301.2323009319208</c:v>
                </c:pt>
                <c:pt idx="9">
                  <c:v>91.7618076600918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c:f>
              <c:strCache>
                <c:ptCount val="3"/>
                <c:pt idx="0">
                  <c:v>Cru La Maqu</c:v>
                </c:pt>
                <c:pt idx="1">
                  <c:v>Celene</c:v>
                </c:pt>
                <c:pt idx="2">
                  <c:v>Celene</c:v>
                </c:pt>
              </c:strCache>
            </c:strRef>
          </c:cat>
          <c:val>
            <c:numRef>
              <c:f>Sheet1!$B$2:$B$4</c:f>
              <c:numCache>
                <c:formatCode>General</c:formatCode>
                <c:ptCount val="3"/>
                <c:pt idx="0">
                  <c:v>0.72</c:v>
                </c:pt>
                <c:pt idx="1">
                  <c:v>0.33</c:v>
                </c:pt>
                <c:pt idx="2">
                  <c:v>0.2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AEABAB"/>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c:f>
              <c:strCache>
                <c:ptCount val="3"/>
                <c:pt idx="0">
                  <c:v>Cru La Maqu</c:v>
                </c:pt>
                <c:pt idx="1">
                  <c:v>Celene</c:v>
                </c:pt>
                <c:pt idx="2">
                  <c:v>Celene</c:v>
                </c:pt>
              </c:strCache>
            </c:strRef>
          </c:cat>
          <c:val>
            <c:numRef>
              <c:f>Sheet1!$C$2:$C$4</c:f>
              <c:numCache>
                <c:formatCode>General</c:formatCode>
                <c:ptCount val="3"/>
                <c:pt idx="0">
                  <c:v>0.91309385863267667</c:v>
                </c:pt>
                <c:pt idx="1">
                  <c:v>0.96523754345307067</c:v>
                </c:pt>
                <c:pt idx="2">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1ERE CUV ETU 1CT X 750ML</c:v>
                </c:pt>
                <c:pt idx="14">
                  <c:v>CHAMPAGNE NICOLAS 1ER CRU ETUI 1CT X 750ML</c:v>
                </c:pt>
                <c:pt idx="15">
                  <c:v>CHAMPAGNE NICOLAS BLC DE NOIRS 1CT X 750ML</c:v>
                </c:pt>
                <c:pt idx="16">
                  <c:v>CHAMPAGNE NICOLAS ROSE 1E C BS 1CT X 750ML</c:v>
                </c:pt>
                <c:pt idx="17">
                  <c:v>CHAMPAGNE NICOLAS BLC/BL BS ET 1CT X 750ML</c:v>
                </c:pt>
                <c:pt idx="18">
                  <c:v>MG CHAMPAGNE NICOLAS 1E CRU BS 1CT X 1500ML</c:v>
                </c:pt>
                <c:pt idx="19">
                  <c:v>CHAMPAGNE NICOLAS ROSE 1ERE ET 1CT X 750ML</c:v>
                </c:pt>
              </c:strCache>
            </c:strRef>
          </c:cat>
          <c:val>
            <c:numRef>
              <c:f>Sheet1!$B$2:$B$21</c:f>
              <c:numCache>
                <c:formatCode>General</c:formatCode>
                <c:ptCount val="20"/>
                <c:pt idx="0">
                  <c:v>0.99</c:v>
                </c:pt>
                <c:pt idx="1">
                  <c:v>0.83</c:v>
                </c:pt>
                <c:pt idx="2">
                  <c:v>0.75</c:v>
                </c:pt>
                <c:pt idx="3">
                  <c:v>0.73</c:v>
                </c:pt>
                <c:pt idx="4">
                  <c:v>0.49</c:v>
                </c:pt>
                <c:pt idx="5">
                  <c:v>0.48</c:v>
                </c:pt>
                <c:pt idx="6">
                  <c:v>0.38</c:v>
                </c:pt>
                <c:pt idx="7">
                  <c:v>0.23</c:v>
                </c:pt>
                <c:pt idx="8">
                  <c:v>0.16</c:v>
                </c:pt>
                <c:pt idx="9">
                  <c:v>0.43</c:v>
                </c:pt>
                <c:pt idx="10">
                  <c:v>0.32</c:v>
                </c:pt>
                <c:pt idx="11">
                  <c:v>0.41</c:v>
                </c:pt>
                <c:pt idx="12">
                  <c:v>0.21</c:v>
                </c:pt>
                <c:pt idx="13">
                  <c:v>0.16</c:v>
                </c:pt>
                <c:pt idx="14">
                  <c:v>0.3</c:v>
                </c:pt>
                <c:pt idx="15">
                  <c:v>0.19</c:v>
                </c:pt>
                <c:pt idx="16">
                  <c:v>0.15</c:v>
                </c:pt>
                <c:pt idx="17">
                  <c:v>0.08</c:v>
                </c:pt>
                <c:pt idx="18">
                  <c:v>0.06</c:v>
                </c:pt>
                <c:pt idx="19">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1ERE CUV ETU 1CT X 750ML</c:v>
                </c:pt>
                <c:pt idx="14">
                  <c:v>CHAMPAGNE NICOLAS 1ER CRU ETUI 1CT X 750ML</c:v>
                </c:pt>
                <c:pt idx="15">
                  <c:v>CHAMPAGNE NICOLAS BLC DE NOIRS 1CT X 750ML</c:v>
                </c:pt>
                <c:pt idx="16">
                  <c:v>CHAMPAGNE NICOLAS ROSE 1E C BS 1CT X 750ML</c:v>
                </c:pt>
                <c:pt idx="17">
                  <c:v>CHAMPAGNE NICOLAS BLC/BL BS ET 1CT X 750ML</c:v>
                </c:pt>
                <c:pt idx="18">
                  <c:v>MG CHAMPAGNE NICOLAS 1E CRU BS 1CT X 1500ML</c:v>
                </c:pt>
                <c:pt idx="19">
                  <c:v>CHAMPAGNE NICOLAS ROSE 1ERE ET 1CT X 750ML</c:v>
                </c:pt>
              </c:strCache>
            </c:strRef>
          </c:cat>
          <c:val>
            <c:numRef>
              <c:f>Sheet1!$C$2:$C$21</c:f>
              <c:numCache>
                <c:formatCode>General</c:formatCode>
                <c:ptCount val="20"/>
                <c:pt idx="0">
                  <c:v>0.75236741543350216</c:v>
                </c:pt>
                <c:pt idx="1">
                  <c:v>0.80832213965983635</c:v>
                </c:pt>
                <c:pt idx="2">
                  <c:v>0.85163700498226991</c:v>
                </c:pt>
                <c:pt idx="3">
                  <c:v>0.89448303832887444</c:v>
                </c:pt>
                <c:pt idx="4">
                  <c:v>0.91415909775890869</c:v>
                </c:pt>
                <c:pt idx="5">
                  <c:v>0.93213843194308521</c:v>
                </c:pt>
                <c:pt idx="6">
                  <c:v>0.94253459496266079</c:v>
                </c:pt>
                <c:pt idx="7">
                  <c:v>0.95179216604093708</c:v>
                </c:pt>
                <c:pt idx="8">
                  <c:v>0.95978463496221422</c:v>
                </c:pt>
                <c:pt idx="9">
                  <c:v>0.96765431455648854</c:v>
                </c:pt>
                <c:pt idx="10">
                  <c:v>0.97442633198513118</c:v>
                </c:pt>
                <c:pt idx="11">
                  <c:v>0.98060672811094185</c:v>
                </c:pt>
                <c:pt idx="12">
                  <c:v>0.98586434383988253</c:v>
                </c:pt>
                <c:pt idx="13">
                  <c:v>0.98936942099250968</c:v>
                </c:pt>
                <c:pt idx="14">
                  <c:v>0.99205962352048149</c:v>
                </c:pt>
                <c:pt idx="15">
                  <c:v>0.99435169095786824</c:v>
                </c:pt>
                <c:pt idx="16">
                  <c:v>0.99613027575506119</c:v>
                </c:pt>
                <c:pt idx="17">
                  <c:v>0.99786420988788949</c:v>
                </c:pt>
                <c:pt idx="18">
                  <c:v>0.99927442670407385</c:v>
                </c:pt>
                <c:pt idx="1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1ERE CUV ETU 1CT X 750ML</c:v>
                </c:pt>
                <c:pt idx="14">
                  <c:v>CHAMPAGNE NICOLAS 1ER CRU ETUI 1CT X 750ML</c:v>
                </c:pt>
                <c:pt idx="15">
                  <c:v>CHAMPAGNE NICOLAS BLC DE NOIRS 1CT X 750ML</c:v>
                </c:pt>
                <c:pt idx="16">
                  <c:v>CHAMPAGNE NICOLAS ROSE 1E C BS 1CT X 750ML</c:v>
                </c:pt>
                <c:pt idx="17">
                  <c:v>CHAMPAGNE NICOLAS BLC/BL BS ET 1CT X 750ML</c:v>
                </c:pt>
                <c:pt idx="18">
                  <c:v>MG CHAMPAGNE NICOLAS 1E CRU BS 1CT X 1500ML</c:v>
                </c:pt>
                <c:pt idx="19">
                  <c:v>CHAMPAGNE NICOLAS ROSE 1ERE ET 1CT X 750ML</c:v>
                </c:pt>
              </c:strCache>
            </c:strRef>
          </c:cat>
          <c:val>
            <c:numRef>
              <c:f>Sheet1!$D$2:$D$21</c:f>
              <c:numCache>
                <c:formatCode>General</c:formatCode>
                <c:ptCount val="20"/>
                <c:pt idx="0">
                  <c:v>2042.4343434343434</c:v>
                </c:pt>
                <c:pt idx="1">
                  <c:v>181.18072289156626</c:v>
                </c:pt>
                <c:pt idx="2">
                  <c:v>155.21333333333334</c:v>
                </c:pt>
                <c:pt idx="3">
                  <c:v>157.73972602739727</c:v>
                </c:pt>
                <c:pt idx="4">
                  <c:v>107.91836734693878</c:v>
                </c:pt>
                <c:pt idx="5">
                  <c:v>100.66666666666667</c:v>
                </c:pt>
                <c:pt idx="6">
                  <c:v>73.526315789473685</c:v>
                </c:pt>
                <c:pt idx="7">
                  <c:v>108.17391304347827</c:v>
                </c:pt>
                <c:pt idx="8">
                  <c:v>134.25</c:v>
                </c:pt>
                <c:pt idx="9">
                  <c:v>49.186046511627907</c:v>
                </c:pt>
                <c:pt idx="10">
                  <c:v>56.875</c:v>
                </c:pt>
                <c:pt idx="11">
                  <c:v>40.512195121951223</c:v>
                </c:pt>
                <c:pt idx="12">
                  <c:v>67.285714285714292</c:v>
                </c:pt>
                <c:pt idx="13">
                  <c:v>58.875</c:v>
                </c:pt>
                <c:pt idx="14">
                  <c:v>24.1</c:v>
                </c:pt>
                <c:pt idx="15">
                  <c:v>32.421052631578945</c:v>
                </c:pt>
                <c:pt idx="16">
                  <c:v>31.866666666666667</c:v>
                </c:pt>
                <c:pt idx="17">
                  <c:v>58.25</c:v>
                </c:pt>
                <c:pt idx="18">
                  <c:v>63.166666666666664</c:v>
                </c:pt>
                <c:pt idx="19">
                  <c:v>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 DE NOIRS 1CT X 750ML</c:v>
                </c:pt>
                <c:pt idx="15">
                  <c:v>1/2 CHAMP NICOLAS ROSE 1E C BS 1CT X 375ML</c:v>
                </c:pt>
                <c:pt idx="16">
                  <c:v>CHAMPAGNE NICOLAS 1ERE CUV ETU 1CT X 750ML</c:v>
                </c:pt>
                <c:pt idx="17">
                  <c:v>CHAMPAGNE NICOLAS ROSE 1E C BS 1CT X 750ML</c:v>
                </c:pt>
                <c:pt idx="18">
                  <c:v>MG CHAMPAGNE NICOLAS 1E CRU BS 1CT X 1500ML</c:v>
                </c:pt>
              </c:strCache>
            </c:strRef>
          </c:cat>
          <c:val>
            <c:numRef>
              <c:f>Sheet1!$B$2:$B$20</c:f>
              <c:numCache>
                <c:formatCode>General</c:formatCode>
                <c:ptCount val="19"/>
                <c:pt idx="0">
                  <c:v>1</c:v>
                </c:pt>
                <c:pt idx="1">
                  <c:v>0.63</c:v>
                </c:pt>
                <c:pt idx="2">
                  <c:v>0.52</c:v>
                </c:pt>
                <c:pt idx="3">
                  <c:v>0.64</c:v>
                </c:pt>
                <c:pt idx="4">
                  <c:v>0.49</c:v>
                </c:pt>
                <c:pt idx="5">
                  <c:v>0.31</c:v>
                </c:pt>
                <c:pt idx="6">
                  <c:v>0.37</c:v>
                </c:pt>
                <c:pt idx="7">
                  <c:v>0.41</c:v>
                </c:pt>
                <c:pt idx="8">
                  <c:v>0.3</c:v>
                </c:pt>
                <c:pt idx="9">
                  <c:v>0.32</c:v>
                </c:pt>
                <c:pt idx="10">
                  <c:v>0.27</c:v>
                </c:pt>
                <c:pt idx="11">
                  <c:v>0.22</c:v>
                </c:pt>
                <c:pt idx="12">
                  <c:v>0.43</c:v>
                </c:pt>
                <c:pt idx="13">
                  <c:v>0.2</c:v>
                </c:pt>
                <c:pt idx="14">
                  <c:v>0.17</c:v>
                </c:pt>
                <c:pt idx="15">
                  <c:v>0.28000000000000003</c:v>
                </c:pt>
                <c:pt idx="16">
                  <c:v>0.11</c:v>
                </c:pt>
                <c:pt idx="17">
                  <c:v>0.08</c:v>
                </c:pt>
                <c:pt idx="18">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 DE NOIRS 1CT X 750ML</c:v>
                </c:pt>
                <c:pt idx="15">
                  <c:v>1/2 CHAMP NICOLAS ROSE 1E C BS 1CT X 375ML</c:v>
                </c:pt>
                <c:pt idx="16">
                  <c:v>CHAMPAGNE NICOLAS 1ERE CUV ETU 1CT X 750ML</c:v>
                </c:pt>
                <c:pt idx="17">
                  <c:v>CHAMPAGNE NICOLAS ROSE 1E C BS 1CT X 750ML</c:v>
                </c:pt>
                <c:pt idx="18">
                  <c:v>MG CHAMPAGNE NICOLAS 1E CRU BS 1CT X 1500ML</c:v>
                </c:pt>
              </c:strCache>
            </c:strRef>
          </c:cat>
          <c:val>
            <c:numRef>
              <c:f>Sheet1!$C$2:$C$20</c:f>
              <c:numCache>
                <c:formatCode>General</c:formatCode>
                <c:ptCount val="19"/>
                <c:pt idx="0">
                  <c:v>0.71309452806137363</c:v>
                </c:pt>
                <c:pt idx="1">
                  <c:v>0.79865277339227447</c:v>
                </c:pt>
                <c:pt idx="2">
                  <c:v>0.84308864174141507</c:v>
                </c:pt>
                <c:pt idx="3">
                  <c:v>0.88487761522178943</c:v>
                </c:pt>
                <c:pt idx="4">
                  <c:v>0.91848031591216506</c:v>
                </c:pt>
                <c:pt idx="5">
                  <c:v>0.93120022453776785</c:v>
                </c:pt>
                <c:pt idx="6">
                  <c:v>0.94312489523519927</c:v>
                </c:pt>
                <c:pt idx="7">
                  <c:v>0.95228572430972158</c:v>
                </c:pt>
                <c:pt idx="8">
                  <c:v>0.9607136870582822</c:v>
                </c:pt>
                <c:pt idx="9">
                  <c:v>0.96897012790076664</c:v>
                </c:pt>
                <c:pt idx="10">
                  <c:v>0.97521508457199424</c:v>
                </c:pt>
                <c:pt idx="11">
                  <c:v>0.98114038678189808</c:v>
                </c:pt>
                <c:pt idx="12">
                  <c:v>0.9870500960912495</c:v>
                </c:pt>
                <c:pt idx="13">
                  <c:v>0.99090154252768703</c:v>
                </c:pt>
                <c:pt idx="14">
                  <c:v>0.99419164454423892</c:v>
                </c:pt>
                <c:pt idx="15">
                  <c:v>0.99712700807322419</c:v>
                </c:pt>
                <c:pt idx="16">
                  <c:v>0.99833155964089537</c:v>
                </c:pt>
                <c:pt idx="17">
                  <c:v>0.99940746977900952</c:v>
                </c:pt>
                <c:pt idx="18">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 DE NOIRS 1CT X 750ML</c:v>
                </c:pt>
                <c:pt idx="15">
                  <c:v>1/2 CHAMP NICOLAS ROSE 1E C BS 1CT X 375ML</c:v>
                </c:pt>
                <c:pt idx="16">
                  <c:v>CHAMPAGNE NICOLAS 1ERE CUV ETU 1CT X 750ML</c:v>
                </c:pt>
                <c:pt idx="17">
                  <c:v>CHAMPAGNE NICOLAS ROSE 1E C BS 1CT X 750ML</c:v>
                </c:pt>
                <c:pt idx="18">
                  <c:v>MG CHAMPAGNE NICOLAS 1E CRU BS 1CT X 1500ML</c:v>
                </c:pt>
              </c:strCache>
            </c:strRef>
          </c:cat>
          <c:val>
            <c:numRef>
              <c:f>Sheet1!$D$2:$D$20</c:f>
              <c:numCache>
                <c:formatCode>General</c:formatCode>
                <c:ptCount val="19"/>
                <c:pt idx="0">
                  <c:v>1829.28</c:v>
                </c:pt>
                <c:pt idx="1">
                  <c:v>348.38095238095241</c:v>
                </c:pt>
                <c:pt idx="2">
                  <c:v>219.21153846153845</c:v>
                </c:pt>
                <c:pt idx="3">
                  <c:v>167.5</c:v>
                </c:pt>
                <c:pt idx="4">
                  <c:v>175.91836734693877</c:v>
                </c:pt>
                <c:pt idx="5">
                  <c:v>105.25806451612904</c:v>
                </c:pt>
                <c:pt idx="6">
                  <c:v>82.675675675675677</c:v>
                </c:pt>
                <c:pt idx="7">
                  <c:v>57.31707317073171</c:v>
                </c:pt>
                <c:pt idx="8">
                  <c:v>72.066666666666663</c:v>
                </c:pt>
                <c:pt idx="9">
                  <c:v>66.1875</c:v>
                </c:pt>
                <c:pt idx="10">
                  <c:v>59.333333333333336</c:v>
                </c:pt>
                <c:pt idx="11">
                  <c:v>69.090909090909093</c:v>
                </c:pt>
                <c:pt idx="12">
                  <c:v>35.255813953488371</c:v>
                </c:pt>
                <c:pt idx="13">
                  <c:v>49.4</c:v>
                </c:pt>
                <c:pt idx="14">
                  <c:v>49.647058823529413</c:v>
                </c:pt>
                <c:pt idx="15">
                  <c:v>26.892857142857139</c:v>
                </c:pt>
                <c:pt idx="16">
                  <c:v>28.09090909090909</c:v>
                </c:pt>
                <c:pt idx="17">
                  <c:v>34.5</c:v>
                </c:pt>
                <c:pt idx="18">
                  <c:v>3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IO NAT 2017 1CT X 750ML</c:v>
                </c:pt>
                <c:pt idx="11">
                  <c:v>CHAMPAGNE NICOLAS 1ER CRU ETUI 1CT X 750ML</c:v>
                </c:pt>
                <c:pt idx="12">
                  <c:v>MG CHAMPAGNE NICOLAS BLC/BL BS 1CT X 1500ML</c:v>
                </c:pt>
                <c:pt idx="13">
                  <c:v>CHAMPAGNE NICOLAS BLC DE NOIRS 1CT X 750ML</c:v>
                </c:pt>
                <c:pt idx="14">
                  <c:v>1/2 CHAMP NICOLAS ROSE 1E C BS 1CT X 375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pt idx="20">
                  <c:v>MG CHAMPAGNE NICOLAS BRUT 1CT X 1500ML</c:v>
                </c:pt>
              </c:strCache>
            </c:strRef>
          </c:cat>
          <c:val>
            <c:numRef>
              <c:f>Sheet1!$B$2:$B$22</c:f>
              <c:numCache>
                <c:formatCode>General</c:formatCode>
                <c:ptCount val="21"/>
                <c:pt idx="0">
                  <c:v>1</c:v>
                </c:pt>
                <c:pt idx="1">
                  <c:v>0.67</c:v>
                </c:pt>
                <c:pt idx="2">
                  <c:v>0.9</c:v>
                </c:pt>
                <c:pt idx="3">
                  <c:v>0.68</c:v>
                </c:pt>
                <c:pt idx="4">
                  <c:v>0.61</c:v>
                </c:pt>
                <c:pt idx="5">
                  <c:v>0.52</c:v>
                </c:pt>
                <c:pt idx="6">
                  <c:v>0.34</c:v>
                </c:pt>
                <c:pt idx="7">
                  <c:v>0.38</c:v>
                </c:pt>
                <c:pt idx="8">
                  <c:v>0.3</c:v>
                </c:pt>
                <c:pt idx="9">
                  <c:v>0.65</c:v>
                </c:pt>
                <c:pt idx="10">
                  <c:v>0.28000000000000003</c:v>
                </c:pt>
                <c:pt idx="11">
                  <c:v>0.3</c:v>
                </c:pt>
                <c:pt idx="12">
                  <c:v>0.15</c:v>
                </c:pt>
                <c:pt idx="13">
                  <c:v>0.36</c:v>
                </c:pt>
                <c:pt idx="14">
                  <c:v>0.35</c:v>
                </c:pt>
                <c:pt idx="15">
                  <c:v>0.12</c:v>
                </c:pt>
                <c:pt idx="16">
                  <c:v>0.22</c:v>
                </c:pt>
                <c:pt idx="17">
                  <c:v>0.2</c:v>
                </c:pt>
                <c:pt idx="18">
                  <c:v>0.03</c:v>
                </c:pt>
                <c:pt idx="19">
                  <c:v>0.03</c:v>
                </c:pt>
                <c:pt idx="20">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IO NAT 2017 1CT X 750ML</c:v>
                </c:pt>
                <c:pt idx="11">
                  <c:v>CHAMPAGNE NICOLAS 1ER CRU ETUI 1CT X 750ML</c:v>
                </c:pt>
                <c:pt idx="12">
                  <c:v>MG CHAMPAGNE NICOLAS BLC/BL BS 1CT X 1500ML</c:v>
                </c:pt>
                <c:pt idx="13">
                  <c:v>CHAMPAGNE NICOLAS BLC DE NOIRS 1CT X 750ML</c:v>
                </c:pt>
                <c:pt idx="14">
                  <c:v>1/2 CHAMP NICOLAS ROSE 1E C BS 1CT X 375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pt idx="20">
                  <c:v>MG CHAMPAGNE NICOLAS BRUT 1CT X 1500ML</c:v>
                </c:pt>
              </c:strCache>
            </c:strRef>
          </c:cat>
          <c:val>
            <c:numRef>
              <c:f>Sheet1!$C$2:$C$22</c:f>
              <c:numCache>
                <c:formatCode>General</c:formatCode>
                <c:ptCount val="21"/>
                <c:pt idx="0">
                  <c:v>0.75334772197365929</c:v>
                </c:pt>
                <c:pt idx="1">
                  <c:v>0.81571775159115256</c:v>
                </c:pt>
                <c:pt idx="2">
                  <c:v>0.86340506648181992</c:v>
                </c:pt>
                <c:pt idx="3">
                  <c:v>0.90038754804965659</c:v>
                </c:pt>
                <c:pt idx="4">
                  <c:v>0.92227771126094904</c:v>
                </c:pt>
                <c:pt idx="5">
                  <c:v>0.93733852164597642</c:v>
                </c:pt>
                <c:pt idx="6">
                  <c:v>0.94873653034217653</c:v>
                </c:pt>
                <c:pt idx="7">
                  <c:v>0.95702312685109325</c:v>
                </c:pt>
                <c:pt idx="8">
                  <c:v>0.96467168693679495</c:v>
                </c:pt>
                <c:pt idx="9">
                  <c:v>0.97219421513642945</c:v>
                </c:pt>
                <c:pt idx="10">
                  <c:v>0.97798380490264025</c:v>
                </c:pt>
                <c:pt idx="11">
                  <c:v>0.98209559518558187</c:v>
                </c:pt>
                <c:pt idx="12">
                  <c:v>0.98614436952548989</c:v>
                </c:pt>
                <c:pt idx="13">
                  <c:v>0.99019314386539792</c:v>
                </c:pt>
                <c:pt idx="14">
                  <c:v>0.99400560841892993</c:v>
                </c:pt>
                <c:pt idx="15">
                  <c:v>0.99596697964585035</c:v>
                </c:pt>
                <c:pt idx="16">
                  <c:v>0.99782594996534113</c:v>
                </c:pt>
                <c:pt idx="17">
                  <c:v>0.99847186338143545</c:v>
                </c:pt>
                <c:pt idx="18">
                  <c:v>0.99908626882601292</c:v>
                </c:pt>
                <c:pt idx="19">
                  <c:v>0.99967704329195284</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IO NAT 2017 1CT X 750ML</c:v>
                </c:pt>
                <c:pt idx="11">
                  <c:v>CHAMPAGNE NICOLAS 1ER CRU ETUI 1CT X 750ML</c:v>
                </c:pt>
                <c:pt idx="12">
                  <c:v>MG CHAMPAGNE NICOLAS BLC/BL BS 1CT X 1500ML</c:v>
                </c:pt>
                <c:pt idx="13">
                  <c:v>CHAMPAGNE NICOLAS BLC DE NOIRS 1CT X 750ML</c:v>
                </c:pt>
                <c:pt idx="14">
                  <c:v>1/2 CHAMP NICOLAS ROSE 1E C BS 1CT X 375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pt idx="20">
                  <c:v>MG CHAMPAGNE NICOLAS BRUT 1CT X 1500ML</c:v>
                </c:pt>
              </c:strCache>
            </c:strRef>
          </c:cat>
          <c:val>
            <c:numRef>
              <c:f>Sheet1!$D$2:$D$22</c:f>
              <c:numCache>
                <c:formatCode>General</c:formatCode>
                <c:ptCount val="21"/>
                <c:pt idx="0">
                  <c:v>956.39</c:v>
                </c:pt>
                <c:pt idx="1">
                  <c:v>118.17910447761194</c:v>
                </c:pt>
                <c:pt idx="2">
                  <c:v>67.266666666666666</c:v>
                </c:pt>
                <c:pt idx="3">
                  <c:v>69.044117647058826</c:v>
                </c:pt>
                <c:pt idx="4">
                  <c:v>45.557377049180324</c:v>
                </c:pt>
                <c:pt idx="5">
                  <c:v>36.769230769230766</c:v>
                </c:pt>
                <c:pt idx="6">
                  <c:v>42.558823529411768</c:v>
                </c:pt>
                <c:pt idx="7">
                  <c:v>27.684210526315791</c:v>
                </c:pt>
                <c:pt idx="8">
                  <c:v>32.366666666666667</c:v>
                </c:pt>
                <c:pt idx="9">
                  <c:v>14.692307692307692</c:v>
                </c:pt>
                <c:pt idx="10">
                  <c:v>26.249999999999996</c:v>
                </c:pt>
                <c:pt idx="11">
                  <c:v>17.399999999999999</c:v>
                </c:pt>
                <c:pt idx="12">
                  <c:v>34.266666666666666</c:v>
                </c:pt>
                <c:pt idx="13">
                  <c:v>14.277777777777779</c:v>
                </c:pt>
                <c:pt idx="14">
                  <c:v>13.828571428571429</c:v>
                </c:pt>
                <c:pt idx="15">
                  <c:v>20.75</c:v>
                </c:pt>
                <c:pt idx="16">
                  <c:v>10.727272727272727</c:v>
                </c:pt>
                <c:pt idx="17">
                  <c:v>4.0999999999999996</c:v>
                </c:pt>
                <c:pt idx="18">
                  <c:v>26</c:v>
                </c:pt>
                <c:pt idx="19">
                  <c:v>25</c:v>
                </c:pt>
                <c:pt idx="20">
                  <c:v>5.8571428571428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1/2 CHAMP NICOLAS ROSE 1E C BS 1CT X 375ML</c:v>
                </c:pt>
                <c:pt idx="10">
                  <c:v>CHAMPAGNE NICOLAS 1ERE CUV ETU 1CT X 750ML</c:v>
                </c:pt>
                <c:pt idx="11">
                  <c:v>CHAMPAGNE NICOLAS BIO NAT 2017 1CT X 750ML</c:v>
                </c:pt>
                <c:pt idx="12">
                  <c:v>CHAMPAGNE NICOLAS 1ER CRU BS 1CT X 750ML</c:v>
                </c:pt>
                <c:pt idx="13">
                  <c:v>MG CHAMPAGNE NICOLAS 1ERE CUVE 1CT X 1500ML</c:v>
                </c:pt>
                <c:pt idx="14">
                  <c:v>CHAMPAGNE NICOLAS ROSE 1ERE ET 1CT X 750ML</c:v>
                </c:pt>
                <c:pt idx="15">
                  <c:v>CHAMPAGNE NICOLAS BLC DE NOIRS 1CT X 750ML</c:v>
                </c:pt>
                <c:pt idx="16">
                  <c:v>CHAMPAGNE NICOLAS 1ER CRU ETUI 1CT X 750ML</c:v>
                </c:pt>
                <c:pt idx="17">
                  <c:v>CHAMPAGNE NICOLAS ROSE 1E C BS 1CT X 750ML</c:v>
                </c:pt>
              </c:strCache>
            </c:strRef>
          </c:cat>
          <c:val>
            <c:numRef>
              <c:f>Sheet1!$B$2:$B$19</c:f>
              <c:numCache>
                <c:formatCode>General</c:formatCode>
                <c:ptCount val="18"/>
                <c:pt idx="0">
                  <c:v>1</c:v>
                </c:pt>
                <c:pt idx="1">
                  <c:v>0.87</c:v>
                </c:pt>
                <c:pt idx="2">
                  <c:v>0.84</c:v>
                </c:pt>
                <c:pt idx="3">
                  <c:v>0.63</c:v>
                </c:pt>
                <c:pt idx="4">
                  <c:v>0.54</c:v>
                </c:pt>
                <c:pt idx="5">
                  <c:v>0.62</c:v>
                </c:pt>
                <c:pt idx="6">
                  <c:v>0.47</c:v>
                </c:pt>
                <c:pt idx="7">
                  <c:v>0.62</c:v>
                </c:pt>
                <c:pt idx="8">
                  <c:v>0.41</c:v>
                </c:pt>
                <c:pt idx="9">
                  <c:v>0.49</c:v>
                </c:pt>
                <c:pt idx="10">
                  <c:v>0.19</c:v>
                </c:pt>
                <c:pt idx="11">
                  <c:v>0.33</c:v>
                </c:pt>
                <c:pt idx="12">
                  <c:v>0.62</c:v>
                </c:pt>
                <c:pt idx="13">
                  <c:v>0.36</c:v>
                </c:pt>
                <c:pt idx="14">
                  <c:v>0.28000000000000003</c:v>
                </c:pt>
                <c:pt idx="15">
                  <c:v>0.08</c:v>
                </c:pt>
                <c:pt idx="16">
                  <c:v>0.17</c:v>
                </c:pt>
                <c:pt idx="17">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1/2 CHAMP NICOLAS ROSE 1E C BS 1CT X 375ML</c:v>
                </c:pt>
                <c:pt idx="10">
                  <c:v>CHAMPAGNE NICOLAS 1ERE CUV ETU 1CT X 750ML</c:v>
                </c:pt>
                <c:pt idx="11">
                  <c:v>CHAMPAGNE NICOLAS BIO NAT 2017 1CT X 750ML</c:v>
                </c:pt>
                <c:pt idx="12">
                  <c:v>CHAMPAGNE NICOLAS 1ER CRU BS 1CT X 750ML</c:v>
                </c:pt>
                <c:pt idx="13">
                  <c:v>MG CHAMPAGNE NICOLAS 1ERE CUVE 1CT X 1500ML</c:v>
                </c:pt>
                <c:pt idx="14">
                  <c:v>CHAMPAGNE NICOLAS ROSE 1ERE ET 1CT X 750ML</c:v>
                </c:pt>
                <c:pt idx="15">
                  <c:v>CHAMPAGNE NICOLAS BLC DE NOIRS 1CT X 750ML</c:v>
                </c:pt>
                <c:pt idx="16">
                  <c:v>CHAMPAGNE NICOLAS 1ER CRU ETUI 1CT X 750ML</c:v>
                </c:pt>
                <c:pt idx="17">
                  <c:v>CHAMPAGNE NICOLAS ROSE 1E C BS 1CT X 750ML</c:v>
                </c:pt>
              </c:strCache>
            </c:strRef>
          </c:cat>
          <c:val>
            <c:numRef>
              <c:f>Sheet1!$C$2:$C$19</c:f>
              <c:numCache>
                <c:formatCode>General</c:formatCode>
                <c:ptCount val="18"/>
                <c:pt idx="0">
                  <c:v>0.669449081803005</c:v>
                </c:pt>
                <c:pt idx="1">
                  <c:v>0.76508466491771998</c:v>
                </c:pt>
                <c:pt idx="2">
                  <c:v>0.82880992129740039</c:v>
                </c:pt>
                <c:pt idx="3">
                  <c:v>0.85544955878845685</c:v>
                </c:pt>
                <c:pt idx="4">
                  <c:v>0.88075363701407094</c:v>
                </c:pt>
                <c:pt idx="5">
                  <c:v>0.90008347245409004</c:v>
                </c:pt>
                <c:pt idx="6">
                  <c:v>0.91811352253756251</c:v>
                </c:pt>
                <c:pt idx="7">
                  <c:v>0.93538039589792499</c:v>
                </c:pt>
                <c:pt idx="8">
                  <c:v>0.94936799427617447</c:v>
                </c:pt>
                <c:pt idx="9">
                  <c:v>0.95775101359408532</c:v>
                </c:pt>
                <c:pt idx="10">
                  <c:v>0.96544240400667769</c:v>
                </c:pt>
                <c:pt idx="11">
                  <c:v>0.97313379441927006</c:v>
                </c:pt>
                <c:pt idx="12">
                  <c:v>0.98052706892439767</c:v>
                </c:pt>
                <c:pt idx="13">
                  <c:v>0.98775339852134492</c:v>
                </c:pt>
                <c:pt idx="14">
                  <c:v>0.99459813975673728</c:v>
                </c:pt>
                <c:pt idx="15">
                  <c:v>0.9971857858335319</c:v>
                </c:pt>
                <c:pt idx="16">
                  <c:v>0.99867636537085602</c:v>
                </c:pt>
                <c:pt idx="1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9</c:f>
              <c:strCache>
                <c:ptCount val="18"/>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1/2 CHAMP NICOLAS ROSE 1E C BS 1CT X 375ML</c:v>
                </c:pt>
                <c:pt idx="10">
                  <c:v>CHAMPAGNE NICOLAS 1ERE CUV ETU 1CT X 750ML</c:v>
                </c:pt>
                <c:pt idx="11">
                  <c:v>CHAMPAGNE NICOLAS BIO NAT 2017 1CT X 750ML</c:v>
                </c:pt>
                <c:pt idx="12">
                  <c:v>CHAMPAGNE NICOLAS 1ER CRU BS 1CT X 750ML</c:v>
                </c:pt>
                <c:pt idx="13">
                  <c:v>MG CHAMPAGNE NICOLAS 1ERE CUVE 1CT X 1500ML</c:v>
                </c:pt>
                <c:pt idx="14">
                  <c:v>CHAMPAGNE NICOLAS ROSE 1ERE ET 1CT X 750ML</c:v>
                </c:pt>
                <c:pt idx="15">
                  <c:v>CHAMPAGNE NICOLAS BLC DE NOIRS 1CT X 750ML</c:v>
                </c:pt>
                <c:pt idx="16">
                  <c:v>CHAMPAGNE NICOLAS 1ER CRU ETUI 1CT X 750ML</c:v>
                </c:pt>
                <c:pt idx="17">
                  <c:v>CHAMPAGNE NICOLAS ROSE 1E C BS 1CT X 750ML</c:v>
                </c:pt>
              </c:strCache>
            </c:strRef>
          </c:cat>
          <c:val>
            <c:numRef>
              <c:f>Sheet1!$D$2:$D$19</c:f>
              <c:numCache>
                <c:formatCode>General</c:formatCode>
                <c:ptCount val="18"/>
                <c:pt idx="0">
                  <c:v>561.4</c:v>
                </c:pt>
                <c:pt idx="1">
                  <c:v>92.183908045977006</c:v>
                </c:pt>
                <c:pt idx="2">
                  <c:v>63.61904761904762</c:v>
                </c:pt>
                <c:pt idx="3">
                  <c:v>35.460317460317462</c:v>
                </c:pt>
                <c:pt idx="4">
                  <c:v>39.296296296296298</c:v>
                </c:pt>
                <c:pt idx="5">
                  <c:v>26.14516129032258</c:v>
                </c:pt>
                <c:pt idx="6">
                  <c:v>32.170212765957444</c:v>
                </c:pt>
                <c:pt idx="7">
                  <c:v>23.35483870967742</c:v>
                </c:pt>
                <c:pt idx="8">
                  <c:v>28.609756097560975</c:v>
                </c:pt>
                <c:pt idx="9">
                  <c:v>14.346938775510203</c:v>
                </c:pt>
                <c:pt idx="10">
                  <c:v>33.94736842105263</c:v>
                </c:pt>
                <c:pt idx="11">
                  <c:v>19.545454545454547</c:v>
                </c:pt>
                <c:pt idx="12">
                  <c:v>10</c:v>
                </c:pt>
                <c:pt idx="13">
                  <c:v>16.833333333333332</c:v>
                </c:pt>
                <c:pt idx="14">
                  <c:v>20.499999999999996</c:v>
                </c:pt>
                <c:pt idx="15">
                  <c:v>27.125</c:v>
                </c:pt>
                <c:pt idx="16">
                  <c:v>7.3529411764705879</c:v>
                </c:pt>
                <c:pt idx="17">
                  <c:v>6.5294117647058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ROSE 1ERE CU 1CT X 750ML</c:v>
                </c:pt>
                <c:pt idx="12">
                  <c:v>CHAMPAGNE NICOLAS BLC DE NOIRS 1CT X 750ML</c:v>
                </c:pt>
                <c:pt idx="13">
                  <c:v>MG CHAMPAGNE NICOLAS 1ERE CUVE 1CT X 1500ML</c:v>
                </c:pt>
                <c:pt idx="14">
                  <c:v>CHAMPAGNE NICOLAS ROSE 1ERE ET 1CT X 750ML</c:v>
                </c:pt>
                <c:pt idx="15">
                  <c:v>CHAMPAGNE NICOLAS 1ER CRU ETUI 1CT X 750ML</c:v>
                </c:pt>
                <c:pt idx="16">
                  <c:v>CHAMPAGNE NICOLAS ROSE 1E C BS 1CT X 750ML</c:v>
                </c:pt>
                <c:pt idx="17">
                  <c:v>CHAMPAGNE NICOLAS 1ERE CUV ETU 1CT X 750ML</c:v>
                </c:pt>
                <c:pt idx="18">
                  <c:v>CHAMPAGNE NICOLAS BLC/BL BS ET 1CT X 750ML</c:v>
                </c:pt>
                <c:pt idx="19">
                  <c:v>MG CHAMPAGNE NICOLAS 1E CRU BS 1CT X 1500ML</c:v>
                </c:pt>
              </c:strCache>
            </c:strRef>
          </c:cat>
          <c:val>
            <c:numRef>
              <c:f>Sheet1!$B$2:$B$21</c:f>
              <c:numCache>
                <c:formatCode>General</c:formatCode>
                <c:ptCount val="20"/>
                <c:pt idx="0">
                  <c:v>1</c:v>
                </c:pt>
                <c:pt idx="1">
                  <c:v>0.55000000000000004</c:v>
                </c:pt>
                <c:pt idx="2">
                  <c:v>0.75</c:v>
                </c:pt>
                <c:pt idx="3">
                  <c:v>0.75</c:v>
                </c:pt>
                <c:pt idx="4">
                  <c:v>0.46</c:v>
                </c:pt>
                <c:pt idx="5">
                  <c:v>0.61</c:v>
                </c:pt>
                <c:pt idx="6">
                  <c:v>0.4</c:v>
                </c:pt>
                <c:pt idx="7">
                  <c:v>0.35</c:v>
                </c:pt>
                <c:pt idx="8">
                  <c:v>0.56000000000000005</c:v>
                </c:pt>
                <c:pt idx="9">
                  <c:v>0.3</c:v>
                </c:pt>
                <c:pt idx="10">
                  <c:v>0.28000000000000003</c:v>
                </c:pt>
                <c:pt idx="11">
                  <c:v>0.36</c:v>
                </c:pt>
                <c:pt idx="12">
                  <c:v>0.2</c:v>
                </c:pt>
                <c:pt idx="13">
                  <c:v>0.21</c:v>
                </c:pt>
                <c:pt idx="14">
                  <c:v>0.18</c:v>
                </c:pt>
                <c:pt idx="15">
                  <c:v>7.0000000000000007E-2</c:v>
                </c:pt>
                <c:pt idx="16">
                  <c:v>0.24</c:v>
                </c:pt>
                <c:pt idx="17">
                  <c:v>0.12</c:v>
                </c:pt>
                <c:pt idx="18">
                  <c:v>0.13</c:v>
                </c:pt>
                <c:pt idx="19">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ROSE 1ERE CU 1CT X 750ML</c:v>
                </c:pt>
                <c:pt idx="12">
                  <c:v>CHAMPAGNE NICOLAS BLC DE NOIRS 1CT X 750ML</c:v>
                </c:pt>
                <c:pt idx="13">
                  <c:v>MG CHAMPAGNE NICOLAS 1ERE CUVE 1CT X 1500ML</c:v>
                </c:pt>
                <c:pt idx="14">
                  <c:v>CHAMPAGNE NICOLAS ROSE 1ERE ET 1CT X 750ML</c:v>
                </c:pt>
                <c:pt idx="15">
                  <c:v>CHAMPAGNE NICOLAS 1ER CRU ETUI 1CT X 750ML</c:v>
                </c:pt>
                <c:pt idx="16">
                  <c:v>CHAMPAGNE NICOLAS ROSE 1E C BS 1CT X 750ML</c:v>
                </c:pt>
                <c:pt idx="17">
                  <c:v>CHAMPAGNE NICOLAS 1ERE CUV ETU 1CT X 750ML</c:v>
                </c:pt>
                <c:pt idx="18">
                  <c:v>CHAMPAGNE NICOLAS BLC/BL BS ET 1CT X 750ML</c:v>
                </c:pt>
                <c:pt idx="19">
                  <c:v>MG CHAMPAGNE NICOLAS 1E CRU BS 1CT X 1500ML</c:v>
                </c:pt>
              </c:strCache>
            </c:strRef>
          </c:cat>
          <c:val>
            <c:numRef>
              <c:f>Sheet1!$C$2:$C$21</c:f>
              <c:numCache>
                <c:formatCode>General</c:formatCode>
                <c:ptCount val="20"/>
                <c:pt idx="0">
                  <c:v>0.73546662232086324</c:v>
                </c:pt>
                <c:pt idx="1">
                  <c:v>0.7949688833172367</c:v>
                </c:pt>
                <c:pt idx="2">
                  <c:v>0.83906310962154695</c:v>
                </c:pt>
                <c:pt idx="3">
                  <c:v>0.87518148733266388</c:v>
                </c:pt>
                <c:pt idx="4">
                  <c:v>0.90430260894036985</c:v>
                </c:pt>
                <c:pt idx="5">
                  <c:v>0.91846341791016139</c:v>
                </c:pt>
                <c:pt idx="6">
                  <c:v>0.93220208894318413</c:v>
                </c:pt>
                <c:pt idx="7">
                  <c:v>0.94275553736240547</c:v>
                </c:pt>
                <c:pt idx="8">
                  <c:v>0.95247110593743411</c:v>
                </c:pt>
                <c:pt idx="9">
                  <c:v>0.96189245716259353</c:v>
                </c:pt>
                <c:pt idx="10">
                  <c:v>0.97000901840137654</c:v>
                </c:pt>
                <c:pt idx="11">
                  <c:v>0.97587417731072557</c:v>
                </c:pt>
                <c:pt idx="12">
                  <c:v>0.98122765387247601</c:v>
                </c:pt>
                <c:pt idx="13">
                  <c:v>0.98606944808662789</c:v>
                </c:pt>
                <c:pt idx="14">
                  <c:v>0.99022686716086661</c:v>
                </c:pt>
                <c:pt idx="15">
                  <c:v>0.99300274389658905</c:v>
                </c:pt>
                <c:pt idx="16">
                  <c:v>0.9950878494630534</c:v>
                </c:pt>
                <c:pt idx="17">
                  <c:v>0.99705782650130803</c:v>
                </c:pt>
                <c:pt idx="18">
                  <c:v>0.9985417053093440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ROSE 1ERE CU 1CT X 750ML</c:v>
                </c:pt>
                <c:pt idx="12">
                  <c:v>CHAMPAGNE NICOLAS BLC DE NOIRS 1CT X 750ML</c:v>
                </c:pt>
                <c:pt idx="13">
                  <c:v>MG CHAMPAGNE NICOLAS 1ERE CUVE 1CT X 1500ML</c:v>
                </c:pt>
                <c:pt idx="14">
                  <c:v>CHAMPAGNE NICOLAS ROSE 1ERE ET 1CT X 750ML</c:v>
                </c:pt>
                <c:pt idx="15">
                  <c:v>CHAMPAGNE NICOLAS 1ER CRU ETUI 1CT X 750ML</c:v>
                </c:pt>
                <c:pt idx="16">
                  <c:v>CHAMPAGNE NICOLAS ROSE 1E C BS 1CT X 750ML</c:v>
                </c:pt>
                <c:pt idx="17">
                  <c:v>CHAMPAGNE NICOLAS 1ERE CUV ETU 1CT X 750ML</c:v>
                </c:pt>
                <c:pt idx="18">
                  <c:v>CHAMPAGNE NICOLAS BLC/BL BS ET 1CT X 750ML</c:v>
                </c:pt>
                <c:pt idx="19">
                  <c:v>MG CHAMPAGNE NICOLAS 1E CRU BS 1CT X 1500ML</c:v>
                </c:pt>
              </c:strCache>
            </c:strRef>
          </c:cat>
          <c:val>
            <c:numRef>
              <c:f>Sheet1!$D$2:$D$21</c:f>
              <c:numCache>
                <c:formatCode>General</c:formatCode>
                <c:ptCount val="20"/>
                <c:pt idx="0">
                  <c:v>1149.8800000000001</c:v>
                </c:pt>
                <c:pt idx="1">
                  <c:v>169.14545454545453</c:v>
                </c:pt>
                <c:pt idx="2">
                  <c:v>91.92</c:v>
                </c:pt>
                <c:pt idx="3">
                  <c:v>75.293333333333337</c:v>
                </c:pt>
                <c:pt idx="4">
                  <c:v>98.978260869565219</c:v>
                </c:pt>
                <c:pt idx="5">
                  <c:v>36.295081967213115</c:v>
                </c:pt>
                <c:pt idx="6">
                  <c:v>53.7</c:v>
                </c:pt>
                <c:pt idx="7">
                  <c:v>47.142857142857146</c:v>
                </c:pt>
                <c:pt idx="8">
                  <c:v>27.124999999999996</c:v>
                </c:pt>
                <c:pt idx="9">
                  <c:v>49.1</c:v>
                </c:pt>
                <c:pt idx="10">
                  <c:v>45.321428571428562</c:v>
                </c:pt>
                <c:pt idx="11">
                  <c:v>25.472222222222221</c:v>
                </c:pt>
                <c:pt idx="12">
                  <c:v>41.85</c:v>
                </c:pt>
                <c:pt idx="13">
                  <c:v>36.047619047619051</c:v>
                </c:pt>
                <c:pt idx="14">
                  <c:v>36.111111111111114</c:v>
                </c:pt>
                <c:pt idx="15">
                  <c:v>61.999999999999993</c:v>
                </c:pt>
                <c:pt idx="16">
                  <c:v>13.583333333333334</c:v>
                </c:pt>
                <c:pt idx="17">
                  <c:v>25.666666666666668</c:v>
                </c:pt>
                <c:pt idx="18">
                  <c:v>17.846153846153847</c:v>
                </c:pt>
                <c:pt idx="19">
                  <c:v>32.57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ROSE 1ERE CU 1CT X 750ML</c:v>
                </c:pt>
                <c:pt idx="13">
                  <c:v>CHAMPAGNE NICOLAS ROSE 1ERE ET 1CT X 750ML</c:v>
                </c:pt>
                <c:pt idx="14">
                  <c:v>CHAMPAGNE NICOLAS BLC DE NOIRS 1CT X 750ML</c:v>
                </c:pt>
                <c:pt idx="15">
                  <c:v>CHAMPAGNE NICOLAS 1ERE CUV ETU 1CT X 750ML</c:v>
                </c:pt>
                <c:pt idx="16">
                  <c:v>CHAMPAGNE NICOLAS 1ER CRU ETUI 1CT X 750ML</c:v>
                </c:pt>
                <c:pt idx="17">
                  <c:v>CHAMPAGNE NICOLAS BLC/BL BS ET 1CT X 750ML</c:v>
                </c:pt>
                <c:pt idx="18">
                  <c:v>CHAMPAGNE NICOLAS ROSE 1E C BS 1CT X 750ML</c:v>
                </c:pt>
                <c:pt idx="19">
                  <c:v>MG CHAMPAGNE NICOLAS 1E CRU BS 1CT X 1500ML</c:v>
                </c:pt>
                <c:pt idx="20">
                  <c:v>1/2 CHAMPAGNE NICOLAS 1E C BS 1CT X 375ML</c:v>
                </c:pt>
              </c:strCache>
            </c:strRef>
          </c:cat>
          <c:val>
            <c:numRef>
              <c:f>Sheet1!$B$2:$B$22</c:f>
              <c:numCache>
                <c:formatCode>General</c:formatCode>
                <c:ptCount val="21"/>
                <c:pt idx="0">
                  <c:v>1</c:v>
                </c:pt>
                <c:pt idx="1">
                  <c:v>0.65</c:v>
                </c:pt>
                <c:pt idx="2">
                  <c:v>0.71</c:v>
                </c:pt>
                <c:pt idx="3">
                  <c:v>0.87</c:v>
                </c:pt>
                <c:pt idx="4">
                  <c:v>0.4</c:v>
                </c:pt>
                <c:pt idx="5">
                  <c:v>0.45</c:v>
                </c:pt>
                <c:pt idx="6">
                  <c:v>0.35</c:v>
                </c:pt>
                <c:pt idx="7">
                  <c:v>0.43</c:v>
                </c:pt>
                <c:pt idx="8">
                  <c:v>0.28000000000000003</c:v>
                </c:pt>
                <c:pt idx="9">
                  <c:v>0.28000000000000003</c:v>
                </c:pt>
                <c:pt idx="10">
                  <c:v>0.3</c:v>
                </c:pt>
                <c:pt idx="11">
                  <c:v>0.34</c:v>
                </c:pt>
                <c:pt idx="12">
                  <c:v>0.19</c:v>
                </c:pt>
                <c:pt idx="13">
                  <c:v>0.27</c:v>
                </c:pt>
                <c:pt idx="14">
                  <c:v>0.17</c:v>
                </c:pt>
                <c:pt idx="15">
                  <c:v>0.1</c:v>
                </c:pt>
                <c:pt idx="16">
                  <c:v>0.15</c:v>
                </c:pt>
                <c:pt idx="17">
                  <c:v>7.0000000000000007E-2</c:v>
                </c:pt>
                <c:pt idx="18">
                  <c:v>0.12</c:v>
                </c:pt>
                <c:pt idx="19">
                  <c:v>0.11</c:v>
                </c:pt>
                <c:pt idx="20">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ROSE 1ERE CU 1CT X 750ML</c:v>
                </c:pt>
                <c:pt idx="13">
                  <c:v>CHAMPAGNE NICOLAS ROSE 1ERE ET 1CT X 750ML</c:v>
                </c:pt>
                <c:pt idx="14">
                  <c:v>CHAMPAGNE NICOLAS BLC DE NOIRS 1CT X 750ML</c:v>
                </c:pt>
                <c:pt idx="15">
                  <c:v>CHAMPAGNE NICOLAS 1ERE CUV ETU 1CT X 750ML</c:v>
                </c:pt>
                <c:pt idx="16">
                  <c:v>CHAMPAGNE NICOLAS 1ER CRU ETUI 1CT X 750ML</c:v>
                </c:pt>
                <c:pt idx="17">
                  <c:v>CHAMPAGNE NICOLAS BLC/BL BS ET 1CT X 750ML</c:v>
                </c:pt>
                <c:pt idx="18">
                  <c:v>CHAMPAGNE NICOLAS ROSE 1E C BS 1CT X 750ML</c:v>
                </c:pt>
                <c:pt idx="19">
                  <c:v>MG CHAMPAGNE NICOLAS 1E CRU BS 1CT X 1500ML</c:v>
                </c:pt>
                <c:pt idx="20">
                  <c:v>1/2 CHAMPAGNE NICOLAS 1E C BS 1CT X 375ML</c:v>
                </c:pt>
              </c:strCache>
            </c:strRef>
          </c:cat>
          <c:val>
            <c:numRef>
              <c:f>Sheet1!$C$2:$C$22</c:f>
              <c:numCache>
                <c:formatCode>General</c:formatCode>
                <c:ptCount val="21"/>
                <c:pt idx="0">
                  <c:v>0.69154610084350465</c:v>
                </c:pt>
                <c:pt idx="1">
                  <c:v>0.78559656516635956</c:v>
                </c:pt>
                <c:pt idx="2">
                  <c:v>0.83802521391691454</c:v>
                </c:pt>
                <c:pt idx="3">
                  <c:v>0.88633060273789332</c:v>
                </c:pt>
                <c:pt idx="4">
                  <c:v>0.90355342297470709</c:v>
                </c:pt>
                <c:pt idx="5">
                  <c:v>0.92058771657757266</c:v>
                </c:pt>
                <c:pt idx="6">
                  <c:v>0.93487317022738747</c:v>
                </c:pt>
                <c:pt idx="7">
                  <c:v>0.94900658626917955</c:v>
                </c:pt>
                <c:pt idx="8">
                  <c:v>0.95744163276228011</c:v>
                </c:pt>
                <c:pt idx="9">
                  <c:v>0.96467254139984071</c:v>
                </c:pt>
                <c:pt idx="10">
                  <c:v>0.971125017484325</c:v>
                </c:pt>
                <c:pt idx="11">
                  <c:v>0.97751059702127929</c:v>
                </c:pt>
                <c:pt idx="12">
                  <c:v>0.98329410763046354</c:v>
                </c:pt>
                <c:pt idx="13">
                  <c:v>0.98845122329459423</c:v>
                </c:pt>
                <c:pt idx="14">
                  <c:v>0.99114532970875679</c:v>
                </c:pt>
                <c:pt idx="15">
                  <c:v>0.99360833895872491</c:v>
                </c:pt>
                <c:pt idx="16">
                  <c:v>0.99602877767844666</c:v>
                </c:pt>
                <c:pt idx="17">
                  <c:v>0.99816338569508567</c:v>
                </c:pt>
                <c:pt idx="18">
                  <c:v>0.999410094080872</c:v>
                </c:pt>
                <c:pt idx="19">
                  <c:v>0.99987228840926112</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ROSE 1ERE CU 1CT X 750ML</c:v>
                </c:pt>
                <c:pt idx="13">
                  <c:v>CHAMPAGNE NICOLAS ROSE 1ERE ET 1CT X 750ML</c:v>
                </c:pt>
                <c:pt idx="14">
                  <c:v>CHAMPAGNE NICOLAS BLC DE NOIRS 1CT X 750ML</c:v>
                </c:pt>
                <c:pt idx="15">
                  <c:v>CHAMPAGNE NICOLAS 1ERE CUV ETU 1CT X 750ML</c:v>
                </c:pt>
                <c:pt idx="16">
                  <c:v>CHAMPAGNE NICOLAS 1ER CRU ETUI 1CT X 750ML</c:v>
                </c:pt>
                <c:pt idx="17">
                  <c:v>CHAMPAGNE NICOLAS BLC/BL BS ET 1CT X 750ML</c:v>
                </c:pt>
                <c:pt idx="18">
                  <c:v>CHAMPAGNE NICOLAS ROSE 1E C BS 1CT X 750ML</c:v>
                </c:pt>
                <c:pt idx="19">
                  <c:v>MG CHAMPAGNE NICOLAS 1E CRU BS 1CT X 1500ML</c:v>
                </c:pt>
                <c:pt idx="20">
                  <c:v>1/2 CHAMPAGNE NICOLAS 1E C BS 1CT X 375ML</c:v>
                </c:pt>
              </c:strCache>
            </c:strRef>
          </c:cat>
          <c:val>
            <c:numRef>
              <c:f>Sheet1!$D$2:$D$22</c:f>
              <c:numCache>
                <c:formatCode>General</c:formatCode>
                <c:ptCount val="21"/>
                <c:pt idx="0">
                  <c:v>1137.1300000000001</c:v>
                </c:pt>
                <c:pt idx="1">
                  <c:v>237.92307692307693</c:v>
                </c:pt>
                <c:pt idx="2">
                  <c:v>121.4225352112676</c:v>
                </c:pt>
                <c:pt idx="3">
                  <c:v>91.298850574712645</c:v>
                </c:pt>
                <c:pt idx="4">
                  <c:v>70.8</c:v>
                </c:pt>
                <c:pt idx="5">
                  <c:v>62.244444444444447</c:v>
                </c:pt>
                <c:pt idx="6">
                  <c:v>67.114285714285714</c:v>
                </c:pt>
                <c:pt idx="7">
                  <c:v>54.046511627906973</c:v>
                </c:pt>
                <c:pt idx="8">
                  <c:v>49.535714285714278</c:v>
                </c:pt>
                <c:pt idx="9">
                  <c:v>42.464285714285708</c:v>
                </c:pt>
                <c:pt idx="10">
                  <c:v>35.366666666666667</c:v>
                </c:pt>
                <c:pt idx="11">
                  <c:v>30.882352941176471</c:v>
                </c:pt>
                <c:pt idx="12">
                  <c:v>50.05263157894737</c:v>
                </c:pt>
                <c:pt idx="13">
                  <c:v>31.407407407407408</c:v>
                </c:pt>
                <c:pt idx="14">
                  <c:v>26.058823529411764</c:v>
                </c:pt>
                <c:pt idx="15">
                  <c:v>40.5</c:v>
                </c:pt>
                <c:pt idx="16">
                  <c:v>26.533333333333335</c:v>
                </c:pt>
                <c:pt idx="17">
                  <c:v>50.142857142857139</c:v>
                </c:pt>
                <c:pt idx="18">
                  <c:v>17.083333333333332</c:v>
                </c:pt>
                <c:pt idx="19">
                  <c:v>6.9090909090909092</c:v>
                </c:pt>
                <c:pt idx="20">
                  <c:v>1.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1/2 CHAMP NICOLAS BLC/BLC BS 1CT X 375ML</c:v>
                </c:pt>
                <c:pt idx="7">
                  <c:v>MG CHAMPAGNE NICOLAS 1ERE CUVE 1CT X 1500ML</c:v>
                </c:pt>
                <c:pt idx="8">
                  <c:v>CHAMPAGNE NICOLAS ROSE 1ERE CU 1CT X 750ML</c:v>
                </c:pt>
                <c:pt idx="9">
                  <c:v>MG CHAMPAGNE E.NICOLAS BRUT 1CT X 1500ML</c:v>
                </c:pt>
                <c:pt idx="10">
                  <c:v>MG CHAMPAGNE NICOLAS BLC/BL BS 1CT X 1500ML</c:v>
                </c:pt>
                <c:pt idx="11">
                  <c:v>1/2 CHAMP NICOLAS ROSE 1E C BS 1CT X 375ML</c:v>
                </c:pt>
                <c:pt idx="12">
                  <c:v>CHAMPAGNE NICOLAS BLC DE NOIRS 1CT X 750ML</c:v>
                </c:pt>
                <c:pt idx="13">
                  <c:v>CHAMPAGNE NICOLAS 1ER CRU ETUI 1CT X 750ML</c:v>
                </c:pt>
                <c:pt idx="14">
                  <c:v>CHAMPAGNE NICOLAS 1ER CRU BS 1CT X 750ML</c:v>
                </c:pt>
                <c:pt idx="15">
                  <c:v>CHAMPAGNE NICOLAS ROSE 1E C BS 1CT X 750ML</c:v>
                </c:pt>
                <c:pt idx="16">
                  <c:v>CHAMPAGNE NICOLAS 1ERE CUV ETU 1CT X 750ML</c:v>
                </c:pt>
                <c:pt idx="17">
                  <c:v>MG CHAMPAGNE NICOLAS 1E CRU BS 1CT X 1500ML</c:v>
                </c:pt>
                <c:pt idx="18">
                  <c:v>MG CHAMPAGNE NICOLAS BRUT 1CT X 1500ML</c:v>
                </c:pt>
              </c:strCache>
            </c:strRef>
          </c:cat>
          <c:val>
            <c:numRef>
              <c:f>Sheet1!$B$2:$B$20</c:f>
              <c:numCache>
                <c:formatCode>General</c:formatCode>
                <c:ptCount val="19"/>
                <c:pt idx="0">
                  <c:v>1</c:v>
                </c:pt>
                <c:pt idx="1">
                  <c:v>0.63</c:v>
                </c:pt>
                <c:pt idx="2">
                  <c:v>0.79</c:v>
                </c:pt>
                <c:pt idx="3">
                  <c:v>0.56000000000000005</c:v>
                </c:pt>
                <c:pt idx="4">
                  <c:v>0.56999999999999995</c:v>
                </c:pt>
                <c:pt idx="5">
                  <c:v>0.23</c:v>
                </c:pt>
                <c:pt idx="6">
                  <c:v>0.26</c:v>
                </c:pt>
                <c:pt idx="7">
                  <c:v>0.15</c:v>
                </c:pt>
                <c:pt idx="8">
                  <c:v>0.28000000000000003</c:v>
                </c:pt>
                <c:pt idx="9">
                  <c:v>0.32</c:v>
                </c:pt>
                <c:pt idx="10">
                  <c:v>0.18</c:v>
                </c:pt>
                <c:pt idx="11">
                  <c:v>0.31</c:v>
                </c:pt>
                <c:pt idx="12">
                  <c:v>0.26</c:v>
                </c:pt>
                <c:pt idx="13">
                  <c:v>0.27</c:v>
                </c:pt>
                <c:pt idx="14">
                  <c:v>0.44</c:v>
                </c:pt>
                <c:pt idx="15">
                  <c:v>0.11</c:v>
                </c:pt>
                <c:pt idx="16">
                  <c:v>0.11</c:v>
                </c:pt>
                <c:pt idx="17">
                  <c:v>0.06</c:v>
                </c:pt>
                <c:pt idx="18">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1/2 CHAMP NICOLAS BLC/BLC BS 1CT X 375ML</c:v>
                </c:pt>
                <c:pt idx="7">
                  <c:v>MG CHAMPAGNE NICOLAS 1ERE CUVE 1CT X 1500ML</c:v>
                </c:pt>
                <c:pt idx="8">
                  <c:v>CHAMPAGNE NICOLAS ROSE 1ERE CU 1CT X 750ML</c:v>
                </c:pt>
                <c:pt idx="9">
                  <c:v>MG CHAMPAGNE E.NICOLAS BRUT 1CT X 1500ML</c:v>
                </c:pt>
                <c:pt idx="10">
                  <c:v>MG CHAMPAGNE NICOLAS BLC/BL BS 1CT X 1500ML</c:v>
                </c:pt>
                <c:pt idx="11">
                  <c:v>1/2 CHAMP NICOLAS ROSE 1E C BS 1CT X 375ML</c:v>
                </c:pt>
                <c:pt idx="12">
                  <c:v>CHAMPAGNE NICOLAS BLC DE NOIRS 1CT X 750ML</c:v>
                </c:pt>
                <c:pt idx="13">
                  <c:v>CHAMPAGNE NICOLAS 1ER CRU ETUI 1CT X 750ML</c:v>
                </c:pt>
                <c:pt idx="14">
                  <c:v>CHAMPAGNE NICOLAS 1ER CRU BS 1CT X 750ML</c:v>
                </c:pt>
                <c:pt idx="15">
                  <c:v>CHAMPAGNE NICOLAS ROSE 1E C BS 1CT X 750ML</c:v>
                </c:pt>
                <c:pt idx="16">
                  <c:v>CHAMPAGNE NICOLAS 1ERE CUV ETU 1CT X 750ML</c:v>
                </c:pt>
                <c:pt idx="17">
                  <c:v>MG CHAMPAGNE NICOLAS 1E CRU BS 1CT X 1500ML</c:v>
                </c:pt>
                <c:pt idx="18">
                  <c:v>MG CHAMPAGNE NICOLAS BRUT 1CT X 1500ML</c:v>
                </c:pt>
              </c:strCache>
            </c:strRef>
          </c:cat>
          <c:val>
            <c:numRef>
              <c:f>Sheet1!$C$2:$C$20</c:f>
              <c:numCache>
                <c:formatCode>General</c:formatCode>
                <c:ptCount val="19"/>
                <c:pt idx="0">
                  <c:v>0.7376241945904416</c:v>
                </c:pt>
                <c:pt idx="1">
                  <c:v>0.80665805234943866</c:v>
                </c:pt>
                <c:pt idx="2">
                  <c:v>0.86930974872967925</c:v>
                </c:pt>
                <c:pt idx="3">
                  <c:v>0.90397073460336308</c:v>
                </c:pt>
                <c:pt idx="4">
                  <c:v>0.92278545111665999</c:v>
                </c:pt>
                <c:pt idx="5">
                  <c:v>0.93649269238156774</c:v>
                </c:pt>
                <c:pt idx="6">
                  <c:v>0.9452670729364927</c:v>
                </c:pt>
                <c:pt idx="7">
                  <c:v>0.95377080095688771</c:v>
                </c:pt>
                <c:pt idx="8">
                  <c:v>0.9620911837119559</c:v>
                </c:pt>
                <c:pt idx="9">
                  <c:v>0.97036791283242252</c:v>
                </c:pt>
                <c:pt idx="10">
                  <c:v>0.9786271804990484</c:v>
                </c:pt>
                <c:pt idx="11">
                  <c:v>0.98442438317414316</c:v>
                </c:pt>
                <c:pt idx="12">
                  <c:v>0.99009935567235341</c:v>
                </c:pt>
                <c:pt idx="13">
                  <c:v>0.99338210899439505</c:v>
                </c:pt>
                <c:pt idx="14">
                  <c:v>0.99621959524350012</c:v>
                </c:pt>
                <c:pt idx="15">
                  <c:v>0.99801812498908671</c:v>
                </c:pt>
                <c:pt idx="16">
                  <c:v>0.99897850495032225</c:v>
                </c:pt>
                <c:pt idx="17">
                  <c:v>0.99964204019626679</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1/2 CHAMP NICOLAS BLC/BLC BS 1CT X 375ML</c:v>
                </c:pt>
                <c:pt idx="7">
                  <c:v>MG CHAMPAGNE NICOLAS 1ERE CUVE 1CT X 1500ML</c:v>
                </c:pt>
                <c:pt idx="8">
                  <c:v>CHAMPAGNE NICOLAS ROSE 1ERE CU 1CT X 750ML</c:v>
                </c:pt>
                <c:pt idx="9">
                  <c:v>MG CHAMPAGNE E.NICOLAS BRUT 1CT X 1500ML</c:v>
                </c:pt>
                <c:pt idx="10">
                  <c:v>MG CHAMPAGNE NICOLAS BLC/BL BS 1CT X 1500ML</c:v>
                </c:pt>
                <c:pt idx="11">
                  <c:v>1/2 CHAMP NICOLAS ROSE 1E C BS 1CT X 375ML</c:v>
                </c:pt>
                <c:pt idx="12">
                  <c:v>CHAMPAGNE NICOLAS BLC DE NOIRS 1CT X 750ML</c:v>
                </c:pt>
                <c:pt idx="13">
                  <c:v>CHAMPAGNE NICOLAS 1ER CRU ETUI 1CT X 750ML</c:v>
                </c:pt>
                <c:pt idx="14">
                  <c:v>CHAMPAGNE NICOLAS 1ER CRU BS 1CT X 750ML</c:v>
                </c:pt>
                <c:pt idx="15">
                  <c:v>CHAMPAGNE NICOLAS ROSE 1E C BS 1CT X 750ML</c:v>
                </c:pt>
                <c:pt idx="16">
                  <c:v>CHAMPAGNE NICOLAS 1ERE CUV ETU 1CT X 750ML</c:v>
                </c:pt>
                <c:pt idx="17">
                  <c:v>MG CHAMPAGNE NICOLAS 1E CRU BS 1CT X 1500ML</c:v>
                </c:pt>
                <c:pt idx="18">
                  <c:v>MG CHAMPAGNE NICOLAS BRUT 1CT X 1500ML</c:v>
                </c:pt>
              </c:strCache>
            </c:strRef>
          </c:cat>
          <c:val>
            <c:numRef>
              <c:f>Sheet1!$D$2:$D$20</c:f>
              <c:numCache>
                <c:formatCode>General</c:formatCode>
                <c:ptCount val="19"/>
                <c:pt idx="0">
                  <c:v>844.86</c:v>
                </c:pt>
                <c:pt idx="1">
                  <c:v>125.50793650793651</c:v>
                </c:pt>
                <c:pt idx="2">
                  <c:v>90.835443037974684</c:v>
                </c:pt>
                <c:pt idx="3">
                  <c:v>70.892857142857139</c:v>
                </c:pt>
                <c:pt idx="4">
                  <c:v>37.807017543859651</c:v>
                </c:pt>
                <c:pt idx="5">
                  <c:v>68.260869565217391</c:v>
                </c:pt>
                <c:pt idx="6">
                  <c:v>38.653846153846153</c:v>
                </c:pt>
                <c:pt idx="7">
                  <c:v>64.933333333333337</c:v>
                </c:pt>
                <c:pt idx="8">
                  <c:v>34.035714285714285</c:v>
                </c:pt>
                <c:pt idx="9">
                  <c:v>29.625</c:v>
                </c:pt>
                <c:pt idx="10">
                  <c:v>52.555555555555557</c:v>
                </c:pt>
                <c:pt idx="11">
                  <c:v>21.419354838709676</c:v>
                </c:pt>
                <c:pt idx="12">
                  <c:v>25</c:v>
                </c:pt>
                <c:pt idx="13">
                  <c:v>13.925925925925926</c:v>
                </c:pt>
                <c:pt idx="14">
                  <c:v>7.3863636363636367</c:v>
                </c:pt>
                <c:pt idx="15">
                  <c:v>18.727272727272727</c:v>
                </c:pt>
                <c:pt idx="16">
                  <c:v>10</c:v>
                </c:pt>
                <c:pt idx="17">
                  <c:v>12.666666666666666</c:v>
                </c:pt>
                <c:pt idx="18">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MG CHAMPAGNE NICOLAS BLC/BL BS 1CT X 1500ML</c:v>
                </c:pt>
                <c:pt idx="17">
                  <c:v>CHAMPAGNE NICOLAS 1ERE CUV ETU 1CT X 750ML</c:v>
                </c:pt>
                <c:pt idx="18">
                  <c:v>CHAMPAGNE NICOLAS BLC DE NOIRS 1CT X 750ML</c:v>
                </c:pt>
              </c:strCache>
            </c:strRef>
          </c:cat>
          <c:val>
            <c:numRef>
              <c:f>Sheet1!$B$2:$B$20</c:f>
              <c:numCache>
                <c:formatCode>General</c:formatCode>
                <c:ptCount val="19"/>
                <c:pt idx="0">
                  <c:v>1</c:v>
                </c:pt>
                <c:pt idx="1">
                  <c:v>0.76</c:v>
                </c:pt>
                <c:pt idx="2">
                  <c:v>0.56000000000000005</c:v>
                </c:pt>
                <c:pt idx="3">
                  <c:v>0.51</c:v>
                </c:pt>
                <c:pt idx="4">
                  <c:v>0.49</c:v>
                </c:pt>
                <c:pt idx="5">
                  <c:v>0.85</c:v>
                </c:pt>
                <c:pt idx="6">
                  <c:v>0.46</c:v>
                </c:pt>
                <c:pt idx="7">
                  <c:v>0.4</c:v>
                </c:pt>
                <c:pt idx="8">
                  <c:v>0.62</c:v>
                </c:pt>
                <c:pt idx="9">
                  <c:v>0.38</c:v>
                </c:pt>
                <c:pt idx="10">
                  <c:v>0.62</c:v>
                </c:pt>
                <c:pt idx="11">
                  <c:v>0.24</c:v>
                </c:pt>
                <c:pt idx="12">
                  <c:v>0.26</c:v>
                </c:pt>
                <c:pt idx="13">
                  <c:v>0.48</c:v>
                </c:pt>
                <c:pt idx="14">
                  <c:v>0.14000000000000001</c:v>
                </c:pt>
                <c:pt idx="15">
                  <c:v>0.11</c:v>
                </c:pt>
                <c:pt idx="16">
                  <c:v>0.35</c:v>
                </c:pt>
                <c:pt idx="17">
                  <c:v>0.66</c:v>
                </c:pt>
                <c:pt idx="18">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MG CHAMPAGNE NICOLAS BLC/BL BS 1CT X 1500ML</c:v>
                </c:pt>
                <c:pt idx="17">
                  <c:v>CHAMPAGNE NICOLAS 1ERE CUV ETU 1CT X 750ML</c:v>
                </c:pt>
                <c:pt idx="18">
                  <c:v>CHAMPAGNE NICOLAS BLC DE NOIRS 1CT X 750ML</c:v>
                </c:pt>
              </c:strCache>
            </c:strRef>
          </c:cat>
          <c:val>
            <c:numRef>
              <c:f>Sheet1!$C$2:$C$20</c:f>
              <c:numCache>
                <c:formatCode>General</c:formatCode>
                <c:ptCount val="19"/>
                <c:pt idx="0">
                  <c:v>0.7604624166776367</c:v>
                </c:pt>
                <c:pt idx="1">
                  <c:v>0.80477734828448677</c:v>
                </c:pt>
                <c:pt idx="2">
                  <c:v>0.84720144565048283</c:v>
                </c:pt>
                <c:pt idx="3">
                  <c:v>0.88163138306147604</c:v>
                </c:pt>
                <c:pt idx="4">
                  <c:v>0.90423762281447084</c:v>
                </c:pt>
                <c:pt idx="5">
                  <c:v>0.92312203061236697</c:v>
                </c:pt>
                <c:pt idx="6">
                  <c:v>0.93766230657842775</c:v>
                </c:pt>
                <c:pt idx="7">
                  <c:v>0.94583597611325865</c:v>
                </c:pt>
                <c:pt idx="8">
                  <c:v>0.953195868886203</c:v>
                </c:pt>
                <c:pt idx="9">
                  <c:v>0.96043608860592866</c:v>
                </c:pt>
                <c:pt idx="10">
                  <c:v>0.96734122377664222</c:v>
                </c:pt>
                <c:pt idx="11">
                  <c:v>0.97315733416306649</c:v>
                </c:pt>
                <c:pt idx="12">
                  <c:v>0.97887770610691593</c:v>
                </c:pt>
                <c:pt idx="13">
                  <c:v>0.9844425030815811</c:v>
                </c:pt>
                <c:pt idx="14">
                  <c:v>0.98883450413470397</c:v>
                </c:pt>
                <c:pt idx="15">
                  <c:v>0.99303502830267709</c:v>
                </c:pt>
                <c:pt idx="16">
                  <c:v>0.99612259307571716</c:v>
                </c:pt>
                <c:pt idx="17">
                  <c:v>0.99871949833056095</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MG CHAMPAGNE NICOLAS BLC/BL BS 1CT X 1500ML</c:v>
                </c:pt>
                <c:pt idx="17">
                  <c:v>CHAMPAGNE NICOLAS 1ERE CUV ETU 1CT X 750ML</c:v>
                </c:pt>
                <c:pt idx="18">
                  <c:v>CHAMPAGNE NICOLAS BLC DE NOIRS 1CT X 750ML</c:v>
                </c:pt>
              </c:strCache>
            </c:strRef>
          </c:cat>
          <c:val>
            <c:numRef>
              <c:f>Sheet1!$D$2:$D$20</c:f>
              <c:numCache>
                <c:formatCode>General</c:formatCode>
                <c:ptCount val="19"/>
                <c:pt idx="0">
                  <c:v>635.45000000000005</c:v>
                </c:pt>
                <c:pt idx="1">
                  <c:v>48.723684210526315</c:v>
                </c:pt>
                <c:pt idx="2">
                  <c:v>63.303571428571423</c:v>
                </c:pt>
                <c:pt idx="3">
                  <c:v>56.411764705882355</c:v>
                </c:pt>
                <c:pt idx="4">
                  <c:v>38.551020408163268</c:v>
                </c:pt>
                <c:pt idx="5">
                  <c:v>18.564705882352943</c:v>
                </c:pt>
                <c:pt idx="6">
                  <c:v>26.413043478260871</c:v>
                </c:pt>
                <c:pt idx="7">
                  <c:v>17.074999999999999</c:v>
                </c:pt>
                <c:pt idx="8">
                  <c:v>9.9193548387096779</c:v>
                </c:pt>
                <c:pt idx="9">
                  <c:v>15.921052631578947</c:v>
                </c:pt>
                <c:pt idx="10">
                  <c:v>9.306451612903226</c:v>
                </c:pt>
                <c:pt idx="11">
                  <c:v>20.25</c:v>
                </c:pt>
                <c:pt idx="12">
                  <c:v>18.384615384615383</c:v>
                </c:pt>
                <c:pt idx="13">
                  <c:v>9.6875</c:v>
                </c:pt>
                <c:pt idx="14">
                  <c:v>26.214285714285712</c:v>
                </c:pt>
                <c:pt idx="15">
                  <c:v>31.90909090909091</c:v>
                </c:pt>
                <c:pt idx="16">
                  <c:v>7.371428571428571</c:v>
                </c:pt>
                <c:pt idx="17">
                  <c:v>3.2878787878787881</c:v>
                </c:pt>
                <c:pt idx="18">
                  <c:v>15.2857142857142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B$2:$B$21</c:f>
              <c:numCache>
                <c:formatCode>General</c:formatCode>
                <c:ptCount val="20"/>
                <c:pt idx="0">
                  <c:v>1</c:v>
                </c:pt>
                <c:pt idx="1">
                  <c:v>0.69</c:v>
                </c:pt>
                <c:pt idx="2">
                  <c:v>0.69</c:v>
                </c:pt>
                <c:pt idx="3">
                  <c:v>0.6</c:v>
                </c:pt>
                <c:pt idx="4">
                  <c:v>0.63</c:v>
                </c:pt>
                <c:pt idx="5">
                  <c:v>0.49</c:v>
                </c:pt>
                <c:pt idx="6">
                  <c:v>0.35</c:v>
                </c:pt>
                <c:pt idx="7">
                  <c:v>0.34</c:v>
                </c:pt>
                <c:pt idx="8">
                  <c:v>0.41</c:v>
                </c:pt>
                <c:pt idx="9">
                  <c:v>0.51</c:v>
                </c:pt>
                <c:pt idx="10">
                  <c:v>0.25</c:v>
                </c:pt>
                <c:pt idx="11">
                  <c:v>0.48</c:v>
                </c:pt>
                <c:pt idx="12">
                  <c:v>0.39</c:v>
                </c:pt>
                <c:pt idx="13">
                  <c:v>0.44</c:v>
                </c:pt>
                <c:pt idx="14">
                  <c:v>0.46</c:v>
                </c:pt>
                <c:pt idx="15">
                  <c:v>0.11</c:v>
                </c:pt>
                <c:pt idx="16">
                  <c:v>0.28000000000000003</c:v>
                </c:pt>
                <c:pt idx="17">
                  <c:v>0.28000000000000003</c:v>
                </c:pt>
                <c:pt idx="18">
                  <c:v>0.09</c:v>
                </c:pt>
                <c:pt idx="19">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C$2:$C$21</c:f>
              <c:numCache>
                <c:formatCode>General</c:formatCode>
                <c:ptCount val="20"/>
                <c:pt idx="0">
                  <c:v>0.70446086628189231</c:v>
                </c:pt>
                <c:pt idx="1">
                  <c:v>0.77817933365697545</c:v>
                </c:pt>
                <c:pt idx="2">
                  <c:v>0.83167017278889555</c:v>
                </c:pt>
                <c:pt idx="3">
                  <c:v>0.87471456569034656</c:v>
                </c:pt>
                <c:pt idx="4">
                  <c:v>0.89515795530143671</c:v>
                </c:pt>
                <c:pt idx="5">
                  <c:v>0.91107035618605836</c:v>
                </c:pt>
                <c:pt idx="6">
                  <c:v>0.92653325422083188</c:v>
                </c:pt>
                <c:pt idx="7">
                  <c:v>0.93879569196468715</c:v>
                </c:pt>
                <c:pt idx="8">
                  <c:v>0.94956578024704685</c:v>
                </c:pt>
                <c:pt idx="9">
                  <c:v>0.95904130032184409</c:v>
                </c:pt>
                <c:pt idx="10">
                  <c:v>0.96817519823075682</c:v>
                </c:pt>
                <c:pt idx="11">
                  <c:v>0.97538522394231986</c:v>
                </c:pt>
                <c:pt idx="12">
                  <c:v>0.98203786612007127</c:v>
                </c:pt>
                <c:pt idx="13">
                  <c:v>0.98779150259812654</c:v>
                </c:pt>
                <c:pt idx="14">
                  <c:v>0.99221461064063154</c:v>
                </c:pt>
                <c:pt idx="15">
                  <c:v>0.99494758796770777</c:v>
                </c:pt>
                <c:pt idx="16">
                  <c:v>0.99760864483880829</c:v>
                </c:pt>
                <c:pt idx="17">
                  <c:v>0.99888523293237685</c:v>
                </c:pt>
                <c:pt idx="18">
                  <c:v>0.99962241760612769</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D$2:$D$21</c:f>
              <c:numCache>
                <c:formatCode>General</c:formatCode>
                <c:ptCount val="20"/>
                <c:pt idx="0">
                  <c:v>391.8</c:v>
                </c:pt>
                <c:pt idx="1">
                  <c:v>59.420289855072461</c:v>
                </c:pt>
                <c:pt idx="2">
                  <c:v>43.115942028985508</c:v>
                </c:pt>
                <c:pt idx="3">
                  <c:v>39.9</c:v>
                </c:pt>
                <c:pt idx="4">
                  <c:v>18.047619047619047</c:v>
                </c:pt>
                <c:pt idx="5">
                  <c:v>18.061224489795919</c:v>
                </c:pt>
                <c:pt idx="6">
                  <c:v>24.571428571428573</c:v>
                </c:pt>
                <c:pt idx="7">
                  <c:v>20.058823529411764</c:v>
                </c:pt>
                <c:pt idx="8">
                  <c:v>14.609756097560975</c:v>
                </c:pt>
                <c:pt idx="9">
                  <c:v>10.333333333333334</c:v>
                </c:pt>
                <c:pt idx="10">
                  <c:v>20.32</c:v>
                </c:pt>
                <c:pt idx="11">
                  <c:v>8.3541666666666661</c:v>
                </c:pt>
                <c:pt idx="12">
                  <c:v>9.4871794871794872</c:v>
                </c:pt>
                <c:pt idx="13">
                  <c:v>7.2727272727272725</c:v>
                </c:pt>
                <c:pt idx="14">
                  <c:v>5.3478260869565215</c:v>
                </c:pt>
                <c:pt idx="15">
                  <c:v>13.818181818181818</c:v>
                </c:pt>
                <c:pt idx="16">
                  <c:v>5.2857142857142847</c:v>
                </c:pt>
                <c:pt idx="17">
                  <c:v>2.5357142857142856</c:v>
                </c:pt>
                <c:pt idx="18">
                  <c:v>4.5555555555555554</c:v>
                </c:pt>
                <c:pt idx="19">
                  <c:v>1.61538461538461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B$2:$B$4</c:f>
              <c:numCache>
                <c:formatCode>General</c:formatCode>
                <c:ptCount val="3"/>
                <c:pt idx="0">
                  <c:v>0.48969240837696337</c:v>
                </c:pt>
                <c:pt idx="1">
                  <c:v>0.30759162303664922</c:v>
                </c:pt>
                <c:pt idx="2">
                  <c:v>0.2027159685863874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C$2:$C$4</c:f>
              <c:numCache>
                <c:formatCode>General</c:formatCode>
                <c:ptCount val="3"/>
                <c:pt idx="0">
                  <c:v>0.24752475247524755</c:v>
                </c:pt>
                <c:pt idx="1">
                  <c:v>0.26732673267326734</c:v>
                </c:pt>
                <c:pt idx="2">
                  <c:v>0.4851485148514851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D$2:$D$4</c:f>
              <c:numCache>
                <c:formatCode>General</c:formatCode>
                <c:ptCount val="3"/>
                <c:pt idx="0">
                  <c:v>50.546985871323521</c:v>
                </c:pt>
                <c:pt idx="1">
                  <c:v>86.909627132926062</c:v>
                </c:pt>
                <c:pt idx="2">
                  <c:v>239.324271410191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ROSE 1ERE ET 1CT X 750ML</c:v>
                </c:pt>
                <c:pt idx="14">
                  <c:v>MG CHAMPAGNE NICOLAS BLC/BL BS 1CT X 1500ML</c:v>
                </c:pt>
                <c:pt idx="15">
                  <c:v>CHAMPAGNE NICOLAS 1ERE CUV ETU 1CT X 750ML</c:v>
                </c:pt>
                <c:pt idx="16">
                  <c:v>CHAMPAGNE NICOLAS ROSE 1E C BS 1CT X 750ML</c:v>
                </c:pt>
              </c:strCache>
            </c:strRef>
          </c:cat>
          <c:val>
            <c:numRef>
              <c:f>Sheet1!$B$2:$B$18</c:f>
              <c:numCache>
                <c:formatCode>General</c:formatCode>
                <c:ptCount val="17"/>
                <c:pt idx="0">
                  <c:v>1</c:v>
                </c:pt>
                <c:pt idx="1">
                  <c:v>0.8</c:v>
                </c:pt>
                <c:pt idx="2">
                  <c:v>0.56000000000000005</c:v>
                </c:pt>
                <c:pt idx="3">
                  <c:v>0.73</c:v>
                </c:pt>
                <c:pt idx="4">
                  <c:v>0.64</c:v>
                </c:pt>
                <c:pt idx="5">
                  <c:v>0.52</c:v>
                </c:pt>
                <c:pt idx="6">
                  <c:v>0.3</c:v>
                </c:pt>
                <c:pt idx="7">
                  <c:v>0.53</c:v>
                </c:pt>
                <c:pt idx="8">
                  <c:v>0.51</c:v>
                </c:pt>
                <c:pt idx="9">
                  <c:v>0.64</c:v>
                </c:pt>
                <c:pt idx="10">
                  <c:v>0.63</c:v>
                </c:pt>
                <c:pt idx="11">
                  <c:v>0.62</c:v>
                </c:pt>
                <c:pt idx="12">
                  <c:v>0.34</c:v>
                </c:pt>
                <c:pt idx="13">
                  <c:v>0.38</c:v>
                </c:pt>
                <c:pt idx="14">
                  <c:v>0.11</c:v>
                </c:pt>
                <c:pt idx="15">
                  <c:v>0.11</c:v>
                </c:pt>
                <c:pt idx="16">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ROSE 1ERE ET 1CT X 750ML</c:v>
                </c:pt>
                <c:pt idx="14">
                  <c:v>MG CHAMPAGNE NICOLAS BLC/BL BS 1CT X 1500ML</c:v>
                </c:pt>
                <c:pt idx="15">
                  <c:v>CHAMPAGNE NICOLAS 1ERE CUV ETU 1CT X 750ML</c:v>
                </c:pt>
                <c:pt idx="16">
                  <c:v>CHAMPAGNE NICOLAS ROSE 1E C BS 1CT X 750ML</c:v>
                </c:pt>
              </c:strCache>
            </c:strRef>
          </c:cat>
          <c:val>
            <c:numRef>
              <c:f>Sheet1!$C$2:$C$18</c:f>
              <c:numCache>
                <c:formatCode>General</c:formatCode>
                <c:ptCount val="17"/>
                <c:pt idx="0">
                  <c:v>0.66578751606140529</c:v>
                </c:pt>
                <c:pt idx="1">
                  <c:v>0.75705011158449986</c:v>
                </c:pt>
                <c:pt idx="2">
                  <c:v>0.7938729965510245</c:v>
                </c:pt>
                <c:pt idx="3">
                  <c:v>0.83008723879082968</c:v>
                </c:pt>
                <c:pt idx="4">
                  <c:v>0.85683370528166625</c:v>
                </c:pt>
                <c:pt idx="5">
                  <c:v>0.88290390207614788</c:v>
                </c:pt>
                <c:pt idx="6">
                  <c:v>0.90336106039088382</c:v>
                </c:pt>
                <c:pt idx="7">
                  <c:v>0.92030161628457419</c:v>
                </c:pt>
                <c:pt idx="8">
                  <c:v>0.93717454520862908</c:v>
                </c:pt>
                <c:pt idx="9">
                  <c:v>0.95333739095151138</c:v>
                </c:pt>
                <c:pt idx="10">
                  <c:v>0.96828295124095476</c:v>
                </c:pt>
                <c:pt idx="11">
                  <c:v>0.98025292486643656</c:v>
                </c:pt>
                <c:pt idx="12">
                  <c:v>0.98803002637451798</c:v>
                </c:pt>
                <c:pt idx="13">
                  <c:v>0.99222289849191836</c:v>
                </c:pt>
                <c:pt idx="14">
                  <c:v>0.99513085818624447</c:v>
                </c:pt>
                <c:pt idx="15">
                  <c:v>0.99759924257793986</c:v>
                </c:pt>
                <c:pt idx="16">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8</c:f>
              <c:strCache>
                <c:ptCount val="17"/>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ROSE 1ERE ET 1CT X 750ML</c:v>
                </c:pt>
                <c:pt idx="14">
                  <c:v>MG CHAMPAGNE NICOLAS BLC/BL BS 1CT X 1500ML</c:v>
                </c:pt>
                <c:pt idx="15">
                  <c:v>CHAMPAGNE NICOLAS 1ERE CUV ETU 1CT X 750ML</c:v>
                </c:pt>
                <c:pt idx="16">
                  <c:v>CHAMPAGNE NICOLAS ROSE 1E C BS 1CT X 750ML</c:v>
                </c:pt>
              </c:strCache>
            </c:strRef>
          </c:cat>
          <c:val>
            <c:numRef>
              <c:f>Sheet1!$D$2:$D$18</c:f>
              <c:numCache>
                <c:formatCode>General</c:formatCode>
                <c:ptCount val="17"/>
                <c:pt idx="0">
                  <c:v>196.9</c:v>
                </c:pt>
                <c:pt idx="1">
                  <c:v>33.737499999999997</c:v>
                </c:pt>
                <c:pt idx="2">
                  <c:v>19.446428571428569</c:v>
                </c:pt>
                <c:pt idx="3">
                  <c:v>14.671232876712329</c:v>
                </c:pt>
                <c:pt idx="4">
                  <c:v>12.359375</c:v>
                </c:pt>
                <c:pt idx="5">
                  <c:v>14.826923076923077</c:v>
                </c:pt>
                <c:pt idx="6">
                  <c:v>20.166666666666668</c:v>
                </c:pt>
                <c:pt idx="7">
                  <c:v>9.4528301886792452</c:v>
                </c:pt>
                <c:pt idx="8">
                  <c:v>9.7843137254901968</c:v>
                </c:pt>
                <c:pt idx="9">
                  <c:v>7.46875</c:v>
                </c:pt>
                <c:pt idx="10">
                  <c:v>7.0158730158730158</c:v>
                </c:pt>
                <c:pt idx="11">
                  <c:v>5.709677419354839</c:v>
                </c:pt>
                <c:pt idx="12">
                  <c:v>6.7647058823529411</c:v>
                </c:pt>
                <c:pt idx="13">
                  <c:v>3.263157894736842</c:v>
                </c:pt>
                <c:pt idx="14">
                  <c:v>7.8181818181818183</c:v>
                </c:pt>
                <c:pt idx="15">
                  <c:v>6.6363636363636367</c:v>
                </c:pt>
                <c:pt idx="16">
                  <c:v>4.4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MG CHAMPAGNE NICOLAS 1E CRU BS 1CT X 1500ML</c:v>
                </c:pt>
                <c:pt idx="18">
                  <c:v>CHAMPAGNE NICOLAS BLC DE NOIRS 1CT X 750ML</c:v>
                </c:pt>
              </c:strCache>
            </c:strRef>
          </c:cat>
          <c:val>
            <c:numRef>
              <c:f>Sheet1!$B$2:$B$20</c:f>
              <c:numCache>
                <c:formatCode>General</c:formatCode>
                <c:ptCount val="19"/>
                <c:pt idx="0">
                  <c:v>1</c:v>
                </c:pt>
                <c:pt idx="1">
                  <c:v>0.62</c:v>
                </c:pt>
                <c:pt idx="2">
                  <c:v>0.61</c:v>
                </c:pt>
                <c:pt idx="3">
                  <c:v>0.59</c:v>
                </c:pt>
                <c:pt idx="4">
                  <c:v>0.56999999999999995</c:v>
                </c:pt>
                <c:pt idx="5">
                  <c:v>0.59</c:v>
                </c:pt>
                <c:pt idx="6">
                  <c:v>0.59</c:v>
                </c:pt>
                <c:pt idx="7">
                  <c:v>0.44</c:v>
                </c:pt>
                <c:pt idx="8">
                  <c:v>0.27</c:v>
                </c:pt>
                <c:pt idx="9">
                  <c:v>0.42</c:v>
                </c:pt>
                <c:pt idx="10">
                  <c:v>0.18</c:v>
                </c:pt>
                <c:pt idx="11">
                  <c:v>0.43</c:v>
                </c:pt>
                <c:pt idx="12">
                  <c:v>0.5</c:v>
                </c:pt>
                <c:pt idx="13">
                  <c:v>0.32</c:v>
                </c:pt>
                <c:pt idx="14">
                  <c:v>0.26</c:v>
                </c:pt>
                <c:pt idx="15">
                  <c:v>0.33</c:v>
                </c:pt>
                <c:pt idx="16">
                  <c:v>0.18</c:v>
                </c:pt>
                <c:pt idx="17">
                  <c:v>0.2</c:v>
                </c:pt>
                <c:pt idx="18">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MG CHAMPAGNE NICOLAS 1E CRU BS 1CT X 1500ML</c:v>
                </c:pt>
                <c:pt idx="18">
                  <c:v>CHAMPAGNE NICOLAS BLC DE NOIRS 1CT X 750ML</c:v>
                </c:pt>
              </c:strCache>
            </c:strRef>
          </c:cat>
          <c:val>
            <c:numRef>
              <c:f>Sheet1!$C$2:$C$20</c:f>
              <c:numCache>
                <c:formatCode>General</c:formatCode>
                <c:ptCount val="19"/>
                <c:pt idx="0">
                  <c:v>0.60544491383356802</c:v>
                </c:pt>
                <c:pt idx="1">
                  <c:v>0.70254140682625899</c:v>
                </c:pt>
                <c:pt idx="2">
                  <c:v>0.76356199289210758</c:v>
                </c:pt>
                <c:pt idx="3">
                  <c:v>0.80594112519278482</c:v>
                </c:pt>
                <c:pt idx="4">
                  <c:v>0.83410447260779186</c:v>
                </c:pt>
                <c:pt idx="5">
                  <c:v>0.86153020854288209</c:v>
                </c:pt>
                <c:pt idx="6">
                  <c:v>0.88781599946355538</c:v>
                </c:pt>
                <c:pt idx="7">
                  <c:v>0.90555220277610149</c:v>
                </c:pt>
                <c:pt idx="8">
                  <c:v>0.92281901696506419</c:v>
                </c:pt>
                <c:pt idx="9">
                  <c:v>0.93773888553610962</c:v>
                </c:pt>
                <c:pt idx="10">
                  <c:v>0.95014416951652936</c:v>
                </c:pt>
                <c:pt idx="11">
                  <c:v>0.9625159257024074</c:v>
                </c:pt>
                <c:pt idx="12">
                  <c:v>0.97052906859786769</c:v>
                </c:pt>
                <c:pt idx="13">
                  <c:v>0.97820693354791133</c:v>
                </c:pt>
                <c:pt idx="14">
                  <c:v>0.98565010393616315</c:v>
                </c:pt>
                <c:pt idx="15">
                  <c:v>0.99232213504995648</c:v>
                </c:pt>
                <c:pt idx="16">
                  <c:v>0.99624488701133251</c:v>
                </c:pt>
                <c:pt idx="17">
                  <c:v>0.9987594716019581</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MG CHAMPAGNE NICOLAS 1E CRU BS 1CT X 1500ML</c:v>
                </c:pt>
                <c:pt idx="18">
                  <c:v>CHAMPAGNE NICOLAS BLC DE NOIRS 1CT X 750ML</c:v>
                </c:pt>
              </c:strCache>
            </c:strRef>
          </c:cat>
          <c:val>
            <c:numRef>
              <c:f>Sheet1!$D$2:$D$20</c:f>
              <c:numCache>
                <c:formatCode>General</c:formatCode>
                <c:ptCount val="19"/>
                <c:pt idx="0">
                  <c:v>180.58</c:v>
                </c:pt>
                <c:pt idx="1">
                  <c:v>46.70967741935484</c:v>
                </c:pt>
                <c:pt idx="2">
                  <c:v>29.83606557377049</c:v>
                </c:pt>
                <c:pt idx="3">
                  <c:v>21.423728813559322</c:v>
                </c:pt>
                <c:pt idx="4">
                  <c:v>14.736842105263159</c:v>
                </c:pt>
                <c:pt idx="5">
                  <c:v>13.864406779661017</c:v>
                </c:pt>
                <c:pt idx="6">
                  <c:v>13.288135593220339</c:v>
                </c:pt>
                <c:pt idx="7">
                  <c:v>12.022727272727273</c:v>
                </c:pt>
                <c:pt idx="8">
                  <c:v>19.074074074074073</c:v>
                </c:pt>
                <c:pt idx="9">
                  <c:v>10.595238095238095</c:v>
                </c:pt>
                <c:pt idx="10">
                  <c:v>20.555555555555557</c:v>
                </c:pt>
                <c:pt idx="11">
                  <c:v>8.5813953488372086</c:v>
                </c:pt>
                <c:pt idx="12">
                  <c:v>4.78</c:v>
                </c:pt>
                <c:pt idx="13">
                  <c:v>7.15625</c:v>
                </c:pt>
                <c:pt idx="14">
                  <c:v>8.5384615384615383</c:v>
                </c:pt>
                <c:pt idx="15">
                  <c:v>6.0303030303030303</c:v>
                </c:pt>
                <c:pt idx="16">
                  <c:v>6.5</c:v>
                </c:pt>
                <c:pt idx="17">
                  <c:v>3.75</c:v>
                </c:pt>
                <c:pt idx="18">
                  <c:v>2.17647058823529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1ERE CUV ETU 1CT X 750ML</c:v>
                </c:pt>
                <c:pt idx="14">
                  <c:v>CHAMPAGNE NICOLAS 1ER CRU ETUI 1CT X 750ML</c:v>
                </c:pt>
                <c:pt idx="15">
                  <c:v>CHAMPAGNE NICOLAS BLC DE NOIRS 1CT X 750ML</c:v>
                </c:pt>
                <c:pt idx="16">
                  <c:v>CHAMPAGNE NICOLAS ROSE 1E C BS 1CT X 750ML</c:v>
                </c:pt>
                <c:pt idx="17">
                  <c:v>CHAMPAGNE NICOLAS BLC/BL BS ET 1CT X 750ML</c:v>
                </c:pt>
                <c:pt idx="18">
                  <c:v>MG CHAMPAGNE NICOLAS 1E CRU BS 1CT X 1500ML</c:v>
                </c:pt>
                <c:pt idx="19">
                  <c:v>CHAMPAGNE NICOLAS ROSE 1ERE ET 1CT X 750ML</c:v>
                </c:pt>
              </c:strCache>
            </c:strRef>
          </c:cat>
          <c:val>
            <c:numRef>
              <c:f>Sheet1!$B$2:$B$21</c:f>
              <c:numCache>
                <c:formatCode>General</c:formatCode>
                <c:ptCount val="20"/>
                <c:pt idx="0">
                  <c:v>0.99</c:v>
                </c:pt>
                <c:pt idx="1">
                  <c:v>0.83</c:v>
                </c:pt>
                <c:pt idx="2">
                  <c:v>0.75</c:v>
                </c:pt>
                <c:pt idx="3">
                  <c:v>0.73</c:v>
                </c:pt>
                <c:pt idx="4">
                  <c:v>0.49</c:v>
                </c:pt>
                <c:pt idx="5">
                  <c:v>0.48</c:v>
                </c:pt>
                <c:pt idx="6">
                  <c:v>0.38</c:v>
                </c:pt>
                <c:pt idx="7">
                  <c:v>0.23</c:v>
                </c:pt>
                <c:pt idx="8">
                  <c:v>0.16</c:v>
                </c:pt>
                <c:pt idx="9">
                  <c:v>0.43</c:v>
                </c:pt>
                <c:pt idx="10">
                  <c:v>0.32</c:v>
                </c:pt>
                <c:pt idx="11">
                  <c:v>0.41</c:v>
                </c:pt>
                <c:pt idx="12">
                  <c:v>0.21</c:v>
                </c:pt>
                <c:pt idx="13">
                  <c:v>0.16</c:v>
                </c:pt>
                <c:pt idx="14">
                  <c:v>0.3</c:v>
                </c:pt>
                <c:pt idx="15">
                  <c:v>0.19</c:v>
                </c:pt>
                <c:pt idx="16">
                  <c:v>0.15</c:v>
                </c:pt>
                <c:pt idx="17">
                  <c:v>0.08</c:v>
                </c:pt>
                <c:pt idx="18">
                  <c:v>0.06</c:v>
                </c:pt>
                <c:pt idx="19">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1ERE CUV ETU 1CT X 750ML</c:v>
                </c:pt>
                <c:pt idx="14">
                  <c:v>CHAMPAGNE NICOLAS 1ER CRU ETUI 1CT X 750ML</c:v>
                </c:pt>
                <c:pt idx="15">
                  <c:v>CHAMPAGNE NICOLAS BLC DE NOIRS 1CT X 750ML</c:v>
                </c:pt>
                <c:pt idx="16">
                  <c:v>CHAMPAGNE NICOLAS ROSE 1E C BS 1CT X 750ML</c:v>
                </c:pt>
                <c:pt idx="17">
                  <c:v>CHAMPAGNE NICOLAS BLC/BL BS ET 1CT X 750ML</c:v>
                </c:pt>
                <c:pt idx="18">
                  <c:v>MG CHAMPAGNE NICOLAS 1E CRU BS 1CT X 1500ML</c:v>
                </c:pt>
                <c:pt idx="19">
                  <c:v>CHAMPAGNE NICOLAS ROSE 1ERE ET 1CT X 750ML</c:v>
                </c:pt>
              </c:strCache>
            </c:strRef>
          </c:cat>
          <c:val>
            <c:numRef>
              <c:f>Sheet1!$C$2:$C$21</c:f>
              <c:numCache>
                <c:formatCode>General</c:formatCode>
                <c:ptCount val="20"/>
                <c:pt idx="0">
                  <c:v>0.75236741543350216</c:v>
                </c:pt>
                <c:pt idx="1">
                  <c:v>0.80832213965983635</c:v>
                </c:pt>
                <c:pt idx="2">
                  <c:v>0.85163700498226991</c:v>
                </c:pt>
                <c:pt idx="3">
                  <c:v>0.89448303832887444</c:v>
                </c:pt>
                <c:pt idx="4">
                  <c:v>0.91415909775890869</c:v>
                </c:pt>
                <c:pt idx="5">
                  <c:v>0.93213843194308521</c:v>
                </c:pt>
                <c:pt idx="6">
                  <c:v>0.94253459496266079</c:v>
                </c:pt>
                <c:pt idx="7">
                  <c:v>0.95179216604093708</c:v>
                </c:pt>
                <c:pt idx="8">
                  <c:v>0.95978463496221422</c:v>
                </c:pt>
                <c:pt idx="9">
                  <c:v>0.96765431455648854</c:v>
                </c:pt>
                <c:pt idx="10">
                  <c:v>0.97442633198513118</c:v>
                </c:pt>
                <c:pt idx="11">
                  <c:v>0.98060672811094185</c:v>
                </c:pt>
                <c:pt idx="12">
                  <c:v>0.98586434383988253</c:v>
                </c:pt>
                <c:pt idx="13">
                  <c:v>0.98936942099250968</c:v>
                </c:pt>
                <c:pt idx="14">
                  <c:v>0.99205962352048149</c:v>
                </c:pt>
                <c:pt idx="15">
                  <c:v>0.99435169095786824</c:v>
                </c:pt>
                <c:pt idx="16">
                  <c:v>0.99613027575506119</c:v>
                </c:pt>
                <c:pt idx="17">
                  <c:v>0.99786420988788949</c:v>
                </c:pt>
                <c:pt idx="18">
                  <c:v>0.99927442670407385</c:v>
                </c:pt>
                <c:pt idx="1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1ERE CUV ETU 1CT X 750ML</c:v>
                </c:pt>
                <c:pt idx="14">
                  <c:v>CHAMPAGNE NICOLAS 1ER CRU ETUI 1CT X 750ML</c:v>
                </c:pt>
                <c:pt idx="15">
                  <c:v>CHAMPAGNE NICOLAS BLC DE NOIRS 1CT X 750ML</c:v>
                </c:pt>
                <c:pt idx="16">
                  <c:v>CHAMPAGNE NICOLAS ROSE 1E C BS 1CT X 750ML</c:v>
                </c:pt>
                <c:pt idx="17">
                  <c:v>CHAMPAGNE NICOLAS BLC/BL BS ET 1CT X 750ML</c:v>
                </c:pt>
                <c:pt idx="18">
                  <c:v>MG CHAMPAGNE NICOLAS 1E CRU BS 1CT X 1500ML</c:v>
                </c:pt>
                <c:pt idx="19">
                  <c:v>CHAMPAGNE NICOLAS ROSE 1ERE ET 1CT X 750ML</c:v>
                </c:pt>
              </c:strCache>
            </c:strRef>
          </c:cat>
          <c:val>
            <c:numRef>
              <c:f>Sheet1!$D$2:$D$21</c:f>
              <c:numCache>
                <c:formatCode>General</c:formatCode>
                <c:ptCount val="20"/>
                <c:pt idx="0">
                  <c:v>2042.4343434343434</c:v>
                </c:pt>
                <c:pt idx="1">
                  <c:v>181.18072289156626</c:v>
                </c:pt>
                <c:pt idx="2">
                  <c:v>155.21333333333334</c:v>
                </c:pt>
                <c:pt idx="3">
                  <c:v>157.73972602739727</c:v>
                </c:pt>
                <c:pt idx="4">
                  <c:v>107.91836734693878</c:v>
                </c:pt>
                <c:pt idx="5">
                  <c:v>100.66666666666667</c:v>
                </c:pt>
                <c:pt idx="6">
                  <c:v>73.526315789473685</c:v>
                </c:pt>
                <c:pt idx="7">
                  <c:v>108.17391304347827</c:v>
                </c:pt>
                <c:pt idx="8">
                  <c:v>134.25</c:v>
                </c:pt>
                <c:pt idx="9">
                  <c:v>49.186046511627907</c:v>
                </c:pt>
                <c:pt idx="10">
                  <c:v>56.875</c:v>
                </c:pt>
                <c:pt idx="11">
                  <c:v>40.512195121951223</c:v>
                </c:pt>
                <c:pt idx="12">
                  <c:v>67.285714285714292</c:v>
                </c:pt>
                <c:pt idx="13">
                  <c:v>58.875</c:v>
                </c:pt>
                <c:pt idx="14">
                  <c:v>24.1</c:v>
                </c:pt>
                <c:pt idx="15">
                  <c:v>32.421052631578945</c:v>
                </c:pt>
                <c:pt idx="16">
                  <c:v>31.866666666666667</c:v>
                </c:pt>
                <c:pt idx="17">
                  <c:v>58.25</c:v>
                </c:pt>
                <c:pt idx="18">
                  <c:v>63.166666666666664</c:v>
                </c:pt>
                <c:pt idx="19">
                  <c:v>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 DE NOIRS 1CT X 750ML</c:v>
                </c:pt>
                <c:pt idx="15">
                  <c:v>1/2 CHAMP NICOLAS ROSE 1E C BS 1CT X 375ML</c:v>
                </c:pt>
                <c:pt idx="16">
                  <c:v>CHAMPAGNE NICOLAS 1ERE CUV ETU 1CT X 750ML</c:v>
                </c:pt>
                <c:pt idx="17">
                  <c:v>CHAMPAGNE NICOLAS ROSE 1E C BS 1CT X 750ML</c:v>
                </c:pt>
                <c:pt idx="18">
                  <c:v>MG CHAMPAGNE NICOLAS 1E CRU BS 1CT X 1500ML</c:v>
                </c:pt>
              </c:strCache>
            </c:strRef>
          </c:cat>
          <c:val>
            <c:numRef>
              <c:f>Sheet1!$B$2:$B$20</c:f>
              <c:numCache>
                <c:formatCode>General</c:formatCode>
                <c:ptCount val="19"/>
                <c:pt idx="0">
                  <c:v>1</c:v>
                </c:pt>
                <c:pt idx="1">
                  <c:v>0.63</c:v>
                </c:pt>
                <c:pt idx="2">
                  <c:v>0.52</c:v>
                </c:pt>
                <c:pt idx="3">
                  <c:v>0.64</c:v>
                </c:pt>
                <c:pt idx="4">
                  <c:v>0.49</c:v>
                </c:pt>
                <c:pt idx="5">
                  <c:v>0.31</c:v>
                </c:pt>
                <c:pt idx="6">
                  <c:v>0.37</c:v>
                </c:pt>
                <c:pt idx="7">
                  <c:v>0.41</c:v>
                </c:pt>
                <c:pt idx="8">
                  <c:v>0.3</c:v>
                </c:pt>
                <c:pt idx="9">
                  <c:v>0.32</c:v>
                </c:pt>
                <c:pt idx="10">
                  <c:v>0.27</c:v>
                </c:pt>
                <c:pt idx="11">
                  <c:v>0.22</c:v>
                </c:pt>
                <c:pt idx="12">
                  <c:v>0.43</c:v>
                </c:pt>
                <c:pt idx="13">
                  <c:v>0.2</c:v>
                </c:pt>
                <c:pt idx="14">
                  <c:v>0.17</c:v>
                </c:pt>
                <c:pt idx="15">
                  <c:v>0.28000000000000003</c:v>
                </c:pt>
                <c:pt idx="16">
                  <c:v>0.11</c:v>
                </c:pt>
                <c:pt idx="17">
                  <c:v>0.08</c:v>
                </c:pt>
                <c:pt idx="18">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 DE NOIRS 1CT X 750ML</c:v>
                </c:pt>
                <c:pt idx="15">
                  <c:v>1/2 CHAMP NICOLAS ROSE 1E C BS 1CT X 375ML</c:v>
                </c:pt>
                <c:pt idx="16">
                  <c:v>CHAMPAGNE NICOLAS 1ERE CUV ETU 1CT X 750ML</c:v>
                </c:pt>
                <c:pt idx="17">
                  <c:v>CHAMPAGNE NICOLAS ROSE 1E C BS 1CT X 750ML</c:v>
                </c:pt>
                <c:pt idx="18">
                  <c:v>MG CHAMPAGNE NICOLAS 1E CRU BS 1CT X 1500ML</c:v>
                </c:pt>
              </c:strCache>
            </c:strRef>
          </c:cat>
          <c:val>
            <c:numRef>
              <c:f>Sheet1!$C$2:$C$20</c:f>
              <c:numCache>
                <c:formatCode>General</c:formatCode>
                <c:ptCount val="19"/>
                <c:pt idx="0">
                  <c:v>0.71309452806137363</c:v>
                </c:pt>
                <c:pt idx="1">
                  <c:v>0.79865277339227447</c:v>
                </c:pt>
                <c:pt idx="2">
                  <c:v>0.84308864174141507</c:v>
                </c:pt>
                <c:pt idx="3">
                  <c:v>0.88487761522178943</c:v>
                </c:pt>
                <c:pt idx="4">
                  <c:v>0.91848031591216506</c:v>
                </c:pt>
                <c:pt idx="5">
                  <c:v>0.93120022453776785</c:v>
                </c:pt>
                <c:pt idx="6">
                  <c:v>0.94312489523519927</c:v>
                </c:pt>
                <c:pt idx="7">
                  <c:v>0.95228572430972158</c:v>
                </c:pt>
                <c:pt idx="8">
                  <c:v>0.9607136870582822</c:v>
                </c:pt>
                <c:pt idx="9">
                  <c:v>0.96897012790076664</c:v>
                </c:pt>
                <c:pt idx="10">
                  <c:v>0.97521508457199424</c:v>
                </c:pt>
                <c:pt idx="11">
                  <c:v>0.98114038678189808</c:v>
                </c:pt>
                <c:pt idx="12">
                  <c:v>0.9870500960912495</c:v>
                </c:pt>
                <c:pt idx="13">
                  <c:v>0.99090154252768703</c:v>
                </c:pt>
                <c:pt idx="14">
                  <c:v>0.99419164454423892</c:v>
                </c:pt>
                <c:pt idx="15">
                  <c:v>0.99712700807322419</c:v>
                </c:pt>
                <c:pt idx="16">
                  <c:v>0.99833155964089537</c:v>
                </c:pt>
                <c:pt idx="17">
                  <c:v>0.99940746977900952</c:v>
                </c:pt>
                <c:pt idx="18">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 DE NOIRS 1CT X 750ML</c:v>
                </c:pt>
                <c:pt idx="15">
                  <c:v>1/2 CHAMP NICOLAS ROSE 1E C BS 1CT X 375ML</c:v>
                </c:pt>
                <c:pt idx="16">
                  <c:v>CHAMPAGNE NICOLAS 1ERE CUV ETU 1CT X 750ML</c:v>
                </c:pt>
                <c:pt idx="17">
                  <c:v>CHAMPAGNE NICOLAS ROSE 1E C BS 1CT X 750ML</c:v>
                </c:pt>
                <c:pt idx="18">
                  <c:v>MG CHAMPAGNE NICOLAS 1E CRU BS 1CT X 1500ML</c:v>
                </c:pt>
              </c:strCache>
            </c:strRef>
          </c:cat>
          <c:val>
            <c:numRef>
              <c:f>Sheet1!$D$2:$D$20</c:f>
              <c:numCache>
                <c:formatCode>General</c:formatCode>
                <c:ptCount val="19"/>
                <c:pt idx="0">
                  <c:v>1829.28</c:v>
                </c:pt>
                <c:pt idx="1">
                  <c:v>348.38095238095241</c:v>
                </c:pt>
                <c:pt idx="2">
                  <c:v>219.21153846153845</c:v>
                </c:pt>
                <c:pt idx="3">
                  <c:v>167.5</c:v>
                </c:pt>
                <c:pt idx="4">
                  <c:v>175.91836734693877</c:v>
                </c:pt>
                <c:pt idx="5">
                  <c:v>105.25806451612904</c:v>
                </c:pt>
                <c:pt idx="6">
                  <c:v>82.675675675675677</c:v>
                </c:pt>
                <c:pt idx="7">
                  <c:v>57.31707317073171</c:v>
                </c:pt>
                <c:pt idx="8">
                  <c:v>72.066666666666663</c:v>
                </c:pt>
                <c:pt idx="9">
                  <c:v>66.1875</c:v>
                </c:pt>
                <c:pt idx="10">
                  <c:v>59.333333333333336</c:v>
                </c:pt>
                <c:pt idx="11">
                  <c:v>69.090909090909093</c:v>
                </c:pt>
                <c:pt idx="12">
                  <c:v>35.255813953488371</c:v>
                </c:pt>
                <c:pt idx="13">
                  <c:v>49.4</c:v>
                </c:pt>
                <c:pt idx="14">
                  <c:v>49.647058823529413</c:v>
                </c:pt>
                <c:pt idx="15">
                  <c:v>26.892857142857139</c:v>
                </c:pt>
                <c:pt idx="16">
                  <c:v>28.09090909090909</c:v>
                </c:pt>
                <c:pt idx="17">
                  <c:v>34.5</c:v>
                </c:pt>
                <c:pt idx="18">
                  <c:v>3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IO NAT 2017 1CT X 750ML</c:v>
                </c:pt>
                <c:pt idx="11">
                  <c:v>CHAMPAGNE NICOLAS 1ER CRU ETUI 1CT X 750ML</c:v>
                </c:pt>
                <c:pt idx="12">
                  <c:v>MG CHAMPAGNE NICOLAS BLC/BL BS 1CT X 1500ML</c:v>
                </c:pt>
                <c:pt idx="13">
                  <c:v>CHAMPAGNE NICOLAS BLC DE NOIRS 1CT X 750ML</c:v>
                </c:pt>
                <c:pt idx="14">
                  <c:v>1/2 CHAMP NICOLAS ROSE 1E C BS 1CT X 375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pt idx="20">
                  <c:v>MG CHAMPAGNE NICOLAS BRUT 1CT X 1500ML</c:v>
                </c:pt>
              </c:strCache>
            </c:strRef>
          </c:cat>
          <c:val>
            <c:numRef>
              <c:f>Sheet1!$B$2:$B$22</c:f>
              <c:numCache>
                <c:formatCode>General</c:formatCode>
                <c:ptCount val="21"/>
                <c:pt idx="0">
                  <c:v>1</c:v>
                </c:pt>
                <c:pt idx="1">
                  <c:v>0.67</c:v>
                </c:pt>
                <c:pt idx="2">
                  <c:v>0.9</c:v>
                </c:pt>
                <c:pt idx="3">
                  <c:v>0.68</c:v>
                </c:pt>
                <c:pt idx="4">
                  <c:v>0.61</c:v>
                </c:pt>
                <c:pt idx="5">
                  <c:v>0.52</c:v>
                </c:pt>
                <c:pt idx="6">
                  <c:v>0.34</c:v>
                </c:pt>
                <c:pt idx="7">
                  <c:v>0.38</c:v>
                </c:pt>
                <c:pt idx="8">
                  <c:v>0.3</c:v>
                </c:pt>
                <c:pt idx="9">
                  <c:v>0.65</c:v>
                </c:pt>
                <c:pt idx="10">
                  <c:v>0.28000000000000003</c:v>
                </c:pt>
                <c:pt idx="11">
                  <c:v>0.3</c:v>
                </c:pt>
                <c:pt idx="12">
                  <c:v>0.15</c:v>
                </c:pt>
                <c:pt idx="13">
                  <c:v>0.36</c:v>
                </c:pt>
                <c:pt idx="14">
                  <c:v>0.35</c:v>
                </c:pt>
                <c:pt idx="15">
                  <c:v>0.12</c:v>
                </c:pt>
                <c:pt idx="16">
                  <c:v>0.22</c:v>
                </c:pt>
                <c:pt idx="17">
                  <c:v>0.2</c:v>
                </c:pt>
                <c:pt idx="18">
                  <c:v>0.03</c:v>
                </c:pt>
                <c:pt idx="19">
                  <c:v>0.03</c:v>
                </c:pt>
                <c:pt idx="20">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IO NAT 2017 1CT X 750ML</c:v>
                </c:pt>
                <c:pt idx="11">
                  <c:v>CHAMPAGNE NICOLAS 1ER CRU ETUI 1CT X 750ML</c:v>
                </c:pt>
                <c:pt idx="12">
                  <c:v>MG CHAMPAGNE NICOLAS BLC/BL BS 1CT X 1500ML</c:v>
                </c:pt>
                <c:pt idx="13">
                  <c:v>CHAMPAGNE NICOLAS BLC DE NOIRS 1CT X 750ML</c:v>
                </c:pt>
                <c:pt idx="14">
                  <c:v>1/2 CHAMP NICOLAS ROSE 1E C BS 1CT X 375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pt idx="20">
                  <c:v>MG CHAMPAGNE NICOLAS BRUT 1CT X 1500ML</c:v>
                </c:pt>
              </c:strCache>
            </c:strRef>
          </c:cat>
          <c:val>
            <c:numRef>
              <c:f>Sheet1!$C$2:$C$22</c:f>
              <c:numCache>
                <c:formatCode>General</c:formatCode>
                <c:ptCount val="21"/>
                <c:pt idx="0">
                  <c:v>0.7533477219736594</c:v>
                </c:pt>
                <c:pt idx="1">
                  <c:v>0.81571775159115267</c:v>
                </c:pt>
                <c:pt idx="2">
                  <c:v>0.86340506648182003</c:v>
                </c:pt>
                <c:pt idx="3">
                  <c:v>0.90038754804965671</c:v>
                </c:pt>
                <c:pt idx="4">
                  <c:v>0.92227771126094915</c:v>
                </c:pt>
                <c:pt idx="5">
                  <c:v>0.93733852164597653</c:v>
                </c:pt>
                <c:pt idx="6">
                  <c:v>0.94873653034217664</c:v>
                </c:pt>
                <c:pt idx="7">
                  <c:v>0.95702312685109336</c:v>
                </c:pt>
                <c:pt idx="8">
                  <c:v>0.96467168693679506</c:v>
                </c:pt>
                <c:pt idx="9">
                  <c:v>0.97219421513642956</c:v>
                </c:pt>
                <c:pt idx="10">
                  <c:v>0.97798380490264036</c:v>
                </c:pt>
                <c:pt idx="11">
                  <c:v>0.98209559518558198</c:v>
                </c:pt>
                <c:pt idx="12">
                  <c:v>0.98614436952549001</c:v>
                </c:pt>
                <c:pt idx="13">
                  <c:v>0.99019314386539803</c:v>
                </c:pt>
                <c:pt idx="14">
                  <c:v>0.99400560841893004</c:v>
                </c:pt>
                <c:pt idx="15">
                  <c:v>0.99596697964585046</c:v>
                </c:pt>
                <c:pt idx="16">
                  <c:v>0.99782594996534124</c:v>
                </c:pt>
                <c:pt idx="17">
                  <c:v>0.99847186338143556</c:v>
                </c:pt>
                <c:pt idx="18">
                  <c:v>0.99908626882601304</c:v>
                </c:pt>
                <c:pt idx="19">
                  <c:v>0.99967704329195295</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IO NAT 2017 1CT X 750ML</c:v>
                </c:pt>
                <c:pt idx="11">
                  <c:v>CHAMPAGNE NICOLAS 1ER CRU ETUI 1CT X 750ML</c:v>
                </c:pt>
                <c:pt idx="12">
                  <c:v>MG CHAMPAGNE NICOLAS BLC/BL BS 1CT X 1500ML</c:v>
                </c:pt>
                <c:pt idx="13">
                  <c:v>CHAMPAGNE NICOLAS BLC DE NOIRS 1CT X 750ML</c:v>
                </c:pt>
                <c:pt idx="14">
                  <c:v>1/2 CHAMP NICOLAS ROSE 1E C BS 1CT X 375ML</c:v>
                </c:pt>
                <c:pt idx="15">
                  <c:v>CHAMPAGNE NICOLAS 1ERE CUV ETU 1CT X 750ML</c:v>
                </c:pt>
                <c:pt idx="16">
                  <c:v>CHAMPAGNE NICOLAS ROSE 1ERE ET 1CT X 750ML</c:v>
                </c:pt>
                <c:pt idx="17">
                  <c:v>CHAMPAGNE NICOLAS ROSE 1E C BS 1CT X 750ML</c:v>
                </c:pt>
                <c:pt idx="18">
                  <c:v>CHAMPAGNE NICOLAS BLC/BL BS ET 1CT X 750ML</c:v>
                </c:pt>
                <c:pt idx="19">
                  <c:v>MG CHAMPAGNE NICOLAS 1E CRU BS 1CT X 1500ML</c:v>
                </c:pt>
                <c:pt idx="20">
                  <c:v>MG CHAMPAGNE NICOLAS BRUT 1CT X 1500ML</c:v>
                </c:pt>
              </c:strCache>
            </c:strRef>
          </c:cat>
          <c:val>
            <c:numRef>
              <c:f>Sheet1!$D$2:$D$22</c:f>
              <c:numCache>
                <c:formatCode>General</c:formatCode>
                <c:ptCount val="21"/>
                <c:pt idx="0">
                  <c:v>956.39</c:v>
                </c:pt>
                <c:pt idx="1">
                  <c:v>118.17910447761194</c:v>
                </c:pt>
                <c:pt idx="2">
                  <c:v>67.266666666666666</c:v>
                </c:pt>
                <c:pt idx="3">
                  <c:v>69.044117647058826</c:v>
                </c:pt>
                <c:pt idx="4">
                  <c:v>45.557377049180324</c:v>
                </c:pt>
                <c:pt idx="5">
                  <c:v>36.769230769230766</c:v>
                </c:pt>
                <c:pt idx="6">
                  <c:v>42.558823529411768</c:v>
                </c:pt>
                <c:pt idx="7">
                  <c:v>27.684210526315791</c:v>
                </c:pt>
                <c:pt idx="8">
                  <c:v>32.366666666666667</c:v>
                </c:pt>
                <c:pt idx="9">
                  <c:v>14.692307692307692</c:v>
                </c:pt>
                <c:pt idx="10">
                  <c:v>26.249999999999996</c:v>
                </c:pt>
                <c:pt idx="11">
                  <c:v>17.399999999999999</c:v>
                </c:pt>
                <c:pt idx="12">
                  <c:v>34.266666666666666</c:v>
                </c:pt>
                <c:pt idx="13">
                  <c:v>14.277777777777779</c:v>
                </c:pt>
                <c:pt idx="14">
                  <c:v>13.828571428571429</c:v>
                </c:pt>
                <c:pt idx="15">
                  <c:v>20.75</c:v>
                </c:pt>
                <c:pt idx="16">
                  <c:v>10.727272727272727</c:v>
                </c:pt>
                <c:pt idx="17">
                  <c:v>4.0999999999999996</c:v>
                </c:pt>
                <c:pt idx="18">
                  <c:v>26</c:v>
                </c:pt>
                <c:pt idx="19">
                  <c:v>25</c:v>
                </c:pt>
                <c:pt idx="20">
                  <c:v>5.8571428571428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1/2 CHAMP NICOLAS ROSE 1E C BS 1CT X 375ML</c:v>
                </c:pt>
                <c:pt idx="10">
                  <c:v>CHAMPAGNE NICOLAS 1ERE CUV ETU 1CT X 750ML</c:v>
                </c:pt>
                <c:pt idx="11">
                  <c:v>CHAMPAGNE NICOLAS BIO NAT 2017 1CT X 750ML</c:v>
                </c:pt>
                <c:pt idx="12">
                  <c:v>CHAMPAGNE NICOLAS 1ER CRU BS 1CT X 750ML</c:v>
                </c:pt>
                <c:pt idx="13">
                  <c:v>MG CHAMPAGNE NICOLAS 1ERE CUVE 1CT X 1500ML</c:v>
                </c:pt>
                <c:pt idx="14">
                  <c:v>CHAMPAGNE NICOLAS ROSE 1ERE ET 1CT X 750ML</c:v>
                </c:pt>
                <c:pt idx="15">
                  <c:v>CHAMPAGNE NICOLAS BLC DE NOIRS 1CT X 750ML</c:v>
                </c:pt>
                <c:pt idx="16">
                  <c:v>CHAMPAGNE NICOLAS 1ER CRU ETUI 1CT X 750ML</c:v>
                </c:pt>
                <c:pt idx="17">
                  <c:v>CHAMPAGNE NICOLAS ROSE 1E C BS 1CT X 750ML</c:v>
                </c:pt>
              </c:strCache>
            </c:strRef>
          </c:cat>
          <c:val>
            <c:numRef>
              <c:f>Sheet1!$B$2:$B$19</c:f>
              <c:numCache>
                <c:formatCode>General</c:formatCode>
                <c:ptCount val="18"/>
                <c:pt idx="0">
                  <c:v>1</c:v>
                </c:pt>
                <c:pt idx="1">
                  <c:v>0.87</c:v>
                </c:pt>
                <c:pt idx="2">
                  <c:v>0.84</c:v>
                </c:pt>
                <c:pt idx="3">
                  <c:v>0.63</c:v>
                </c:pt>
                <c:pt idx="4">
                  <c:v>0.54</c:v>
                </c:pt>
                <c:pt idx="5">
                  <c:v>0.62</c:v>
                </c:pt>
                <c:pt idx="6">
                  <c:v>0.47</c:v>
                </c:pt>
                <c:pt idx="7">
                  <c:v>0.62</c:v>
                </c:pt>
                <c:pt idx="8">
                  <c:v>0.41</c:v>
                </c:pt>
                <c:pt idx="9">
                  <c:v>0.49</c:v>
                </c:pt>
                <c:pt idx="10">
                  <c:v>0.19</c:v>
                </c:pt>
                <c:pt idx="11">
                  <c:v>0.33</c:v>
                </c:pt>
                <c:pt idx="12">
                  <c:v>0.62</c:v>
                </c:pt>
                <c:pt idx="13">
                  <c:v>0.36</c:v>
                </c:pt>
                <c:pt idx="14">
                  <c:v>0.28000000000000003</c:v>
                </c:pt>
                <c:pt idx="15">
                  <c:v>0.08</c:v>
                </c:pt>
                <c:pt idx="16">
                  <c:v>0.17</c:v>
                </c:pt>
                <c:pt idx="17">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1/2 CHAMP NICOLAS ROSE 1E C BS 1CT X 375ML</c:v>
                </c:pt>
                <c:pt idx="10">
                  <c:v>CHAMPAGNE NICOLAS 1ERE CUV ETU 1CT X 750ML</c:v>
                </c:pt>
                <c:pt idx="11">
                  <c:v>CHAMPAGNE NICOLAS BIO NAT 2017 1CT X 750ML</c:v>
                </c:pt>
                <c:pt idx="12">
                  <c:v>CHAMPAGNE NICOLAS 1ER CRU BS 1CT X 750ML</c:v>
                </c:pt>
                <c:pt idx="13">
                  <c:v>MG CHAMPAGNE NICOLAS 1ERE CUVE 1CT X 1500ML</c:v>
                </c:pt>
                <c:pt idx="14">
                  <c:v>CHAMPAGNE NICOLAS ROSE 1ERE ET 1CT X 750ML</c:v>
                </c:pt>
                <c:pt idx="15">
                  <c:v>CHAMPAGNE NICOLAS BLC DE NOIRS 1CT X 750ML</c:v>
                </c:pt>
                <c:pt idx="16">
                  <c:v>CHAMPAGNE NICOLAS 1ER CRU ETUI 1CT X 750ML</c:v>
                </c:pt>
                <c:pt idx="17">
                  <c:v>CHAMPAGNE NICOLAS ROSE 1E C BS 1CT X 750ML</c:v>
                </c:pt>
              </c:strCache>
            </c:strRef>
          </c:cat>
          <c:val>
            <c:numRef>
              <c:f>Sheet1!$C$2:$C$19</c:f>
              <c:numCache>
                <c:formatCode>General</c:formatCode>
                <c:ptCount val="18"/>
                <c:pt idx="0">
                  <c:v>0.669449081803005</c:v>
                </c:pt>
                <c:pt idx="1">
                  <c:v>0.76508466491771998</c:v>
                </c:pt>
                <c:pt idx="2">
                  <c:v>0.82880992129740039</c:v>
                </c:pt>
                <c:pt idx="3">
                  <c:v>0.85544955878845697</c:v>
                </c:pt>
                <c:pt idx="4">
                  <c:v>0.88075363701407106</c:v>
                </c:pt>
                <c:pt idx="5">
                  <c:v>0.90008347245409015</c:v>
                </c:pt>
                <c:pt idx="6">
                  <c:v>0.91811352253756262</c:v>
                </c:pt>
                <c:pt idx="7">
                  <c:v>0.9353803958979251</c:v>
                </c:pt>
                <c:pt idx="8">
                  <c:v>0.94936799427617458</c:v>
                </c:pt>
                <c:pt idx="9">
                  <c:v>0.95775101359408543</c:v>
                </c:pt>
                <c:pt idx="10">
                  <c:v>0.9654424040066778</c:v>
                </c:pt>
                <c:pt idx="11">
                  <c:v>0.97313379441927017</c:v>
                </c:pt>
                <c:pt idx="12">
                  <c:v>0.98052706892439778</c:v>
                </c:pt>
                <c:pt idx="13">
                  <c:v>0.98775339852134503</c:v>
                </c:pt>
                <c:pt idx="14">
                  <c:v>0.99459813975673739</c:v>
                </c:pt>
                <c:pt idx="15">
                  <c:v>0.99718578583353201</c:v>
                </c:pt>
                <c:pt idx="16">
                  <c:v>0.99867636537085613</c:v>
                </c:pt>
                <c:pt idx="1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9</c:f>
              <c:strCache>
                <c:ptCount val="18"/>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1/2 CHAMP NICOLAS ROSE 1E C BS 1CT X 375ML</c:v>
                </c:pt>
                <c:pt idx="10">
                  <c:v>CHAMPAGNE NICOLAS 1ERE CUV ETU 1CT X 750ML</c:v>
                </c:pt>
                <c:pt idx="11">
                  <c:v>CHAMPAGNE NICOLAS BIO NAT 2017 1CT X 750ML</c:v>
                </c:pt>
                <c:pt idx="12">
                  <c:v>CHAMPAGNE NICOLAS 1ER CRU BS 1CT X 750ML</c:v>
                </c:pt>
                <c:pt idx="13">
                  <c:v>MG CHAMPAGNE NICOLAS 1ERE CUVE 1CT X 1500ML</c:v>
                </c:pt>
                <c:pt idx="14">
                  <c:v>CHAMPAGNE NICOLAS ROSE 1ERE ET 1CT X 750ML</c:v>
                </c:pt>
                <c:pt idx="15">
                  <c:v>CHAMPAGNE NICOLAS BLC DE NOIRS 1CT X 750ML</c:v>
                </c:pt>
                <c:pt idx="16">
                  <c:v>CHAMPAGNE NICOLAS 1ER CRU ETUI 1CT X 750ML</c:v>
                </c:pt>
                <c:pt idx="17">
                  <c:v>CHAMPAGNE NICOLAS ROSE 1E C BS 1CT X 750ML</c:v>
                </c:pt>
              </c:strCache>
            </c:strRef>
          </c:cat>
          <c:val>
            <c:numRef>
              <c:f>Sheet1!$D$2:$D$19</c:f>
              <c:numCache>
                <c:formatCode>General</c:formatCode>
                <c:ptCount val="18"/>
                <c:pt idx="0">
                  <c:v>561.4</c:v>
                </c:pt>
                <c:pt idx="1">
                  <c:v>92.183908045977006</c:v>
                </c:pt>
                <c:pt idx="2">
                  <c:v>63.61904761904762</c:v>
                </c:pt>
                <c:pt idx="3">
                  <c:v>35.460317460317462</c:v>
                </c:pt>
                <c:pt idx="4">
                  <c:v>39.296296296296298</c:v>
                </c:pt>
                <c:pt idx="5">
                  <c:v>26.14516129032258</c:v>
                </c:pt>
                <c:pt idx="6">
                  <c:v>32.170212765957444</c:v>
                </c:pt>
                <c:pt idx="7">
                  <c:v>23.35483870967742</c:v>
                </c:pt>
                <c:pt idx="8">
                  <c:v>28.609756097560975</c:v>
                </c:pt>
                <c:pt idx="9">
                  <c:v>14.346938775510203</c:v>
                </c:pt>
                <c:pt idx="10">
                  <c:v>33.94736842105263</c:v>
                </c:pt>
                <c:pt idx="11">
                  <c:v>19.545454545454547</c:v>
                </c:pt>
                <c:pt idx="12">
                  <c:v>10</c:v>
                </c:pt>
                <c:pt idx="13">
                  <c:v>16.833333333333332</c:v>
                </c:pt>
                <c:pt idx="14">
                  <c:v>20.499999999999996</c:v>
                </c:pt>
                <c:pt idx="15">
                  <c:v>27.125</c:v>
                </c:pt>
                <c:pt idx="16">
                  <c:v>7.3529411764705879</c:v>
                </c:pt>
                <c:pt idx="17">
                  <c:v>6.5294117647058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ROSE 1ERE CU 1CT X 750ML</c:v>
                </c:pt>
                <c:pt idx="12">
                  <c:v>CHAMPAGNE NICOLAS BLC DE NOIRS 1CT X 750ML</c:v>
                </c:pt>
                <c:pt idx="13">
                  <c:v>MG CHAMPAGNE NICOLAS 1ERE CUVE 1CT X 1500ML</c:v>
                </c:pt>
                <c:pt idx="14">
                  <c:v>CHAMPAGNE NICOLAS ROSE 1ERE ET 1CT X 750ML</c:v>
                </c:pt>
                <c:pt idx="15">
                  <c:v>CHAMPAGNE NICOLAS 1ER CRU ETUI 1CT X 750ML</c:v>
                </c:pt>
                <c:pt idx="16">
                  <c:v>CHAMPAGNE NICOLAS ROSE 1E C BS 1CT X 750ML</c:v>
                </c:pt>
                <c:pt idx="17">
                  <c:v>CHAMPAGNE NICOLAS 1ERE CUV ETU 1CT X 750ML</c:v>
                </c:pt>
                <c:pt idx="18">
                  <c:v>CHAMPAGNE NICOLAS BLC/BL BS ET 1CT X 750ML</c:v>
                </c:pt>
                <c:pt idx="19">
                  <c:v>MG CHAMPAGNE NICOLAS 1E CRU BS 1CT X 1500ML</c:v>
                </c:pt>
              </c:strCache>
            </c:strRef>
          </c:cat>
          <c:val>
            <c:numRef>
              <c:f>Sheet1!$B$2:$B$21</c:f>
              <c:numCache>
                <c:formatCode>General</c:formatCode>
                <c:ptCount val="20"/>
                <c:pt idx="0">
                  <c:v>1</c:v>
                </c:pt>
                <c:pt idx="1">
                  <c:v>0.55000000000000004</c:v>
                </c:pt>
                <c:pt idx="2">
                  <c:v>0.75</c:v>
                </c:pt>
                <c:pt idx="3">
                  <c:v>0.75</c:v>
                </c:pt>
                <c:pt idx="4">
                  <c:v>0.46</c:v>
                </c:pt>
                <c:pt idx="5">
                  <c:v>0.61</c:v>
                </c:pt>
                <c:pt idx="6">
                  <c:v>0.4</c:v>
                </c:pt>
                <c:pt idx="7">
                  <c:v>0.35</c:v>
                </c:pt>
                <c:pt idx="8">
                  <c:v>0.56000000000000005</c:v>
                </c:pt>
                <c:pt idx="9">
                  <c:v>0.3</c:v>
                </c:pt>
                <c:pt idx="10">
                  <c:v>0.28000000000000003</c:v>
                </c:pt>
                <c:pt idx="11">
                  <c:v>0.36</c:v>
                </c:pt>
                <c:pt idx="12">
                  <c:v>0.2</c:v>
                </c:pt>
                <c:pt idx="13">
                  <c:v>0.21</c:v>
                </c:pt>
                <c:pt idx="14">
                  <c:v>0.18</c:v>
                </c:pt>
                <c:pt idx="15">
                  <c:v>7.0000000000000007E-2</c:v>
                </c:pt>
                <c:pt idx="16">
                  <c:v>0.24</c:v>
                </c:pt>
                <c:pt idx="17">
                  <c:v>0.12</c:v>
                </c:pt>
                <c:pt idx="18">
                  <c:v>0.13</c:v>
                </c:pt>
                <c:pt idx="19">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ROSE 1ERE CU 1CT X 750ML</c:v>
                </c:pt>
                <c:pt idx="12">
                  <c:v>CHAMPAGNE NICOLAS BLC DE NOIRS 1CT X 750ML</c:v>
                </c:pt>
                <c:pt idx="13">
                  <c:v>MG CHAMPAGNE NICOLAS 1ERE CUVE 1CT X 1500ML</c:v>
                </c:pt>
                <c:pt idx="14">
                  <c:v>CHAMPAGNE NICOLAS ROSE 1ERE ET 1CT X 750ML</c:v>
                </c:pt>
                <c:pt idx="15">
                  <c:v>CHAMPAGNE NICOLAS 1ER CRU ETUI 1CT X 750ML</c:v>
                </c:pt>
                <c:pt idx="16">
                  <c:v>CHAMPAGNE NICOLAS ROSE 1E C BS 1CT X 750ML</c:v>
                </c:pt>
                <c:pt idx="17">
                  <c:v>CHAMPAGNE NICOLAS 1ERE CUV ETU 1CT X 750ML</c:v>
                </c:pt>
                <c:pt idx="18">
                  <c:v>CHAMPAGNE NICOLAS BLC/BL BS ET 1CT X 750ML</c:v>
                </c:pt>
                <c:pt idx="19">
                  <c:v>MG CHAMPAGNE NICOLAS 1E CRU BS 1CT X 1500ML</c:v>
                </c:pt>
              </c:strCache>
            </c:strRef>
          </c:cat>
          <c:val>
            <c:numRef>
              <c:f>Sheet1!$C$2:$C$21</c:f>
              <c:numCache>
                <c:formatCode>General</c:formatCode>
                <c:ptCount val="20"/>
                <c:pt idx="0">
                  <c:v>0.73546662232086324</c:v>
                </c:pt>
                <c:pt idx="1">
                  <c:v>0.7949688833172367</c:v>
                </c:pt>
                <c:pt idx="2">
                  <c:v>0.83906310962154695</c:v>
                </c:pt>
                <c:pt idx="3">
                  <c:v>0.87518148733266388</c:v>
                </c:pt>
                <c:pt idx="4">
                  <c:v>0.90430260894036985</c:v>
                </c:pt>
                <c:pt idx="5">
                  <c:v>0.91846341791016139</c:v>
                </c:pt>
                <c:pt idx="6">
                  <c:v>0.93220208894318413</c:v>
                </c:pt>
                <c:pt idx="7">
                  <c:v>0.94275553736240547</c:v>
                </c:pt>
                <c:pt idx="8">
                  <c:v>0.95247110593743411</c:v>
                </c:pt>
                <c:pt idx="9">
                  <c:v>0.96189245716259353</c:v>
                </c:pt>
                <c:pt idx="10">
                  <c:v>0.97000901840137654</c:v>
                </c:pt>
                <c:pt idx="11">
                  <c:v>0.97587417731072557</c:v>
                </c:pt>
                <c:pt idx="12">
                  <c:v>0.98122765387247601</c:v>
                </c:pt>
                <c:pt idx="13">
                  <c:v>0.98606944808662789</c:v>
                </c:pt>
                <c:pt idx="14">
                  <c:v>0.99022686716086661</c:v>
                </c:pt>
                <c:pt idx="15">
                  <c:v>0.99300274389658905</c:v>
                </c:pt>
                <c:pt idx="16">
                  <c:v>0.9950878494630534</c:v>
                </c:pt>
                <c:pt idx="17">
                  <c:v>0.99705782650130803</c:v>
                </c:pt>
                <c:pt idx="18">
                  <c:v>0.9985417053093440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ROSE 1ERE CU 1CT X 750ML</c:v>
                </c:pt>
                <c:pt idx="12">
                  <c:v>CHAMPAGNE NICOLAS BLC DE NOIRS 1CT X 750ML</c:v>
                </c:pt>
                <c:pt idx="13">
                  <c:v>MG CHAMPAGNE NICOLAS 1ERE CUVE 1CT X 1500ML</c:v>
                </c:pt>
                <c:pt idx="14">
                  <c:v>CHAMPAGNE NICOLAS ROSE 1ERE ET 1CT X 750ML</c:v>
                </c:pt>
                <c:pt idx="15">
                  <c:v>CHAMPAGNE NICOLAS 1ER CRU ETUI 1CT X 750ML</c:v>
                </c:pt>
                <c:pt idx="16">
                  <c:v>CHAMPAGNE NICOLAS ROSE 1E C BS 1CT X 750ML</c:v>
                </c:pt>
                <c:pt idx="17">
                  <c:v>CHAMPAGNE NICOLAS 1ERE CUV ETU 1CT X 750ML</c:v>
                </c:pt>
                <c:pt idx="18">
                  <c:v>CHAMPAGNE NICOLAS BLC/BL BS ET 1CT X 750ML</c:v>
                </c:pt>
                <c:pt idx="19">
                  <c:v>MG CHAMPAGNE NICOLAS 1E CRU BS 1CT X 1500ML</c:v>
                </c:pt>
              </c:strCache>
            </c:strRef>
          </c:cat>
          <c:val>
            <c:numRef>
              <c:f>Sheet1!$D$2:$D$21</c:f>
              <c:numCache>
                <c:formatCode>General</c:formatCode>
                <c:ptCount val="20"/>
                <c:pt idx="0">
                  <c:v>1149.8800000000001</c:v>
                </c:pt>
                <c:pt idx="1">
                  <c:v>169.14545454545453</c:v>
                </c:pt>
                <c:pt idx="2">
                  <c:v>91.92</c:v>
                </c:pt>
                <c:pt idx="3">
                  <c:v>75.293333333333337</c:v>
                </c:pt>
                <c:pt idx="4">
                  <c:v>98.978260869565219</c:v>
                </c:pt>
                <c:pt idx="5">
                  <c:v>36.295081967213115</c:v>
                </c:pt>
                <c:pt idx="6">
                  <c:v>53.7</c:v>
                </c:pt>
                <c:pt idx="7">
                  <c:v>47.142857142857146</c:v>
                </c:pt>
                <c:pt idx="8">
                  <c:v>27.124999999999996</c:v>
                </c:pt>
                <c:pt idx="9">
                  <c:v>49.1</c:v>
                </c:pt>
                <c:pt idx="10">
                  <c:v>45.321428571428562</c:v>
                </c:pt>
                <c:pt idx="11">
                  <c:v>25.472222222222221</c:v>
                </c:pt>
                <c:pt idx="12">
                  <c:v>41.85</c:v>
                </c:pt>
                <c:pt idx="13">
                  <c:v>36.047619047619051</c:v>
                </c:pt>
                <c:pt idx="14">
                  <c:v>36.111111111111114</c:v>
                </c:pt>
                <c:pt idx="15">
                  <c:v>61.999999999999993</c:v>
                </c:pt>
                <c:pt idx="16">
                  <c:v>13.583333333333334</c:v>
                </c:pt>
                <c:pt idx="17">
                  <c:v>25.666666666666668</c:v>
                </c:pt>
                <c:pt idx="18">
                  <c:v>17.846153846153847</c:v>
                </c:pt>
                <c:pt idx="19">
                  <c:v>32.57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ROSE 1ERE CU 1CT X 750ML</c:v>
                </c:pt>
                <c:pt idx="13">
                  <c:v>CHAMPAGNE NICOLAS ROSE 1ERE ET 1CT X 750ML</c:v>
                </c:pt>
                <c:pt idx="14">
                  <c:v>CHAMPAGNE NICOLAS BLC DE NOIRS 1CT X 750ML</c:v>
                </c:pt>
                <c:pt idx="15">
                  <c:v>CHAMPAGNE NICOLAS 1ERE CUV ETU 1CT X 750ML</c:v>
                </c:pt>
                <c:pt idx="16">
                  <c:v>CHAMPAGNE NICOLAS 1ER CRU ETUI 1CT X 750ML</c:v>
                </c:pt>
                <c:pt idx="17">
                  <c:v>CHAMPAGNE NICOLAS BLC/BL BS ET 1CT X 750ML</c:v>
                </c:pt>
                <c:pt idx="18">
                  <c:v>CHAMPAGNE NICOLAS ROSE 1E C BS 1CT X 750ML</c:v>
                </c:pt>
                <c:pt idx="19">
                  <c:v>MG CHAMPAGNE NICOLAS 1E CRU BS 1CT X 1500ML</c:v>
                </c:pt>
                <c:pt idx="20">
                  <c:v>1/2 CHAMPAGNE NICOLAS 1E C BS 1CT X 375ML</c:v>
                </c:pt>
              </c:strCache>
            </c:strRef>
          </c:cat>
          <c:val>
            <c:numRef>
              <c:f>Sheet1!$B$2:$B$22</c:f>
              <c:numCache>
                <c:formatCode>General</c:formatCode>
                <c:ptCount val="21"/>
                <c:pt idx="0">
                  <c:v>1</c:v>
                </c:pt>
                <c:pt idx="1">
                  <c:v>0.65</c:v>
                </c:pt>
                <c:pt idx="2">
                  <c:v>0.71</c:v>
                </c:pt>
                <c:pt idx="3">
                  <c:v>0.87</c:v>
                </c:pt>
                <c:pt idx="4">
                  <c:v>0.4</c:v>
                </c:pt>
                <c:pt idx="5">
                  <c:v>0.45</c:v>
                </c:pt>
                <c:pt idx="6">
                  <c:v>0.35</c:v>
                </c:pt>
                <c:pt idx="7">
                  <c:v>0.43</c:v>
                </c:pt>
                <c:pt idx="8">
                  <c:v>0.28000000000000003</c:v>
                </c:pt>
                <c:pt idx="9">
                  <c:v>0.28000000000000003</c:v>
                </c:pt>
                <c:pt idx="10">
                  <c:v>0.3</c:v>
                </c:pt>
                <c:pt idx="11">
                  <c:v>0.34</c:v>
                </c:pt>
                <c:pt idx="12">
                  <c:v>0.19</c:v>
                </c:pt>
                <c:pt idx="13">
                  <c:v>0.27</c:v>
                </c:pt>
                <c:pt idx="14">
                  <c:v>0.17</c:v>
                </c:pt>
                <c:pt idx="15">
                  <c:v>0.1</c:v>
                </c:pt>
                <c:pt idx="16">
                  <c:v>0.15</c:v>
                </c:pt>
                <c:pt idx="17">
                  <c:v>7.0000000000000007E-2</c:v>
                </c:pt>
                <c:pt idx="18">
                  <c:v>0.12</c:v>
                </c:pt>
                <c:pt idx="19">
                  <c:v>0.11</c:v>
                </c:pt>
                <c:pt idx="20">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ROSE 1ERE CU 1CT X 750ML</c:v>
                </c:pt>
                <c:pt idx="13">
                  <c:v>CHAMPAGNE NICOLAS ROSE 1ERE ET 1CT X 750ML</c:v>
                </c:pt>
                <c:pt idx="14">
                  <c:v>CHAMPAGNE NICOLAS BLC DE NOIRS 1CT X 750ML</c:v>
                </c:pt>
                <c:pt idx="15">
                  <c:v>CHAMPAGNE NICOLAS 1ERE CUV ETU 1CT X 750ML</c:v>
                </c:pt>
                <c:pt idx="16">
                  <c:v>CHAMPAGNE NICOLAS 1ER CRU ETUI 1CT X 750ML</c:v>
                </c:pt>
                <c:pt idx="17">
                  <c:v>CHAMPAGNE NICOLAS BLC/BL BS ET 1CT X 750ML</c:v>
                </c:pt>
                <c:pt idx="18">
                  <c:v>CHAMPAGNE NICOLAS ROSE 1E C BS 1CT X 750ML</c:v>
                </c:pt>
                <c:pt idx="19">
                  <c:v>MG CHAMPAGNE NICOLAS 1E CRU BS 1CT X 1500ML</c:v>
                </c:pt>
                <c:pt idx="20">
                  <c:v>1/2 CHAMPAGNE NICOLAS 1E C BS 1CT X 375ML</c:v>
                </c:pt>
              </c:strCache>
            </c:strRef>
          </c:cat>
          <c:val>
            <c:numRef>
              <c:f>Sheet1!$C$2:$C$22</c:f>
              <c:numCache>
                <c:formatCode>General</c:formatCode>
                <c:ptCount val="21"/>
                <c:pt idx="0">
                  <c:v>0.69154610084350465</c:v>
                </c:pt>
                <c:pt idx="1">
                  <c:v>0.78559656516635956</c:v>
                </c:pt>
                <c:pt idx="2">
                  <c:v>0.83802521391691454</c:v>
                </c:pt>
                <c:pt idx="3">
                  <c:v>0.88633060273789332</c:v>
                </c:pt>
                <c:pt idx="4">
                  <c:v>0.90355342297470709</c:v>
                </c:pt>
                <c:pt idx="5">
                  <c:v>0.92058771657757266</c:v>
                </c:pt>
                <c:pt idx="6">
                  <c:v>0.93487317022738747</c:v>
                </c:pt>
                <c:pt idx="7">
                  <c:v>0.94900658626917955</c:v>
                </c:pt>
                <c:pt idx="8">
                  <c:v>0.95744163276228011</c:v>
                </c:pt>
                <c:pt idx="9">
                  <c:v>0.96467254139984071</c:v>
                </c:pt>
                <c:pt idx="10">
                  <c:v>0.971125017484325</c:v>
                </c:pt>
                <c:pt idx="11">
                  <c:v>0.97751059702127929</c:v>
                </c:pt>
                <c:pt idx="12">
                  <c:v>0.98329410763046354</c:v>
                </c:pt>
                <c:pt idx="13">
                  <c:v>0.98845122329459423</c:v>
                </c:pt>
                <c:pt idx="14">
                  <c:v>0.99114532970875679</c:v>
                </c:pt>
                <c:pt idx="15">
                  <c:v>0.99360833895872491</c:v>
                </c:pt>
                <c:pt idx="16">
                  <c:v>0.99602877767844666</c:v>
                </c:pt>
                <c:pt idx="17">
                  <c:v>0.99816338569508567</c:v>
                </c:pt>
                <c:pt idx="18">
                  <c:v>0.999410094080872</c:v>
                </c:pt>
                <c:pt idx="19">
                  <c:v>0.99987228840926112</c:v>
                </c:pt>
                <c:pt idx="2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ROSE 1ERE CU 1CT X 750ML</c:v>
                </c:pt>
                <c:pt idx="13">
                  <c:v>CHAMPAGNE NICOLAS ROSE 1ERE ET 1CT X 750ML</c:v>
                </c:pt>
                <c:pt idx="14">
                  <c:v>CHAMPAGNE NICOLAS BLC DE NOIRS 1CT X 750ML</c:v>
                </c:pt>
                <c:pt idx="15">
                  <c:v>CHAMPAGNE NICOLAS 1ERE CUV ETU 1CT X 750ML</c:v>
                </c:pt>
                <c:pt idx="16">
                  <c:v>CHAMPAGNE NICOLAS 1ER CRU ETUI 1CT X 750ML</c:v>
                </c:pt>
                <c:pt idx="17">
                  <c:v>CHAMPAGNE NICOLAS BLC/BL BS ET 1CT X 750ML</c:v>
                </c:pt>
                <c:pt idx="18">
                  <c:v>CHAMPAGNE NICOLAS ROSE 1E C BS 1CT X 750ML</c:v>
                </c:pt>
                <c:pt idx="19">
                  <c:v>MG CHAMPAGNE NICOLAS 1E CRU BS 1CT X 1500ML</c:v>
                </c:pt>
                <c:pt idx="20">
                  <c:v>1/2 CHAMPAGNE NICOLAS 1E C BS 1CT X 375ML</c:v>
                </c:pt>
              </c:strCache>
            </c:strRef>
          </c:cat>
          <c:val>
            <c:numRef>
              <c:f>Sheet1!$D$2:$D$22</c:f>
              <c:numCache>
                <c:formatCode>General</c:formatCode>
                <c:ptCount val="21"/>
                <c:pt idx="0">
                  <c:v>1137.1300000000001</c:v>
                </c:pt>
                <c:pt idx="1">
                  <c:v>237.92307692307693</c:v>
                </c:pt>
                <c:pt idx="2">
                  <c:v>121.4225352112676</c:v>
                </c:pt>
                <c:pt idx="3">
                  <c:v>91.298850574712645</c:v>
                </c:pt>
                <c:pt idx="4">
                  <c:v>70.8</c:v>
                </c:pt>
                <c:pt idx="5">
                  <c:v>62.244444444444447</c:v>
                </c:pt>
                <c:pt idx="6">
                  <c:v>67.114285714285714</c:v>
                </c:pt>
                <c:pt idx="7">
                  <c:v>54.046511627906973</c:v>
                </c:pt>
                <c:pt idx="8">
                  <c:v>49.535714285714278</c:v>
                </c:pt>
                <c:pt idx="9">
                  <c:v>42.464285714285708</c:v>
                </c:pt>
                <c:pt idx="10">
                  <c:v>35.366666666666667</c:v>
                </c:pt>
                <c:pt idx="11">
                  <c:v>30.882352941176471</c:v>
                </c:pt>
                <c:pt idx="12">
                  <c:v>50.05263157894737</c:v>
                </c:pt>
                <c:pt idx="13">
                  <c:v>31.407407407407408</c:v>
                </c:pt>
                <c:pt idx="14">
                  <c:v>26.058823529411764</c:v>
                </c:pt>
                <c:pt idx="15">
                  <c:v>40.5</c:v>
                </c:pt>
                <c:pt idx="16">
                  <c:v>26.533333333333335</c:v>
                </c:pt>
                <c:pt idx="17">
                  <c:v>50.142857142857139</c:v>
                </c:pt>
                <c:pt idx="18">
                  <c:v>17.083333333333332</c:v>
                </c:pt>
                <c:pt idx="19">
                  <c:v>6.9090909090909092</c:v>
                </c:pt>
                <c:pt idx="20">
                  <c:v>1.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1/2 CHAMP NICOLAS BLC/BLC BS 1CT X 375ML</c:v>
                </c:pt>
                <c:pt idx="7">
                  <c:v>MG CHAMPAGNE NICOLAS 1ERE CUVE 1CT X 1500ML</c:v>
                </c:pt>
                <c:pt idx="8">
                  <c:v>CHAMPAGNE NICOLAS ROSE 1ERE CU 1CT X 750ML</c:v>
                </c:pt>
                <c:pt idx="9">
                  <c:v>MG CHAMPAGNE E.NICOLAS BRUT 1CT X 1500ML</c:v>
                </c:pt>
                <c:pt idx="10">
                  <c:v>MG CHAMPAGNE NICOLAS BLC/BL BS 1CT X 1500ML</c:v>
                </c:pt>
                <c:pt idx="11">
                  <c:v>1/2 CHAMP NICOLAS ROSE 1E C BS 1CT X 375ML</c:v>
                </c:pt>
                <c:pt idx="12">
                  <c:v>CHAMPAGNE NICOLAS BLC DE NOIRS 1CT X 750ML</c:v>
                </c:pt>
                <c:pt idx="13">
                  <c:v>CHAMPAGNE NICOLAS 1ER CRU ETUI 1CT X 750ML</c:v>
                </c:pt>
                <c:pt idx="14">
                  <c:v>CHAMPAGNE NICOLAS 1ER CRU BS 1CT X 750ML</c:v>
                </c:pt>
                <c:pt idx="15">
                  <c:v>CHAMPAGNE NICOLAS ROSE 1E C BS 1CT X 750ML</c:v>
                </c:pt>
                <c:pt idx="16">
                  <c:v>CHAMPAGNE NICOLAS 1ERE CUV ETU 1CT X 750ML</c:v>
                </c:pt>
                <c:pt idx="17">
                  <c:v>MG CHAMPAGNE NICOLAS 1E CRU BS 1CT X 1500ML</c:v>
                </c:pt>
                <c:pt idx="18">
                  <c:v>MG CHAMPAGNE NICOLAS BRUT 1CT X 1500ML</c:v>
                </c:pt>
              </c:strCache>
            </c:strRef>
          </c:cat>
          <c:val>
            <c:numRef>
              <c:f>Sheet1!$B$2:$B$20</c:f>
              <c:numCache>
                <c:formatCode>General</c:formatCode>
                <c:ptCount val="19"/>
                <c:pt idx="0">
                  <c:v>1</c:v>
                </c:pt>
                <c:pt idx="1">
                  <c:v>0.63</c:v>
                </c:pt>
                <c:pt idx="2">
                  <c:v>0.79</c:v>
                </c:pt>
                <c:pt idx="3">
                  <c:v>0.56000000000000005</c:v>
                </c:pt>
                <c:pt idx="4">
                  <c:v>0.56999999999999995</c:v>
                </c:pt>
                <c:pt idx="5">
                  <c:v>0.23</c:v>
                </c:pt>
                <c:pt idx="6">
                  <c:v>0.26</c:v>
                </c:pt>
                <c:pt idx="7">
                  <c:v>0.15</c:v>
                </c:pt>
                <c:pt idx="8">
                  <c:v>0.28000000000000003</c:v>
                </c:pt>
                <c:pt idx="9">
                  <c:v>0.32</c:v>
                </c:pt>
                <c:pt idx="10">
                  <c:v>0.18</c:v>
                </c:pt>
                <c:pt idx="11">
                  <c:v>0.31</c:v>
                </c:pt>
                <c:pt idx="12">
                  <c:v>0.26</c:v>
                </c:pt>
                <c:pt idx="13">
                  <c:v>0.27</c:v>
                </c:pt>
                <c:pt idx="14">
                  <c:v>0.44</c:v>
                </c:pt>
                <c:pt idx="15">
                  <c:v>0.11</c:v>
                </c:pt>
                <c:pt idx="16">
                  <c:v>0.11</c:v>
                </c:pt>
                <c:pt idx="17">
                  <c:v>0.06</c:v>
                </c:pt>
                <c:pt idx="18">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1/2 CHAMP NICOLAS BLC/BLC BS 1CT X 375ML</c:v>
                </c:pt>
                <c:pt idx="7">
                  <c:v>MG CHAMPAGNE NICOLAS 1ERE CUVE 1CT X 1500ML</c:v>
                </c:pt>
                <c:pt idx="8">
                  <c:v>CHAMPAGNE NICOLAS ROSE 1ERE CU 1CT X 750ML</c:v>
                </c:pt>
                <c:pt idx="9">
                  <c:v>MG CHAMPAGNE E.NICOLAS BRUT 1CT X 1500ML</c:v>
                </c:pt>
                <c:pt idx="10">
                  <c:v>MG CHAMPAGNE NICOLAS BLC/BL BS 1CT X 1500ML</c:v>
                </c:pt>
                <c:pt idx="11">
                  <c:v>1/2 CHAMP NICOLAS ROSE 1E C BS 1CT X 375ML</c:v>
                </c:pt>
                <c:pt idx="12">
                  <c:v>CHAMPAGNE NICOLAS BLC DE NOIRS 1CT X 750ML</c:v>
                </c:pt>
                <c:pt idx="13">
                  <c:v>CHAMPAGNE NICOLAS 1ER CRU ETUI 1CT X 750ML</c:v>
                </c:pt>
                <c:pt idx="14">
                  <c:v>CHAMPAGNE NICOLAS 1ER CRU BS 1CT X 750ML</c:v>
                </c:pt>
                <c:pt idx="15">
                  <c:v>CHAMPAGNE NICOLAS ROSE 1E C BS 1CT X 750ML</c:v>
                </c:pt>
                <c:pt idx="16">
                  <c:v>CHAMPAGNE NICOLAS 1ERE CUV ETU 1CT X 750ML</c:v>
                </c:pt>
                <c:pt idx="17">
                  <c:v>MG CHAMPAGNE NICOLAS 1E CRU BS 1CT X 1500ML</c:v>
                </c:pt>
                <c:pt idx="18">
                  <c:v>MG CHAMPAGNE NICOLAS BRUT 1CT X 1500ML</c:v>
                </c:pt>
              </c:strCache>
            </c:strRef>
          </c:cat>
          <c:val>
            <c:numRef>
              <c:f>Sheet1!$C$2:$C$20</c:f>
              <c:numCache>
                <c:formatCode>General</c:formatCode>
                <c:ptCount val="19"/>
                <c:pt idx="0">
                  <c:v>0.7376241945904416</c:v>
                </c:pt>
                <c:pt idx="1">
                  <c:v>0.80665805234943866</c:v>
                </c:pt>
                <c:pt idx="2">
                  <c:v>0.86930974872967925</c:v>
                </c:pt>
                <c:pt idx="3">
                  <c:v>0.90397073460336308</c:v>
                </c:pt>
                <c:pt idx="4">
                  <c:v>0.92278545111665999</c:v>
                </c:pt>
                <c:pt idx="5">
                  <c:v>0.93649269238156774</c:v>
                </c:pt>
                <c:pt idx="6">
                  <c:v>0.9452670729364927</c:v>
                </c:pt>
                <c:pt idx="7">
                  <c:v>0.95377080095688771</c:v>
                </c:pt>
                <c:pt idx="8">
                  <c:v>0.9620911837119559</c:v>
                </c:pt>
                <c:pt idx="9">
                  <c:v>0.97036791283242252</c:v>
                </c:pt>
                <c:pt idx="10">
                  <c:v>0.9786271804990484</c:v>
                </c:pt>
                <c:pt idx="11">
                  <c:v>0.98442438317414316</c:v>
                </c:pt>
                <c:pt idx="12">
                  <c:v>0.99009935567235341</c:v>
                </c:pt>
                <c:pt idx="13">
                  <c:v>0.99338210899439505</c:v>
                </c:pt>
                <c:pt idx="14">
                  <c:v>0.99621959524350012</c:v>
                </c:pt>
                <c:pt idx="15">
                  <c:v>0.99801812498908671</c:v>
                </c:pt>
                <c:pt idx="16">
                  <c:v>0.99897850495032225</c:v>
                </c:pt>
                <c:pt idx="17">
                  <c:v>0.99964204019626679</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1/2 CHAMP NICOLAS BLC/BLC BS 1CT X 375ML</c:v>
                </c:pt>
                <c:pt idx="7">
                  <c:v>MG CHAMPAGNE NICOLAS 1ERE CUVE 1CT X 1500ML</c:v>
                </c:pt>
                <c:pt idx="8">
                  <c:v>CHAMPAGNE NICOLAS ROSE 1ERE CU 1CT X 750ML</c:v>
                </c:pt>
                <c:pt idx="9">
                  <c:v>MG CHAMPAGNE E.NICOLAS BRUT 1CT X 1500ML</c:v>
                </c:pt>
                <c:pt idx="10">
                  <c:v>MG CHAMPAGNE NICOLAS BLC/BL BS 1CT X 1500ML</c:v>
                </c:pt>
                <c:pt idx="11">
                  <c:v>1/2 CHAMP NICOLAS ROSE 1E C BS 1CT X 375ML</c:v>
                </c:pt>
                <c:pt idx="12">
                  <c:v>CHAMPAGNE NICOLAS BLC DE NOIRS 1CT X 750ML</c:v>
                </c:pt>
                <c:pt idx="13">
                  <c:v>CHAMPAGNE NICOLAS 1ER CRU ETUI 1CT X 750ML</c:v>
                </c:pt>
                <c:pt idx="14">
                  <c:v>CHAMPAGNE NICOLAS 1ER CRU BS 1CT X 750ML</c:v>
                </c:pt>
                <c:pt idx="15">
                  <c:v>CHAMPAGNE NICOLAS ROSE 1E C BS 1CT X 750ML</c:v>
                </c:pt>
                <c:pt idx="16">
                  <c:v>CHAMPAGNE NICOLAS 1ERE CUV ETU 1CT X 750ML</c:v>
                </c:pt>
                <c:pt idx="17">
                  <c:v>MG CHAMPAGNE NICOLAS 1E CRU BS 1CT X 1500ML</c:v>
                </c:pt>
                <c:pt idx="18">
                  <c:v>MG CHAMPAGNE NICOLAS BRUT 1CT X 1500ML</c:v>
                </c:pt>
              </c:strCache>
            </c:strRef>
          </c:cat>
          <c:val>
            <c:numRef>
              <c:f>Sheet1!$D$2:$D$20</c:f>
              <c:numCache>
                <c:formatCode>General</c:formatCode>
                <c:ptCount val="19"/>
                <c:pt idx="0">
                  <c:v>844.86</c:v>
                </c:pt>
                <c:pt idx="1">
                  <c:v>125.50793650793651</c:v>
                </c:pt>
                <c:pt idx="2">
                  <c:v>90.835443037974684</c:v>
                </c:pt>
                <c:pt idx="3">
                  <c:v>70.892857142857139</c:v>
                </c:pt>
                <c:pt idx="4">
                  <c:v>37.807017543859651</c:v>
                </c:pt>
                <c:pt idx="5">
                  <c:v>68.260869565217391</c:v>
                </c:pt>
                <c:pt idx="6">
                  <c:v>38.653846153846153</c:v>
                </c:pt>
                <c:pt idx="7">
                  <c:v>64.933333333333337</c:v>
                </c:pt>
                <c:pt idx="8">
                  <c:v>34.035714285714285</c:v>
                </c:pt>
                <c:pt idx="9">
                  <c:v>29.625</c:v>
                </c:pt>
                <c:pt idx="10">
                  <c:v>52.555555555555557</c:v>
                </c:pt>
                <c:pt idx="11">
                  <c:v>21.419354838709676</c:v>
                </c:pt>
                <c:pt idx="12">
                  <c:v>25</c:v>
                </c:pt>
                <c:pt idx="13">
                  <c:v>13.925925925925926</c:v>
                </c:pt>
                <c:pt idx="14">
                  <c:v>7.3863636363636367</c:v>
                </c:pt>
                <c:pt idx="15">
                  <c:v>18.727272727272727</c:v>
                </c:pt>
                <c:pt idx="16">
                  <c:v>10</c:v>
                </c:pt>
                <c:pt idx="17">
                  <c:v>12.666666666666666</c:v>
                </c:pt>
                <c:pt idx="18">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MG CHAMPAGNE NICOLAS BLC/BL BS 1CT X 1500ML</c:v>
                </c:pt>
                <c:pt idx="17">
                  <c:v>CHAMPAGNE NICOLAS 1ERE CUV ETU 1CT X 750ML</c:v>
                </c:pt>
                <c:pt idx="18">
                  <c:v>CHAMPAGNE NICOLAS BLC DE NOIRS 1CT X 750ML</c:v>
                </c:pt>
              </c:strCache>
            </c:strRef>
          </c:cat>
          <c:val>
            <c:numRef>
              <c:f>Sheet1!$B$2:$B$20</c:f>
              <c:numCache>
                <c:formatCode>General</c:formatCode>
                <c:ptCount val="19"/>
                <c:pt idx="0">
                  <c:v>1</c:v>
                </c:pt>
                <c:pt idx="1">
                  <c:v>0.76</c:v>
                </c:pt>
                <c:pt idx="2">
                  <c:v>0.56000000000000005</c:v>
                </c:pt>
                <c:pt idx="3">
                  <c:v>0.51</c:v>
                </c:pt>
                <c:pt idx="4">
                  <c:v>0.49</c:v>
                </c:pt>
                <c:pt idx="5">
                  <c:v>0.85</c:v>
                </c:pt>
                <c:pt idx="6">
                  <c:v>0.46</c:v>
                </c:pt>
                <c:pt idx="7">
                  <c:v>0.4</c:v>
                </c:pt>
                <c:pt idx="8">
                  <c:v>0.62</c:v>
                </c:pt>
                <c:pt idx="9">
                  <c:v>0.38</c:v>
                </c:pt>
                <c:pt idx="10">
                  <c:v>0.62</c:v>
                </c:pt>
                <c:pt idx="11">
                  <c:v>0.24</c:v>
                </c:pt>
                <c:pt idx="12">
                  <c:v>0.26</c:v>
                </c:pt>
                <c:pt idx="13">
                  <c:v>0.48</c:v>
                </c:pt>
                <c:pt idx="14">
                  <c:v>0.14000000000000001</c:v>
                </c:pt>
                <c:pt idx="15">
                  <c:v>0.11</c:v>
                </c:pt>
                <c:pt idx="16">
                  <c:v>0.35</c:v>
                </c:pt>
                <c:pt idx="17">
                  <c:v>0.66</c:v>
                </c:pt>
                <c:pt idx="18">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MG CHAMPAGNE NICOLAS BLC/BL BS 1CT X 1500ML</c:v>
                </c:pt>
                <c:pt idx="17">
                  <c:v>CHAMPAGNE NICOLAS 1ERE CUV ETU 1CT X 750ML</c:v>
                </c:pt>
                <c:pt idx="18">
                  <c:v>CHAMPAGNE NICOLAS BLC DE NOIRS 1CT X 750ML</c:v>
                </c:pt>
              </c:strCache>
            </c:strRef>
          </c:cat>
          <c:val>
            <c:numRef>
              <c:f>Sheet1!$C$2:$C$20</c:f>
              <c:numCache>
                <c:formatCode>General</c:formatCode>
                <c:ptCount val="19"/>
                <c:pt idx="0">
                  <c:v>0.7604624166776367</c:v>
                </c:pt>
                <c:pt idx="1">
                  <c:v>0.80477734828448677</c:v>
                </c:pt>
                <c:pt idx="2">
                  <c:v>0.84720144565048283</c:v>
                </c:pt>
                <c:pt idx="3">
                  <c:v>0.88163138306147604</c:v>
                </c:pt>
                <c:pt idx="4">
                  <c:v>0.90423762281447084</c:v>
                </c:pt>
                <c:pt idx="5">
                  <c:v>0.92312203061236697</c:v>
                </c:pt>
                <c:pt idx="6">
                  <c:v>0.93766230657842775</c:v>
                </c:pt>
                <c:pt idx="7">
                  <c:v>0.94583597611325865</c:v>
                </c:pt>
                <c:pt idx="8">
                  <c:v>0.953195868886203</c:v>
                </c:pt>
                <c:pt idx="9">
                  <c:v>0.96043608860592866</c:v>
                </c:pt>
                <c:pt idx="10">
                  <c:v>0.96734122377664222</c:v>
                </c:pt>
                <c:pt idx="11">
                  <c:v>0.97315733416306649</c:v>
                </c:pt>
                <c:pt idx="12">
                  <c:v>0.97887770610691593</c:v>
                </c:pt>
                <c:pt idx="13">
                  <c:v>0.9844425030815811</c:v>
                </c:pt>
                <c:pt idx="14">
                  <c:v>0.98883450413470397</c:v>
                </c:pt>
                <c:pt idx="15">
                  <c:v>0.99303502830267709</c:v>
                </c:pt>
                <c:pt idx="16">
                  <c:v>0.99612259307571716</c:v>
                </c:pt>
                <c:pt idx="17">
                  <c:v>0.99871949833056095</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MG CHAMPAGNE NICOLAS BLC/BL BS 1CT X 1500ML</c:v>
                </c:pt>
                <c:pt idx="17">
                  <c:v>CHAMPAGNE NICOLAS 1ERE CUV ETU 1CT X 750ML</c:v>
                </c:pt>
                <c:pt idx="18">
                  <c:v>CHAMPAGNE NICOLAS BLC DE NOIRS 1CT X 750ML</c:v>
                </c:pt>
              </c:strCache>
            </c:strRef>
          </c:cat>
          <c:val>
            <c:numRef>
              <c:f>Sheet1!$D$2:$D$20</c:f>
              <c:numCache>
                <c:formatCode>General</c:formatCode>
                <c:ptCount val="19"/>
                <c:pt idx="0">
                  <c:v>635.45000000000005</c:v>
                </c:pt>
                <c:pt idx="1">
                  <c:v>48.723684210526315</c:v>
                </c:pt>
                <c:pt idx="2">
                  <c:v>63.303571428571423</c:v>
                </c:pt>
                <c:pt idx="3">
                  <c:v>56.411764705882355</c:v>
                </c:pt>
                <c:pt idx="4">
                  <c:v>38.551020408163268</c:v>
                </c:pt>
                <c:pt idx="5">
                  <c:v>18.564705882352943</c:v>
                </c:pt>
                <c:pt idx="6">
                  <c:v>26.413043478260871</c:v>
                </c:pt>
                <c:pt idx="7">
                  <c:v>17.074999999999999</c:v>
                </c:pt>
                <c:pt idx="8">
                  <c:v>9.9193548387096779</c:v>
                </c:pt>
                <c:pt idx="9">
                  <c:v>15.921052631578947</c:v>
                </c:pt>
                <c:pt idx="10">
                  <c:v>9.306451612903226</c:v>
                </c:pt>
                <c:pt idx="11">
                  <c:v>20.25</c:v>
                </c:pt>
                <c:pt idx="12">
                  <c:v>18.384615384615383</c:v>
                </c:pt>
                <c:pt idx="13">
                  <c:v>9.6875</c:v>
                </c:pt>
                <c:pt idx="14">
                  <c:v>26.214285714285712</c:v>
                </c:pt>
                <c:pt idx="15">
                  <c:v>31.90909090909091</c:v>
                </c:pt>
                <c:pt idx="16">
                  <c:v>7.371428571428571</c:v>
                </c:pt>
                <c:pt idx="17">
                  <c:v>3.2878787878787881</c:v>
                </c:pt>
                <c:pt idx="18">
                  <c:v>15.2857142857142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B$2:$B$4</c:f>
              <c:numCache>
                <c:formatCode>General</c:formatCode>
                <c:ptCount val="3"/>
                <c:pt idx="0">
                  <c:v>0.43595184052106978</c:v>
                </c:pt>
                <c:pt idx="1">
                  <c:v>0.32458304549491762</c:v>
                </c:pt>
                <c:pt idx="2">
                  <c:v>0.2394651139840126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C$2:$C$4</c:f>
              <c:numCache>
                <c:formatCode>General</c:formatCode>
                <c:ptCount val="3"/>
                <c:pt idx="0">
                  <c:v>0.27500000000000002</c:v>
                </c:pt>
                <c:pt idx="1">
                  <c:v>0.32142857142857145</c:v>
                </c:pt>
                <c:pt idx="2">
                  <c:v>0.403571428571428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D$2:$D$4</c:f>
              <c:numCache>
                <c:formatCode>General</c:formatCode>
                <c:ptCount val="3"/>
                <c:pt idx="0">
                  <c:v>63.080362195812114</c:v>
                </c:pt>
                <c:pt idx="1">
                  <c:v>99.0281457672762</c:v>
                </c:pt>
                <c:pt idx="2">
                  <c:v>168.530364134114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B$2:$B$21</c:f>
              <c:numCache>
                <c:formatCode>General</c:formatCode>
                <c:ptCount val="20"/>
                <c:pt idx="0">
                  <c:v>1</c:v>
                </c:pt>
                <c:pt idx="1">
                  <c:v>0.69</c:v>
                </c:pt>
                <c:pt idx="2">
                  <c:v>0.69</c:v>
                </c:pt>
                <c:pt idx="3">
                  <c:v>0.6</c:v>
                </c:pt>
                <c:pt idx="4">
                  <c:v>0.63</c:v>
                </c:pt>
                <c:pt idx="5">
                  <c:v>0.49</c:v>
                </c:pt>
                <c:pt idx="6">
                  <c:v>0.35</c:v>
                </c:pt>
                <c:pt idx="7">
                  <c:v>0.34</c:v>
                </c:pt>
                <c:pt idx="8">
                  <c:v>0.41</c:v>
                </c:pt>
                <c:pt idx="9">
                  <c:v>0.51</c:v>
                </c:pt>
                <c:pt idx="10">
                  <c:v>0.25</c:v>
                </c:pt>
                <c:pt idx="11">
                  <c:v>0.48</c:v>
                </c:pt>
                <c:pt idx="12">
                  <c:v>0.39</c:v>
                </c:pt>
                <c:pt idx="13">
                  <c:v>0.44</c:v>
                </c:pt>
                <c:pt idx="14">
                  <c:v>0.46</c:v>
                </c:pt>
                <c:pt idx="15">
                  <c:v>0.11</c:v>
                </c:pt>
                <c:pt idx="16">
                  <c:v>0.28000000000000003</c:v>
                </c:pt>
                <c:pt idx="17">
                  <c:v>0.28000000000000003</c:v>
                </c:pt>
                <c:pt idx="18">
                  <c:v>0.09</c:v>
                </c:pt>
                <c:pt idx="19">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C$2:$C$21</c:f>
              <c:numCache>
                <c:formatCode>General</c:formatCode>
                <c:ptCount val="20"/>
                <c:pt idx="0">
                  <c:v>0.7044608662818922</c:v>
                </c:pt>
                <c:pt idx="1">
                  <c:v>0.77817933365697534</c:v>
                </c:pt>
                <c:pt idx="2">
                  <c:v>0.83167017278889543</c:v>
                </c:pt>
                <c:pt idx="3">
                  <c:v>0.87471456569034645</c:v>
                </c:pt>
                <c:pt idx="4">
                  <c:v>0.8951579553014366</c:v>
                </c:pt>
                <c:pt idx="5">
                  <c:v>0.91107035618605825</c:v>
                </c:pt>
                <c:pt idx="6">
                  <c:v>0.92653325422083177</c:v>
                </c:pt>
                <c:pt idx="7">
                  <c:v>0.93879569196468704</c:v>
                </c:pt>
                <c:pt idx="8">
                  <c:v>0.94956578024704674</c:v>
                </c:pt>
                <c:pt idx="9">
                  <c:v>0.95904130032184398</c:v>
                </c:pt>
                <c:pt idx="10">
                  <c:v>0.96817519823075671</c:v>
                </c:pt>
                <c:pt idx="11">
                  <c:v>0.97538522394231975</c:v>
                </c:pt>
                <c:pt idx="12">
                  <c:v>0.98203786612007116</c:v>
                </c:pt>
                <c:pt idx="13">
                  <c:v>0.98779150259812643</c:v>
                </c:pt>
                <c:pt idx="14">
                  <c:v>0.99221461064063143</c:v>
                </c:pt>
                <c:pt idx="15">
                  <c:v>0.99494758796770766</c:v>
                </c:pt>
                <c:pt idx="16">
                  <c:v>0.99760864483880818</c:v>
                </c:pt>
                <c:pt idx="17">
                  <c:v>0.99888523293237674</c:v>
                </c:pt>
                <c:pt idx="18">
                  <c:v>0.99962241760612758</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D$2:$D$21</c:f>
              <c:numCache>
                <c:formatCode>General</c:formatCode>
                <c:ptCount val="20"/>
                <c:pt idx="0">
                  <c:v>391.8</c:v>
                </c:pt>
                <c:pt idx="1">
                  <c:v>59.420289855072461</c:v>
                </c:pt>
                <c:pt idx="2">
                  <c:v>43.115942028985508</c:v>
                </c:pt>
                <c:pt idx="3">
                  <c:v>39.9</c:v>
                </c:pt>
                <c:pt idx="4">
                  <c:v>18.047619047619047</c:v>
                </c:pt>
                <c:pt idx="5">
                  <c:v>18.061224489795919</c:v>
                </c:pt>
                <c:pt idx="6">
                  <c:v>24.571428571428573</c:v>
                </c:pt>
                <c:pt idx="7">
                  <c:v>20.058823529411764</c:v>
                </c:pt>
                <c:pt idx="8">
                  <c:v>14.609756097560975</c:v>
                </c:pt>
                <c:pt idx="9">
                  <c:v>10.333333333333334</c:v>
                </c:pt>
                <c:pt idx="10">
                  <c:v>20.32</c:v>
                </c:pt>
                <c:pt idx="11">
                  <c:v>8.3541666666666661</c:v>
                </c:pt>
                <c:pt idx="12">
                  <c:v>9.4871794871794872</c:v>
                </c:pt>
                <c:pt idx="13">
                  <c:v>7.2727272727272725</c:v>
                </c:pt>
                <c:pt idx="14">
                  <c:v>5.3478260869565215</c:v>
                </c:pt>
                <c:pt idx="15">
                  <c:v>13.818181818181818</c:v>
                </c:pt>
                <c:pt idx="16">
                  <c:v>5.2857142857142847</c:v>
                </c:pt>
                <c:pt idx="17">
                  <c:v>2.5357142857142856</c:v>
                </c:pt>
                <c:pt idx="18">
                  <c:v>4.5555555555555554</c:v>
                </c:pt>
                <c:pt idx="19">
                  <c:v>1.61538461538461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ROSE 1ERE ET 1CT X 750ML</c:v>
                </c:pt>
                <c:pt idx="14">
                  <c:v>MG CHAMPAGNE NICOLAS BLC/BL BS 1CT X 1500ML</c:v>
                </c:pt>
                <c:pt idx="15">
                  <c:v>CHAMPAGNE NICOLAS 1ERE CUV ETU 1CT X 750ML</c:v>
                </c:pt>
                <c:pt idx="16">
                  <c:v>CHAMPAGNE NICOLAS ROSE 1E C BS 1CT X 750ML</c:v>
                </c:pt>
              </c:strCache>
            </c:strRef>
          </c:cat>
          <c:val>
            <c:numRef>
              <c:f>Sheet1!$B$2:$B$18</c:f>
              <c:numCache>
                <c:formatCode>General</c:formatCode>
                <c:ptCount val="17"/>
                <c:pt idx="0">
                  <c:v>1</c:v>
                </c:pt>
                <c:pt idx="1">
                  <c:v>0.8</c:v>
                </c:pt>
                <c:pt idx="2">
                  <c:v>0.56000000000000005</c:v>
                </c:pt>
                <c:pt idx="3">
                  <c:v>0.73</c:v>
                </c:pt>
                <c:pt idx="4">
                  <c:v>0.64</c:v>
                </c:pt>
                <c:pt idx="5">
                  <c:v>0.52</c:v>
                </c:pt>
                <c:pt idx="6">
                  <c:v>0.3</c:v>
                </c:pt>
                <c:pt idx="7">
                  <c:v>0.53</c:v>
                </c:pt>
                <c:pt idx="8">
                  <c:v>0.51</c:v>
                </c:pt>
                <c:pt idx="9">
                  <c:v>0.64</c:v>
                </c:pt>
                <c:pt idx="10">
                  <c:v>0.63</c:v>
                </c:pt>
                <c:pt idx="11">
                  <c:v>0.62</c:v>
                </c:pt>
                <c:pt idx="12">
                  <c:v>0.34</c:v>
                </c:pt>
                <c:pt idx="13">
                  <c:v>0.38</c:v>
                </c:pt>
                <c:pt idx="14">
                  <c:v>0.11</c:v>
                </c:pt>
                <c:pt idx="15">
                  <c:v>0.11</c:v>
                </c:pt>
                <c:pt idx="16">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ROSE 1ERE ET 1CT X 750ML</c:v>
                </c:pt>
                <c:pt idx="14">
                  <c:v>MG CHAMPAGNE NICOLAS BLC/BL BS 1CT X 1500ML</c:v>
                </c:pt>
                <c:pt idx="15">
                  <c:v>CHAMPAGNE NICOLAS 1ERE CUV ETU 1CT X 750ML</c:v>
                </c:pt>
                <c:pt idx="16">
                  <c:v>CHAMPAGNE NICOLAS ROSE 1E C BS 1CT X 750ML</c:v>
                </c:pt>
              </c:strCache>
            </c:strRef>
          </c:cat>
          <c:val>
            <c:numRef>
              <c:f>Sheet1!$C$2:$C$18</c:f>
              <c:numCache>
                <c:formatCode>General</c:formatCode>
                <c:ptCount val="17"/>
                <c:pt idx="0">
                  <c:v>0.66578751606140529</c:v>
                </c:pt>
                <c:pt idx="1">
                  <c:v>0.75705011158449986</c:v>
                </c:pt>
                <c:pt idx="2">
                  <c:v>0.7938729965510245</c:v>
                </c:pt>
                <c:pt idx="3">
                  <c:v>0.83008723879082968</c:v>
                </c:pt>
                <c:pt idx="4">
                  <c:v>0.85683370528166625</c:v>
                </c:pt>
                <c:pt idx="5">
                  <c:v>0.88290390207614788</c:v>
                </c:pt>
                <c:pt idx="6">
                  <c:v>0.90336106039088382</c:v>
                </c:pt>
                <c:pt idx="7">
                  <c:v>0.92030161628457419</c:v>
                </c:pt>
                <c:pt idx="8">
                  <c:v>0.93717454520862908</c:v>
                </c:pt>
                <c:pt idx="9">
                  <c:v>0.95333739095151138</c:v>
                </c:pt>
                <c:pt idx="10">
                  <c:v>0.96828295124095476</c:v>
                </c:pt>
                <c:pt idx="11">
                  <c:v>0.98025292486643656</c:v>
                </c:pt>
                <c:pt idx="12">
                  <c:v>0.98803002637451798</c:v>
                </c:pt>
                <c:pt idx="13">
                  <c:v>0.99222289849191836</c:v>
                </c:pt>
                <c:pt idx="14">
                  <c:v>0.99513085818624447</c:v>
                </c:pt>
                <c:pt idx="15">
                  <c:v>0.99759924257793986</c:v>
                </c:pt>
                <c:pt idx="16">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8</c:f>
              <c:strCache>
                <c:ptCount val="17"/>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ROSE 1ERE ET 1CT X 750ML</c:v>
                </c:pt>
                <c:pt idx="14">
                  <c:v>MG CHAMPAGNE NICOLAS BLC/BL BS 1CT X 1500ML</c:v>
                </c:pt>
                <c:pt idx="15">
                  <c:v>CHAMPAGNE NICOLAS 1ERE CUV ETU 1CT X 750ML</c:v>
                </c:pt>
                <c:pt idx="16">
                  <c:v>CHAMPAGNE NICOLAS ROSE 1E C BS 1CT X 750ML</c:v>
                </c:pt>
              </c:strCache>
            </c:strRef>
          </c:cat>
          <c:val>
            <c:numRef>
              <c:f>Sheet1!$D$2:$D$18</c:f>
              <c:numCache>
                <c:formatCode>General</c:formatCode>
                <c:ptCount val="17"/>
                <c:pt idx="0">
                  <c:v>196.9</c:v>
                </c:pt>
                <c:pt idx="1">
                  <c:v>33.737499999999997</c:v>
                </c:pt>
                <c:pt idx="2">
                  <c:v>19.446428571428569</c:v>
                </c:pt>
                <c:pt idx="3">
                  <c:v>14.671232876712329</c:v>
                </c:pt>
                <c:pt idx="4">
                  <c:v>12.359375</c:v>
                </c:pt>
                <c:pt idx="5">
                  <c:v>14.826923076923077</c:v>
                </c:pt>
                <c:pt idx="6">
                  <c:v>20.166666666666668</c:v>
                </c:pt>
                <c:pt idx="7">
                  <c:v>9.4528301886792452</c:v>
                </c:pt>
                <c:pt idx="8">
                  <c:v>9.7843137254901968</c:v>
                </c:pt>
                <c:pt idx="9">
                  <c:v>7.46875</c:v>
                </c:pt>
                <c:pt idx="10">
                  <c:v>7.0158730158730158</c:v>
                </c:pt>
                <c:pt idx="11">
                  <c:v>5.709677419354839</c:v>
                </c:pt>
                <c:pt idx="12">
                  <c:v>6.7647058823529411</c:v>
                </c:pt>
                <c:pt idx="13">
                  <c:v>3.263157894736842</c:v>
                </c:pt>
                <c:pt idx="14">
                  <c:v>7.8181818181818183</c:v>
                </c:pt>
                <c:pt idx="15">
                  <c:v>6.6363636363636367</c:v>
                </c:pt>
                <c:pt idx="16">
                  <c:v>4.4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MG CHAMPAGNE NICOLAS 1E CRU BS 1CT X 1500ML</c:v>
                </c:pt>
                <c:pt idx="18">
                  <c:v>CHAMPAGNE NICOLAS BLC DE NOIRS 1CT X 750ML</c:v>
                </c:pt>
              </c:strCache>
            </c:strRef>
          </c:cat>
          <c:val>
            <c:numRef>
              <c:f>Sheet1!$B$2:$B$20</c:f>
              <c:numCache>
                <c:formatCode>General</c:formatCode>
                <c:ptCount val="19"/>
                <c:pt idx="0">
                  <c:v>1</c:v>
                </c:pt>
                <c:pt idx="1">
                  <c:v>0.62</c:v>
                </c:pt>
                <c:pt idx="2">
                  <c:v>0.61</c:v>
                </c:pt>
                <c:pt idx="3">
                  <c:v>0.59</c:v>
                </c:pt>
                <c:pt idx="4">
                  <c:v>0.56999999999999995</c:v>
                </c:pt>
                <c:pt idx="5">
                  <c:v>0.59</c:v>
                </c:pt>
                <c:pt idx="6">
                  <c:v>0.59</c:v>
                </c:pt>
                <c:pt idx="7">
                  <c:v>0.44</c:v>
                </c:pt>
                <c:pt idx="8">
                  <c:v>0.27</c:v>
                </c:pt>
                <c:pt idx="9">
                  <c:v>0.42</c:v>
                </c:pt>
                <c:pt idx="10">
                  <c:v>0.18</c:v>
                </c:pt>
                <c:pt idx="11">
                  <c:v>0.43</c:v>
                </c:pt>
                <c:pt idx="12">
                  <c:v>0.5</c:v>
                </c:pt>
                <c:pt idx="13">
                  <c:v>0.32</c:v>
                </c:pt>
                <c:pt idx="14">
                  <c:v>0.26</c:v>
                </c:pt>
                <c:pt idx="15">
                  <c:v>0.33</c:v>
                </c:pt>
                <c:pt idx="16">
                  <c:v>0.18</c:v>
                </c:pt>
                <c:pt idx="17">
                  <c:v>0.2</c:v>
                </c:pt>
                <c:pt idx="18">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MG CHAMPAGNE NICOLAS 1E CRU BS 1CT X 1500ML</c:v>
                </c:pt>
                <c:pt idx="18">
                  <c:v>CHAMPAGNE NICOLAS BLC DE NOIRS 1CT X 750ML</c:v>
                </c:pt>
              </c:strCache>
            </c:strRef>
          </c:cat>
          <c:val>
            <c:numRef>
              <c:f>Sheet1!$C$2:$C$20</c:f>
              <c:numCache>
                <c:formatCode>General</c:formatCode>
                <c:ptCount val="19"/>
                <c:pt idx="0">
                  <c:v>0.60544491383356802</c:v>
                </c:pt>
                <c:pt idx="1">
                  <c:v>0.70254140682625899</c:v>
                </c:pt>
                <c:pt idx="2">
                  <c:v>0.76356199289210758</c:v>
                </c:pt>
                <c:pt idx="3">
                  <c:v>0.80594112519278482</c:v>
                </c:pt>
                <c:pt idx="4">
                  <c:v>0.83410447260779186</c:v>
                </c:pt>
                <c:pt idx="5">
                  <c:v>0.86153020854288209</c:v>
                </c:pt>
                <c:pt idx="6">
                  <c:v>0.88781599946355527</c:v>
                </c:pt>
                <c:pt idx="7">
                  <c:v>0.90555220277610138</c:v>
                </c:pt>
                <c:pt idx="8">
                  <c:v>0.92281901696506408</c:v>
                </c:pt>
                <c:pt idx="9">
                  <c:v>0.93773888553610951</c:v>
                </c:pt>
                <c:pt idx="10">
                  <c:v>0.95014416951652925</c:v>
                </c:pt>
                <c:pt idx="11">
                  <c:v>0.96251592570240729</c:v>
                </c:pt>
                <c:pt idx="12">
                  <c:v>0.97052906859786758</c:v>
                </c:pt>
                <c:pt idx="13">
                  <c:v>0.97820693354791122</c:v>
                </c:pt>
                <c:pt idx="14">
                  <c:v>0.98565010393616304</c:v>
                </c:pt>
                <c:pt idx="15">
                  <c:v>0.99232213504995637</c:v>
                </c:pt>
                <c:pt idx="16">
                  <c:v>0.99624488701133229</c:v>
                </c:pt>
                <c:pt idx="17">
                  <c:v>0.99875947160195788</c:v>
                </c:pt>
                <c:pt idx="18">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MG CHAMPAGNE NICOLAS 1E CRU BS 1CT X 1500ML</c:v>
                </c:pt>
                <c:pt idx="18">
                  <c:v>CHAMPAGNE NICOLAS BLC DE NOIRS 1CT X 750ML</c:v>
                </c:pt>
              </c:strCache>
            </c:strRef>
          </c:cat>
          <c:val>
            <c:numRef>
              <c:f>Sheet1!$D$2:$D$20</c:f>
              <c:numCache>
                <c:formatCode>General</c:formatCode>
                <c:ptCount val="19"/>
                <c:pt idx="0">
                  <c:v>180.58</c:v>
                </c:pt>
                <c:pt idx="1">
                  <c:v>46.70967741935484</c:v>
                </c:pt>
                <c:pt idx="2">
                  <c:v>29.83606557377049</c:v>
                </c:pt>
                <c:pt idx="3">
                  <c:v>21.423728813559322</c:v>
                </c:pt>
                <c:pt idx="4">
                  <c:v>14.736842105263159</c:v>
                </c:pt>
                <c:pt idx="5">
                  <c:v>13.864406779661017</c:v>
                </c:pt>
                <c:pt idx="6">
                  <c:v>13.288135593220339</c:v>
                </c:pt>
                <c:pt idx="7">
                  <c:v>12.022727272727273</c:v>
                </c:pt>
                <c:pt idx="8">
                  <c:v>19.074074074074073</c:v>
                </c:pt>
                <c:pt idx="9">
                  <c:v>10.595238095238095</c:v>
                </c:pt>
                <c:pt idx="10">
                  <c:v>20.555555555555557</c:v>
                </c:pt>
                <c:pt idx="11">
                  <c:v>8.5813953488372086</c:v>
                </c:pt>
                <c:pt idx="12">
                  <c:v>4.78</c:v>
                </c:pt>
                <c:pt idx="13">
                  <c:v>7.15625</c:v>
                </c:pt>
                <c:pt idx="14">
                  <c:v>8.5384615384615383</c:v>
                </c:pt>
                <c:pt idx="15">
                  <c:v>6.0303030303030303</c:v>
                </c:pt>
                <c:pt idx="16">
                  <c:v>6.5</c:v>
                </c:pt>
                <c:pt idx="17">
                  <c:v>3.75</c:v>
                </c:pt>
                <c:pt idx="18">
                  <c:v>2.17647058823529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73</c:v>
                </c:pt>
                <c:pt idx="1">
                  <c:v>0.38</c:v>
                </c:pt>
                <c:pt idx="2">
                  <c:v>0.16</c:v>
                </c:pt>
                <c:pt idx="3">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68043491106777754</c:v>
                </c:pt>
                <c:pt idx="1">
                  <c:v>0.84553566152573412</c:v>
                </c:pt>
                <c:pt idx="2">
                  <c:v>0.97246351119777807</c:v>
                </c:pt>
                <c:pt idx="3">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57.73972602739727</c:v>
                </c:pt>
                <c:pt idx="1">
                  <c:v>73.526315789473685</c:v>
                </c:pt>
                <c:pt idx="2">
                  <c:v>134.25</c:v>
                </c:pt>
                <c:pt idx="3">
                  <c:v>5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B$2:$B$4</c:f>
              <c:numCache>
                <c:formatCode>General</c:formatCode>
                <c:ptCount val="3"/>
                <c:pt idx="0">
                  <c:v>0.63</c:v>
                </c:pt>
                <c:pt idx="1">
                  <c:v>0.31</c:v>
                </c:pt>
                <c:pt idx="2">
                  <c:v>0.2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C$2:$C$4</c:f>
              <c:numCache>
                <c:formatCode>General</c:formatCode>
                <c:ptCount val="3"/>
                <c:pt idx="0">
                  <c:v>0.81855816208555554</c:v>
                </c:pt>
                <c:pt idx="1">
                  <c:v>0.9402528624174840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MG CHAMPAGNE NICOLAS BLC/BL BS 1CT X 1500ML</c:v>
                </c:pt>
                <c:pt idx="2">
                  <c:v>1/2 CHAMP NICOLAS BLC/BLC BS 1CT X 375ML</c:v>
                </c:pt>
              </c:strCache>
            </c:strRef>
          </c:cat>
          <c:val>
            <c:numRef>
              <c:f>Sheet1!$D$2:$D$4</c:f>
              <c:numCache>
                <c:formatCode>General</c:formatCode>
                <c:ptCount val="3"/>
                <c:pt idx="0">
                  <c:v>348.38095238095241</c:v>
                </c:pt>
                <c:pt idx="1">
                  <c:v>105.25806451612904</c:v>
                </c:pt>
                <c:pt idx="2">
                  <c:v>59.3333333333333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B$2:$B$5</c:f>
              <c:numCache>
                <c:formatCode>General</c:formatCode>
                <c:ptCount val="4"/>
                <c:pt idx="0">
                  <c:v>0.67</c:v>
                </c:pt>
                <c:pt idx="1">
                  <c:v>0.38</c:v>
                </c:pt>
                <c:pt idx="2">
                  <c:v>0.15</c:v>
                </c:pt>
                <c:pt idx="3">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C$2:$C$5</c:f>
              <c:numCache>
                <c:formatCode>General</c:formatCode>
                <c:ptCount val="4"/>
                <c:pt idx="0">
                  <c:v>0.82806944153942696</c:v>
                </c:pt>
                <c:pt idx="1">
                  <c:v>0.93808826605312701</c:v>
                </c:pt>
                <c:pt idx="2">
                  <c:v>0.99184271072997288</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MG CHAMPAGNE NICOLAS BLC/BL BS 1CT X 1500ML</c:v>
                </c:pt>
                <c:pt idx="3">
                  <c:v>CHAMPAGNE NICOLAS BLC/BL BS ET 1CT X 750ML</c:v>
                </c:pt>
              </c:strCache>
            </c:strRef>
          </c:cat>
          <c:val>
            <c:numRef>
              <c:f>Sheet1!$D$2:$D$5</c:f>
              <c:numCache>
                <c:formatCode>General</c:formatCode>
                <c:ptCount val="4"/>
                <c:pt idx="0">
                  <c:v>118.17910447761194</c:v>
                </c:pt>
                <c:pt idx="1">
                  <c:v>27.684210526315791</c:v>
                </c:pt>
                <c:pt idx="2">
                  <c:v>34.266666666666666</c:v>
                </c:pt>
                <c:pt idx="3">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B$2:$B$4</c:f>
              <c:numCache>
                <c:formatCode>General</c:formatCode>
                <c:ptCount val="3"/>
                <c:pt idx="0">
                  <c:v>0.87</c:v>
                </c:pt>
                <c:pt idx="1">
                  <c:v>0.63</c:v>
                </c:pt>
                <c:pt idx="2">
                  <c:v>0.4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C$2:$C$4</c:f>
              <c:numCache>
                <c:formatCode>General</c:formatCode>
                <c:ptCount val="3"/>
                <c:pt idx="0">
                  <c:v>0.68162502124766278</c:v>
                </c:pt>
                <c:pt idx="1">
                  <c:v>0.87149413564507905</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MG CHAMPAGNE NICOLAS BLC/BL BS 1CT X 1500ML</c:v>
                </c:pt>
                <c:pt idx="2">
                  <c:v>1/2 CHAMP NICOLAS BLC/BLC BS 1CT X 375ML</c:v>
                </c:pt>
              </c:strCache>
            </c:strRef>
          </c:cat>
          <c:val>
            <c:numRef>
              <c:f>Sheet1!$D$2:$D$4</c:f>
              <c:numCache>
                <c:formatCode>General</c:formatCode>
                <c:ptCount val="3"/>
                <c:pt idx="0">
                  <c:v>92.183908045977006</c:v>
                </c:pt>
                <c:pt idx="1">
                  <c:v>35.460317460317462</c:v>
                </c:pt>
                <c:pt idx="2">
                  <c:v>32.17021276595744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5000000000000004</c:v>
                </c:pt>
                <c:pt idx="1">
                  <c:v>0.4</c:v>
                </c:pt>
                <c:pt idx="2">
                  <c:v>0.35</c:v>
                </c:pt>
                <c:pt idx="3">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69774244356108894</c:v>
                </c:pt>
                <c:pt idx="1">
                  <c:v>0.85884647116177892</c:v>
                </c:pt>
                <c:pt idx="2">
                  <c:v>0.9825995649891246</c:v>
                </c:pt>
                <c:pt idx="3">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69.14545454545453</c:v>
                </c:pt>
                <c:pt idx="1">
                  <c:v>53.7</c:v>
                </c:pt>
                <c:pt idx="2">
                  <c:v>47.142857142857146</c:v>
                </c:pt>
                <c:pt idx="3">
                  <c:v>17.84615384615384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65</c:v>
                </c:pt>
                <c:pt idx="1">
                  <c:v>0.4</c:v>
                </c:pt>
                <c:pt idx="2">
                  <c:v>0.28000000000000003</c:v>
                </c:pt>
                <c:pt idx="3">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77189917644122785</c:v>
                </c:pt>
                <c:pt idx="1">
                  <c:v>0.91325180933366612</c:v>
                </c:pt>
                <c:pt idx="2">
                  <c:v>0.9824806588470177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237.92307692307693</c:v>
                </c:pt>
                <c:pt idx="1">
                  <c:v>70.8</c:v>
                </c:pt>
                <c:pt idx="2">
                  <c:v>49.535714285714278</c:v>
                </c:pt>
                <c:pt idx="3">
                  <c:v>50.1428571428571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B$2:$B$4</c:f>
              <c:numCache>
                <c:formatCode>General</c:formatCode>
                <c:ptCount val="3"/>
                <c:pt idx="0">
                  <c:v>0.63</c:v>
                </c:pt>
                <c:pt idx="1">
                  <c:v>0.26</c:v>
                </c:pt>
                <c:pt idx="2">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C$2:$C$4</c:f>
              <c:numCache>
                <c:formatCode>General</c:formatCode>
                <c:ptCount val="3"/>
                <c:pt idx="0">
                  <c:v>0.80208967336173664</c:v>
                </c:pt>
                <c:pt idx="1">
                  <c:v>0.9040373300872387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1/2 CHAMP NICOLAS BLC/BLC BS 1CT X 375ML</c:v>
                </c:pt>
                <c:pt idx="2">
                  <c:v>MG CHAMPAGNE NICOLAS BLC/BL BS 1CT X 1500ML</c:v>
                </c:pt>
              </c:strCache>
            </c:strRef>
          </c:cat>
          <c:val>
            <c:numRef>
              <c:f>Sheet1!$D$2:$D$4</c:f>
              <c:numCache>
                <c:formatCode>General</c:formatCode>
                <c:ptCount val="3"/>
                <c:pt idx="0">
                  <c:v>125.50793650793651</c:v>
                </c:pt>
                <c:pt idx="1">
                  <c:v>38.653846153846153</c:v>
                </c:pt>
                <c:pt idx="2">
                  <c:v>52.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B$2:$B$4</c:f>
              <c:numCache>
                <c:formatCode>General</c:formatCode>
                <c:ptCount val="3"/>
                <c:pt idx="0">
                  <c:v>0.36506499917722562</c:v>
                </c:pt>
                <c:pt idx="1">
                  <c:v>0.35173605397400032</c:v>
                </c:pt>
                <c:pt idx="2">
                  <c:v>0.283198946848774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C$2:$C$4</c:f>
              <c:numCache>
                <c:formatCode>General</c:formatCode>
                <c:ptCount val="3"/>
                <c:pt idx="0">
                  <c:v>0.30061349693251527</c:v>
                </c:pt>
                <c:pt idx="1">
                  <c:v>0.23006134969325148</c:v>
                </c:pt>
                <c:pt idx="2">
                  <c:v>0.4693251533742330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D$2:$D$4</c:f>
              <c:numCache>
                <c:formatCode>General</c:formatCode>
                <c:ptCount val="3"/>
                <c:pt idx="0">
                  <c:v>82.345198145544074</c:v>
                </c:pt>
                <c:pt idx="1">
                  <c:v>65.407383489398327</c:v>
                </c:pt>
                <c:pt idx="2">
                  <c:v>165.722774959628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CHAMPAGNE NICOLAS BLC/BL BS ET 1CT X 750ML</c:v>
                </c:pt>
                <c:pt idx="3">
                  <c:v>MG CHAMPAGNE NICOLAS BLC/BL BS 1CT X 1500ML</c:v>
                </c:pt>
              </c:strCache>
            </c:strRef>
          </c:cat>
          <c:val>
            <c:numRef>
              <c:f>Sheet1!$B$2:$B$5</c:f>
              <c:numCache>
                <c:formatCode>General</c:formatCode>
                <c:ptCount val="4"/>
                <c:pt idx="0">
                  <c:v>0.51</c:v>
                </c:pt>
                <c:pt idx="1">
                  <c:v>0.62</c:v>
                </c:pt>
                <c:pt idx="2">
                  <c:v>0.11</c:v>
                </c:pt>
                <c:pt idx="3">
                  <c:v>0.3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CHAMPAGNE NICOLAS BLC/BL BS ET 1CT X 750ML</c:v>
                </c:pt>
                <c:pt idx="3">
                  <c:v>MG CHAMPAGNE NICOLAS BLC/BL BS 1CT X 1500ML</c:v>
                </c:pt>
              </c:strCache>
            </c:strRef>
          </c:cat>
          <c:val>
            <c:numRef>
              <c:f>Sheet1!$C$2:$C$5</c:f>
              <c:numCache>
                <c:formatCode>General</c:formatCode>
                <c:ptCount val="4"/>
                <c:pt idx="0">
                  <c:v>0.70809746492739356</c:v>
                </c:pt>
                <c:pt idx="1">
                  <c:v>0.85011075559931082</c:v>
                </c:pt>
                <c:pt idx="2">
                  <c:v>0.93650012306177699</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CHAMPAGNE NICOLAS BLC/BL BS ET 1CT X 750ML</c:v>
                </c:pt>
                <c:pt idx="3">
                  <c:v>MG CHAMPAGNE NICOLAS BLC/BL BS 1CT X 1500ML</c:v>
                </c:pt>
              </c:strCache>
            </c:strRef>
          </c:cat>
          <c:val>
            <c:numRef>
              <c:f>Sheet1!$D$2:$D$5</c:f>
              <c:numCache>
                <c:formatCode>General</c:formatCode>
                <c:ptCount val="4"/>
                <c:pt idx="0">
                  <c:v>56.411764705882355</c:v>
                </c:pt>
                <c:pt idx="1">
                  <c:v>9.306451612903226</c:v>
                </c:pt>
                <c:pt idx="2">
                  <c:v>31.90909090909091</c:v>
                </c:pt>
                <c:pt idx="3">
                  <c:v>7.3714285714285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B$2:$B$4</c:f>
              <c:numCache>
                <c:formatCode>General</c:formatCode>
                <c:ptCount val="3"/>
                <c:pt idx="0">
                  <c:v>0.69</c:v>
                </c:pt>
                <c:pt idx="1">
                  <c:v>0.35</c:v>
                </c:pt>
                <c:pt idx="2">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C$2:$C$4</c:f>
              <c:numCache>
                <c:formatCode>General</c:formatCode>
                <c:ptCount val="3"/>
                <c:pt idx="0">
                  <c:v>0.73754272351142292</c:v>
                </c:pt>
                <c:pt idx="1">
                  <c:v>0.8922468069796726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MG CHAMPAGNE NICOLAS BLC/BL BS 1CT X 1500ML</c:v>
                </c:pt>
                <c:pt idx="2">
                  <c:v>1/2 CHAMP NICOLAS BLC/BLC BS 1CT X 375ML</c:v>
                </c:pt>
              </c:strCache>
            </c:strRef>
          </c:cat>
          <c:val>
            <c:numRef>
              <c:f>Sheet1!$D$2:$D$4</c:f>
              <c:numCache>
                <c:formatCode>General</c:formatCode>
                <c:ptCount val="3"/>
                <c:pt idx="0">
                  <c:v>59.420289855072461</c:v>
                </c:pt>
                <c:pt idx="1">
                  <c:v>24.571428571428573</c:v>
                </c:pt>
                <c:pt idx="2">
                  <c:v>14.6097560975609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B$2:$B$4</c:f>
              <c:numCache>
                <c:formatCode>General</c:formatCode>
                <c:ptCount val="3"/>
                <c:pt idx="0">
                  <c:v>0.8</c:v>
                </c:pt>
                <c:pt idx="1">
                  <c:v>0.64</c:v>
                </c:pt>
                <c:pt idx="2">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1/2 CHAMP NICOLAS BLC/BLC BS 1CT X 375ML</c:v>
                </c:pt>
                <c:pt idx="2">
                  <c:v>MG CHAMPAGNE NICOLAS BLC/BL BS 1CT X 1500ML</c:v>
                </c:pt>
              </c:strCache>
            </c:strRef>
          </c:cat>
          <c:val>
            <c:numRef>
              <c:f>Sheet1!$C$2:$C$4</c:f>
              <c:numCache>
                <c:formatCode>General</c:formatCode>
                <c:ptCount val="3"/>
                <c:pt idx="0">
                  <c:v>0.82715292675452046</c:v>
                </c:pt>
                <c:pt idx="1">
                  <c:v>0.9736438859944837</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1/2 CHAMP NICOLAS BLC/BLC BS 1CT X 375ML</c:v>
                </c:pt>
                <c:pt idx="2">
                  <c:v>MG CHAMPAGNE NICOLAS BLC/BL BS 1CT X 1500ML</c:v>
                </c:pt>
              </c:strCache>
            </c:strRef>
          </c:cat>
          <c:val>
            <c:numRef>
              <c:f>Sheet1!$D$2:$D$4</c:f>
              <c:numCache>
                <c:formatCode>General</c:formatCode>
                <c:ptCount val="3"/>
                <c:pt idx="0">
                  <c:v>33.737499999999997</c:v>
                </c:pt>
                <c:pt idx="1">
                  <c:v>7.46875</c:v>
                </c:pt>
                <c:pt idx="2">
                  <c:v>7.81818181818181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B$2:$B$5</c:f>
              <c:numCache>
                <c:formatCode>General</c:formatCode>
                <c:ptCount val="4"/>
                <c:pt idx="0">
                  <c:v>0.59</c:v>
                </c:pt>
                <c:pt idx="1">
                  <c:v>0.27</c:v>
                </c:pt>
                <c:pt idx="2">
                  <c:v>0.5</c:v>
                </c:pt>
                <c:pt idx="3">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C$2:$C$5</c:f>
              <c:numCache>
                <c:formatCode>General</c:formatCode>
                <c:ptCount val="4"/>
                <c:pt idx="0">
                  <c:v>0.48431024274718765</c:v>
                </c:pt>
                <c:pt idx="1">
                  <c:v>0.78922439313203074</c:v>
                </c:pt>
                <c:pt idx="2">
                  <c:v>0.930728241563055</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 BS ET 1CT X 750ML</c:v>
                </c:pt>
              </c:strCache>
            </c:strRef>
          </c:cat>
          <c:val>
            <c:numRef>
              <c:f>Sheet1!$D$2:$D$5</c:f>
              <c:numCache>
                <c:formatCode>General</c:formatCode>
                <c:ptCount val="4"/>
                <c:pt idx="0">
                  <c:v>13.864406779661017</c:v>
                </c:pt>
                <c:pt idx="1">
                  <c:v>19.074074074074073</c:v>
                </c:pt>
                <c:pt idx="2">
                  <c:v>4.78</c:v>
                </c:pt>
                <c:pt idx="3">
                  <c:v>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0.99</c:v>
                </c:pt>
                <c:pt idx="1">
                  <c:v>0.75</c:v>
                </c:pt>
                <c:pt idx="2">
                  <c:v>0.49</c:v>
                </c:pt>
                <c:pt idx="3">
                  <c:v>0.48</c:v>
                </c:pt>
                <c:pt idx="4">
                  <c:v>0.23</c:v>
                </c:pt>
                <c:pt idx="5">
                  <c:v>0.32</c:v>
                </c:pt>
                <c:pt idx="6">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88215712964417214</c:v>
                </c:pt>
                <c:pt idx="1">
                  <c:v>0.93294417395249807</c:v>
                </c:pt>
                <c:pt idx="2">
                  <c:v>0.95601451930963466</c:v>
                </c:pt>
                <c:pt idx="3">
                  <c:v>0.9770954400293177</c:v>
                </c:pt>
                <c:pt idx="4">
                  <c:v>0.98795002006875721</c:v>
                </c:pt>
                <c:pt idx="5">
                  <c:v>0.99589026752526033</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2042.4343434343434</c:v>
                </c:pt>
                <c:pt idx="1">
                  <c:v>155.21333333333334</c:v>
                </c:pt>
                <c:pt idx="2">
                  <c:v>107.91836734693878</c:v>
                </c:pt>
                <c:pt idx="3">
                  <c:v>100.66666666666667</c:v>
                </c:pt>
                <c:pt idx="4">
                  <c:v>108.17391304347827</c:v>
                </c:pt>
                <c:pt idx="5">
                  <c:v>56.875</c:v>
                </c:pt>
                <c:pt idx="6">
                  <c:v>5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1</c:v>
                </c:pt>
                <c:pt idx="1">
                  <c:v>0.52</c:v>
                </c:pt>
                <c:pt idx="2">
                  <c:v>0.49</c:v>
                </c:pt>
                <c:pt idx="3">
                  <c:v>0.37</c:v>
                </c:pt>
                <c:pt idx="4">
                  <c:v>0.32</c:v>
                </c:pt>
                <c:pt idx="5">
                  <c:v>0.43</c:v>
                </c:pt>
                <c:pt idx="6">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8712973150622294</c:v>
                </c:pt>
                <c:pt idx="1">
                  <c:v>0.92559145316243474</c:v>
                </c:pt>
                <c:pt idx="2">
                  <c:v>0.96664904333909674</c:v>
                </c:pt>
                <c:pt idx="3">
                  <c:v>0.98121924848415576</c:v>
                </c:pt>
                <c:pt idx="4">
                  <c:v>0.99130741275262091</c:v>
                </c:pt>
                <c:pt idx="5">
                  <c:v>0.99852821399482738</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1829.28</c:v>
                </c:pt>
                <c:pt idx="1">
                  <c:v>219.21153846153845</c:v>
                </c:pt>
                <c:pt idx="2">
                  <c:v>175.91836734693877</c:v>
                </c:pt>
                <c:pt idx="3">
                  <c:v>82.675675675675677</c:v>
                </c:pt>
                <c:pt idx="4">
                  <c:v>66.1875</c:v>
                </c:pt>
                <c:pt idx="5">
                  <c:v>35.255813953488371</c:v>
                </c:pt>
                <c:pt idx="6">
                  <c:v>28.0909090909090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MG CHAMPAGNE NICOLAS 1ERE CUVE 1CT X 1500ML</c:v>
                </c:pt>
                <c:pt idx="5">
                  <c:v>CHAMPAGNE NICOLAS BIO NAT 2017 1CT X 750ML</c:v>
                </c:pt>
                <c:pt idx="6">
                  <c:v>CHAMPAGNE NICOLAS 1ERE CUV ETU 1CT X 750ML</c:v>
                </c:pt>
                <c:pt idx="7">
                  <c:v>MG CHAMPAGNE NICOLAS BRUT 1CT X 1500ML</c:v>
                </c:pt>
              </c:strCache>
            </c:strRef>
          </c:cat>
          <c:val>
            <c:numRef>
              <c:f>Sheet1!$B$2:$B$9</c:f>
              <c:numCache>
                <c:formatCode>General</c:formatCode>
                <c:ptCount val="8"/>
                <c:pt idx="0">
                  <c:v>1</c:v>
                </c:pt>
                <c:pt idx="1">
                  <c:v>0.9</c:v>
                </c:pt>
                <c:pt idx="2">
                  <c:v>0.61</c:v>
                </c:pt>
                <c:pt idx="3">
                  <c:v>0.34</c:v>
                </c:pt>
                <c:pt idx="4">
                  <c:v>0.3</c:v>
                </c:pt>
                <c:pt idx="5">
                  <c:v>0.28000000000000003</c:v>
                </c:pt>
                <c:pt idx="6">
                  <c:v>0.12</c:v>
                </c:pt>
                <c:pt idx="7">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MG CHAMPAGNE NICOLAS 1ERE CUVE 1CT X 1500ML</c:v>
                </c:pt>
                <c:pt idx="5">
                  <c:v>CHAMPAGNE NICOLAS BIO NAT 2017 1CT X 750ML</c:v>
                </c:pt>
                <c:pt idx="6">
                  <c:v>CHAMPAGNE NICOLAS 1ERE CUV ETU 1CT X 750ML</c:v>
                </c:pt>
                <c:pt idx="7">
                  <c:v>MG CHAMPAGNE NICOLAS BRUT 1CT X 1500ML</c:v>
                </c:pt>
              </c:strCache>
            </c:strRef>
          </c:cat>
          <c:val>
            <c:numRef>
              <c:f>Sheet1!$C$2:$C$9</c:f>
              <c:numCache>
                <c:formatCode>General</c:formatCode>
                <c:ptCount val="8"/>
                <c:pt idx="0">
                  <c:v>0.88624380299309646</c:v>
                </c:pt>
                <c:pt idx="1">
                  <c:v>0.94234351109669656</c:v>
                </c:pt>
                <c:pt idx="2">
                  <c:v>0.96809526015845815</c:v>
                </c:pt>
                <c:pt idx="3">
                  <c:v>0.98150396145114216</c:v>
                </c:pt>
                <c:pt idx="4">
                  <c:v>0.99050178381133303</c:v>
                </c:pt>
                <c:pt idx="5">
                  <c:v>0.99731269981003567</c:v>
                </c:pt>
                <c:pt idx="6">
                  <c:v>0.9996200713524533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MG CHAMPAGNE NICOLAS 1ERE CUVE 1CT X 1500ML</c:v>
                </c:pt>
                <c:pt idx="5">
                  <c:v>CHAMPAGNE NICOLAS BIO NAT 2017 1CT X 750ML</c:v>
                </c:pt>
                <c:pt idx="6">
                  <c:v>CHAMPAGNE NICOLAS 1ERE CUV ETU 1CT X 750ML</c:v>
                </c:pt>
                <c:pt idx="7">
                  <c:v>MG CHAMPAGNE NICOLAS BRUT 1CT X 1500ML</c:v>
                </c:pt>
              </c:strCache>
            </c:strRef>
          </c:cat>
          <c:val>
            <c:numRef>
              <c:f>Sheet1!$D$2:$D$9</c:f>
              <c:numCache>
                <c:formatCode>General</c:formatCode>
                <c:ptCount val="8"/>
                <c:pt idx="0">
                  <c:v>956.39</c:v>
                </c:pt>
                <c:pt idx="1">
                  <c:v>67.266666666666666</c:v>
                </c:pt>
                <c:pt idx="2">
                  <c:v>45.557377049180324</c:v>
                </c:pt>
                <c:pt idx="3">
                  <c:v>42.558823529411768</c:v>
                </c:pt>
                <c:pt idx="4">
                  <c:v>32.366666666666667</c:v>
                </c:pt>
                <c:pt idx="5">
                  <c:v>26.249999999999996</c:v>
                </c:pt>
                <c:pt idx="6">
                  <c:v>20.75</c:v>
                </c:pt>
                <c:pt idx="7">
                  <c:v>5.8571428571428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1ERE CUV ETU 1CT X 750ML</c:v>
                </c:pt>
                <c:pt idx="6">
                  <c:v>MG CHAMPAGNE NICOLAS 1ERE CUVE 1CT X 1500ML</c:v>
                </c:pt>
              </c:strCache>
            </c:strRef>
          </c:cat>
          <c:val>
            <c:numRef>
              <c:f>Sheet1!$B$2:$B$8</c:f>
              <c:numCache>
                <c:formatCode>General</c:formatCode>
                <c:ptCount val="7"/>
                <c:pt idx="0">
                  <c:v>1</c:v>
                </c:pt>
                <c:pt idx="1">
                  <c:v>0.54</c:v>
                </c:pt>
                <c:pt idx="2">
                  <c:v>0.62</c:v>
                </c:pt>
                <c:pt idx="3">
                  <c:v>0.41</c:v>
                </c:pt>
                <c:pt idx="4">
                  <c:v>0.33</c:v>
                </c:pt>
                <c:pt idx="5">
                  <c:v>0.19</c:v>
                </c:pt>
                <c:pt idx="6">
                  <c:v>0.3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1ERE CUV ETU 1CT X 750ML</c:v>
                </c:pt>
                <c:pt idx="6">
                  <c:v>MG CHAMPAGNE NICOLAS 1ERE CUVE 1CT X 1500ML</c:v>
                </c:pt>
              </c:strCache>
            </c:strRef>
          </c:cat>
          <c:val>
            <c:numRef>
              <c:f>Sheet1!$C$2:$C$8</c:f>
              <c:numCache>
                <c:formatCode>General</c:formatCode>
                <c:ptCount val="7"/>
                <c:pt idx="0">
                  <c:v>0.891790570593468</c:v>
                </c:pt>
                <c:pt idx="1">
                  <c:v>0.92549879273096958</c:v>
                </c:pt>
                <c:pt idx="2">
                  <c:v>0.9512485703393061</c:v>
                </c:pt>
                <c:pt idx="3">
                  <c:v>0.96988181471597401</c:v>
                </c:pt>
                <c:pt idx="4">
                  <c:v>0.98012771635531826</c:v>
                </c:pt>
                <c:pt idx="5">
                  <c:v>0.9903736179946625</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1ERE CUV ETU 1CT X 750ML</c:v>
                </c:pt>
                <c:pt idx="6">
                  <c:v>MG CHAMPAGNE NICOLAS 1ERE CUVE 1CT X 1500ML</c:v>
                </c:pt>
              </c:strCache>
            </c:strRef>
          </c:cat>
          <c:val>
            <c:numRef>
              <c:f>Sheet1!$D$2:$D$8</c:f>
              <c:numCache>
                <c:formatCode>General</c:formatCode>
                <c:ptCount val="7"/>
                <c:pt idx="0">
                  <c:v>561.4</c:v>
                </c:pt>
                <c:pt idx="1">
                  <c:v>39.296296296296298</c:v>
                </c:pt>
                <c:pt idx="2">
                  <c:v>26.14516129032258</c:v>
                </c:pt>
                <c:pt idx="3">
                  <c:v>28.609756097560975</c:v>
                </c:pt>
                <c:pt idx="4">
                  <c:v>19.545454545454547</c:v>
                </c:pt>
                <c:pt idx="5">
                  <c:v>33.94736842105263</c:v>
                </c:pt>
                <c:pt idx="6">
                  <c:v>16.8333333333333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1</c:v>
                </c:pt>
                <c:pt idx="1">
                  <c:v>0.75</c:v>
                </c:pt>
                <c:pt idx="2">
                  <c:v>0.46</c:v>
                </c:pt>
                <c:pt idx="3">
                  <c:v>0.61</c:v>
                </c:pt>
                <c:pt idx="4">
                  <c:v>0.3</c:v>
                </c:pt>
                <c:pt idx="5">
                  <c:v>0.21</c:v>
                </c:pt>
                <c:pt idx="6">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8849315068493151</c:v>
                </c:pt>
                <c:pt idx="1">
                  <c:v>0.92839002616592281</c:v>
                </c:pt>
                <c:pt idx="2">
                  <c:v>0.96342927505002318</c:v>
                </c:pt>
                <c:pt idx="3">
                  <c:v>0.98046790826535335</c:v>
                </c:pt>
                <c:pt idx="4">
                  <c:v>0.99180390949669084</c:v>
                </c:pt>
                <c:pt idx="5">
                  <c:v>0.99762967523472379</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1149.8800000000001</c:v>
                </c:pt>
                <c:pt idx="1">
                  <c:v>75.293333333333337</c:v>
                </c:pt>
                <c:pt idx="2">
                  <c:v>98.978260869565219</c:v>
                </c:pt>
                <c:pt idx="3">
                  <c:v>36.295081967213115</c:v>
                </c:pt>
                <c:pt idx="4">
                  <c:v>49.1</c:v>
                </c:pt>
                <c:pt idx="5">
                  <c:v>36.047619047619051</c:v>
                </c:pt>
                <c:pt idx="6">
                  <c:v>25.6666666666666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NICOLAS 1ERE CUVE 1CT X 1500ML</c:v>
                </c:pt>
                <c:pt idx="3">
                  <c:v>MG CHAMPAGNE E.NICOLAS BRUT 1CT X 1500ML</c:v>
                </c:pt>
                <c:pt idx="4">
                  <c:v>1/2 CHAMPAGNE NICOLAS 1ERE CUV 1CT X 375ML</c:v>
                </c:pt>
                <c:pt idx="5">
                  <c:v>CHAMPAGNE NICOLAS BIO NAT 2017 1CT X 750ML</c:v>
                </c:pt>
                <c:pt idx="6">
                  <c:v>CHAMPAGNE NICOLAS 1ERE CUV ETU 1CT X 750ML</c:v>
                </c:pt>
                <c:pt idx="7">
                  <c:v>1/2 CHAMPAGNE NICOLAS 1E C BS 1CT X 375ML</c:v>
                </c:pt>
              </c:strCache>
            </c:strRef>
          </c:cat>
          <c:val>
            <c:numRef>
              <c:f>Sheet1!$B$2:$B$9</c:f>
              <c:numCache>
                <c:formatCode>General</c:formatCode>
                <c:ptCount val="8"/>
                <c:pt idx="0">
                  <c:v>1</c:v>
                </c:pt>
                <c:pt idx="1">
                  <c:v>0.87</c:v>
                </c:pt>
                <c:pt idx="2">
                  <c:v>0.45</c:v>
                </c:pt>
                <c:pt idx="3">
                  <c:v>0.35</c:v>
                </c:pt>
                <c:pt idx="4">
                  <c:v>0.43</c:v>
                </c:pt>
                <c:pt idx="5">
                  <c:v>0.3</c:v>
                </c:pt>
                <c:pt idx="6">
                  <c:v>0.1</c:v>
                </c:pt>
                <c:pt idx="7">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NICOLAS 1ERE CUVE 1CT X 1500ML</c:v>
                </c:pt>
                <c:pt idx="3">
                  <c:v>MG CHAMPAGNE E.NICOLAS BRUT 1CT X 1500ML</c:v>
                </c:pt>
                <c:pt idx="4">
                  <c:v>1/2 CHAMPAGNE NICOLAS 1ERE CUV 1CT X 375ML</c:v>
                </c:pt>
                <c:pt idx="5">
                  <c:v>CHAMPAGNE NICOLAS BIO NAT 2017 1CT X 750ML</c:v>
                </c:pt>
                <c:pt idx="6">
                  <c:v>CHAMPAGNE NICOLAS 1ERE CUV ETU 1CT X 750ML</c:v>
                </c:pt>
                <c:pt idx="7">
                  <c:v>1/2 CHAMPAGNE NICOLAS 1E C BS 1CT X 375ML</c:v>
                </c:pt>
              </c:strCache>
            </c:strRef>
          </c:cat>
          <c:val>
            <c:numRef>
              <c:f>Sheet1!$C$2:$C$9</c:f>
              <c:numCache>
                <c:formatCode>General</c:formatCode>
                <c:ptCount val="8"/>
                <c:pt idx="0">
                  <c:v>0.8705834615708522</c:v>
                </c:pt>
                <c:pt idx="1">
                  <c:v>0.93139484140655504</c:v>
                </c:pt>
                <c:pt idx="2">
                  <c:v>0.95283921694725804</c:v>
                </c:pt>
                <c:pt idx="3">
                  <c:v>0.97082309347175333</c:v>
                </c:pt>
                <c:pt idx="4">
                  <c:v>0.98861557071437867</c:v>
                </c:pt>
                <c:pt idx="5">
                  <c:v>0.99673855623693697</c:v>
                </c:pt>
                <c:pt idx="6">
                  <c:v>0.99983922460322927</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NICOLAS 1ERE CUVE 1CT X 1500ML</c:v>
                </c:pt>
                <c:pt idx="3">
                  <c:v>MG CHAMPAGNE E.NICOLAS BRUT 1CT X 1500ML</c:v>
                </c:pt>
                <c:pt idx="4">
                  <c:v>1/2 CHAMPAGNE NICOLAS 1ERE CUV 1CT X 375ML</c:v>
                </c:pt>
                <c:pt idx="5">
                  <c:v>CHAMPAGNE NICOLAS BIO NAT 2017 1CT X 750ML</c:v>
                </c:pt>
                <c:pt idx="6">
                  <c:v>CHAMPAGNE NICOLAS 1ERE CUV ETU 1CT X 750ML</c:v>
                </c:pt>
                <c:pt idx="7">
                  <c:v>1/2 CHAMPAGNE NICOLAS 1E C BS 1CT X 375ML</c:v>
                </c:pt>
              </c:strCache>
            </c:strRef>
          </c:cat>
          <c:val>
            <c:numRef>
              <c:f>Sheet1!$D$2:$D$9</c:f>
              <c:numCache>
                <c:formatCode>General</c:formatCode>
                <c:ptCount val="8"/>
                <c:pt idx="0">
                  <c:v>1137.1300000000001</c:v>
                </c:pt>
                <c:pt idx="1">
                  <c:v>91.298850574712645</c:v>
                </c:pt>
                <c:pt idx="2">
                  <c:v>62.244444444444447</c:v>
                </c:pt>
                <c:pt idx="3">
                  <c:v>67.114285714285714</c:v>
                </c:pt>
                <c:pt idx="4">
                  <c:v>54.046511627906973</c:v>
                </c:pt>
                <c:pt idx="5">
                  <c:v>35.366666666666667</c:v>
                </c:pt>
                <c:pt idx="6">
                  <c:v>40.5</c:v>
                </c:pt>
                <c:pt idx="7">
                  <c:v>1.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B$2:$B$4</c:f>
              <c:numCache>
                <c:formatCode>General</c:formatCode>
                <c:ptCount val="3"/>
                <c:pt idx="0">
                  <c:v>0.48197299785210185</c:v>
                </c:pt>
                <c:pt idx="1">
                  <c:v>0.26219699294262044</c:v>
                </c:pt>
                <c:pt idx="2">
                  <c:v>0.2558300092052777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C$2:$C$4</c:f>
              <c:numCache>
                <c:formatCode>General</c:formatCode>
                <c:ptCount val="3"/>
                <c:pt idx="0">
                  <c:v>0.23529411764705879</c:v>
                </c:pt>
                <c:pt idx="1">
                  <c:v>0.25770308123249297</c:v>
                </c:pt>
                <c:pt idx="2">
                  <c:v>0.507002801120448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D$2:$D$4</c:f>
              <c:numCache>
                <c:formatCode>General</c:formatCode>
                <c:ptCount val="3"/>
                <c:pt idx="0">
                  <c:v>48.818941869283123</c:v>
                </c:pt>
                <c:pt idx="1">
                  <c:v>98.286055206166708</c:v>
                </c:pt>
                <c:pt idx="2">
                  <c:v>198.179565679345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CHAMPAGNE NICOLAS BIO NAT 2017 1CT X 750ML</c:v>
                </c:pt>
                <c:pt idx="4">
                  <c:v>MG CHAMPAGNE NICOLAS 1ERE CUVE 1CT X 1500ML</c:v>
                </c:pt>
                <c:pt idx="5">
                  <c:v>MG CHAMPAGNE E.NICOLAS BRUT 1CT X 1500ML</c:v>
                </c:pt>
                <c:pt idx="6">
                  <c:v>CHAMPAGNE NICOLAS 1ERE CUV ETU 1CT X 750ML</c:v>
                </c:pt>
                <c:pt idx="7">
                  <c:v>MG CHAMPAGNE NICOLAS BRUT 1CT X 1500ML</c:v>
                </c:pt>
              </c:strCache>
            </c:strRef>
          </c:cat>
          <c:val>
            <c:numRef>
              <c:f>Sheet1!$B$2:$B$9</c:f>
              <c:numCache>
                <c:formatCode>General</c:formatCode>
                <c:ptCount val="8"/>
                <c:pt idx="0">
                  <c:v>1</c:v>
                </c:pt>
                <c:pt idx="1">
                  <c:v>0.79</c:v>
                </c:pt>
                <c:pt idx="2">
                  <c:v>0.56999999999999995</c:v>
                </c:pt>
                <c:pt idx="3">
                  <c:v>0.23</c:v>
                </c:pt>
                <c:pt idx="4">
                  <c:v>0.15</c:v>
                </c:pt>
                <c:pt idx="5">
                  <c:v>0.32</c:v>
                </c:pt>
                <c:pt idx="6">
                  <c:v>0.11</c:v>
                </c:pt>
                <c:pt idx="7">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CHAMPAGNE NICOLAS BIO NAT 2017 1CT X 750ML</c:v>
                </c:pt>
                <c:pt idx="4">
                  <c:v>MG CHAMPAGNE NICOLAS 1ERE CUVE 1CT X 1500ML</c:v>
                </c:pt>
                <c:pt idx="5">
                  <c:v>MG CHAMPAGNE E.NICOLAS BRUT 1CT X 1500ML</c:v>
                </c:pt>
                <c:pt idx="6">
                  <c:v>CHAMPAGNE NICOLAS 1ERE CUV ETU 1CT X 750ML</c:v>
                </c:pt>
                <c:pt idx="7">
                  <c:v>MG CHAMPAGNE NICOLAS BRUT 1CT X 1500ML</c:v>
                </c:pt>
              </c:strCache>
            </c:strRef>
          </c:cat>
          <c:val>
            <c:numRef>
              <c:f>Sheet1!$C$2:$C$9</c:f>
              <c:numCache>
                <c:formatCode>General</c:formatCode>
                <c:ptCount val="8"/>
                <c:pt idx="0">
                  <c:v>0.86687871947465622</c:v>
                </c:pt>
                <c:pt idx="1">
                  <c:v>0.94050892673917497</c:v>
                </c:pt>
                <c:pt idx="2">
                  <c:v>0.9626205622819618</c:v>
                </c:pt>
                <c:pt idx="3">
                  <c:v>0.97872973527601059</c:v>
                </c:pt>
                <c:pt idx="4">
                  <c:v>0.98872357890416573</c:v>
                </c:pt>
                <c:pt idx="5">
                  <c:v>0.99845064641904369</c:v>
                </c:pt>
                <c:pt idx="6">
                  <c:v>0.99957931459060123</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CHAMPAGNE NICOLAS BIO NAT 2017 1CT X 750ML</c:v>
                </c:pt>
                <c:pt idx="4">
                  <c:v>MG CHAMPAGNE NICOLAS 1ERE CUVE 1CT X 1500ML</c:v>
                </c:pt>
                <c:pt idx="5">
                  <c:v>MG CHAMPAGNE E.NICOLAS BRUT 1CT X 1500ML</c:v>
                </c:pt>
                <c:pt idx="6">
                  <c:v>CHAMPAGNE NICOLAS 1ERE CUV ETU 1CT X 750ML</c:v>
                </c:pt>
                <c:pt idx="7">
                  <c:v>MG CHAMPAGNE NICOLAS BRUT 1CT X 1500ML</c:v>
                </c:pt>
              </c:strCache>
            </c:strRef>
          </c:cat>
          <c:val>
            <c:numRef>
              <c:f>Sheet1!$D$2:$D$9</c:f>
              <c:numCache>
                <c:formatCode>General</c:formatCode>
                <c:ptCount val="8"/>
                <c:pt idx="0">
                  <c:v>844.86</c:v>
                </c:pt>
                <c:pt idx="1">
                  <c:v>90.835443037974684</c:v>
                </c:pt>
                <c:pt idx="2">
                  <c:v>37.807017543859651</c:v>
                </c:pt>
                <c:pt idx="3">
                  <c:v>68.260869565217391</c:v>
                </c:pt>
                <c:pt idx="4">
                  <c:v>64.933333333333337</c:v>
                </c:pt>
                <c:pt idx="5">
                  <c:v>29.625</c:v>
                </c:pt>
                <c:pt idx="6">
                  <c:v>10</c:v>
                </c:pt>
                <c:pt idx="7">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strCache>
            </c:strRef>
          </c:cat>
          <c:val>
            <c:numRef>
              <c:f>Sheet1!$B$2:$B$8</c:f>
              <c:numCache>
                <c:formatCode>General</c:formatCode>
                <c:ptCount val="7"/>
                <c:pt idx="0">
                  <c:v>1</c:v>
                </c:pt>
                <c:pt idx="1">
                  <c:v>0.76</c:v>
                </c:pt>
                <c:pt idx="2">
                  <c:v>0.49</c:v>
                </c:pt>
                <c:pt idx="3">
                  <c:v>0.46</c:v>
                </c:pt>
                <c:pt idx="4">
                  <c:v>0.4</c:v>
                </c:pt>
                <c:pt idx="5">
                  <c:v>0.14000000000000001</c:v>
                </c:pt>
                <c:pt idx="6">
                  <c:v>0.6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strCache>
            </c:strRef>
          </c:cat>
          <c:val>
            <c:numRef>
              <c:f>Sheet1!$C$2:$C$8</c:f>
              <c:numCache>
                <c:formatCode>General</c:formatCode>
                <c:ptCount val="7"/>
                <c:pt idx="0">
                  <c:v>0.88726455270249516</c:v>
                </c:pt>
                <c:pt idx="1">
                  <c:v>0.93896870942068444</c:v>
                </c:pt>
                <c:pt idx="2">
                  <c:v>0.96534439185132437</c:v>
                </c:pt>
                <c:pt idx="3">
                  <c:v>0.98230916376939081</c:v>
                </c:pt>
                <c:pt idx="4">
                  <c:v>0.99184573925913511</c:v>
                </c:pt>
                <c:pt idx="5">
                  <c:v>0.996970077772658</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strCache>
            </c:strRef>
          </c:cat>
          <c:val>
            <c:numRef>
              <c:f>Sheet1!$D$2:$D$8</c:f>
              <c:numCache>
                <c:formatCode>General</c:formatCode>
                <c:ptCount val="7"/>
                <c:pt idx="0">
                  <c:v>635.45000000000005</c:v>
                </c:pt>
                <c:pt idx="1">
                  <c:v>48.723684210526315</c:v>
                </c:pt>
                <c:pt idx="2">
                  <c:v>38.551020408163268</c:v>
                </c:pt>
                <c:pt idx="3">
                  <c:v>26.413043478260871</c:v>
                </c:pt>
                <c:pt idx="4">
                  <c:v>17.074999999999999</c:v>
                </c:pt>
                <c:pt idx="5">
                  <c:v>26.214285714285712</c:v>
                </c:pt>
                <c:pt idx="6">
                  <c:v>3.287878787878788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strCache>
            </c:strRef>
          </c:cat>
          <c:val>
            <c:numRef>
              <c:f>Sheet1!$B$2:$B$9</c:f>
              <c:numCache>
                <c:formatCode>General</c:formatCode>
                <c:ptCount val="8"/>
                <c:pt idx="0">
                  <c:v>1</c:v>
                </c:pt>
                <c:pt idx="1">
                  <c:v>0.69</c:v>
                </c:pt>
                <c:pt idx="2">
                  <c:v>0.63</c:v>
                </c:pt>
                <c:pt idx="3">
                  <c:v>0.49</c:v>
                </c:pt>
                <c:pt idx="4">
                  <c:v>0.34</c:v>
                </c:pt>
                <c:pt idx="5">
                  <c:v>0.25</c:v>
                </c:pt>
                <c:pt idx="6">
                  <c:v>0.44</c:v>
                </c:pt>
                <c:pt idx="7">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strCache>
            </c:strRef>
          </c:cat>
          <c:val>
            <c:numRef>
              <c:f>Sheet1!$C$2:$C$9</c:f>
              <c:numCache>
                <c:formatCode>General</c:formatCode>
                <c:ptCount val="8"/>
                <c:pt idx="0">
                  <c:v>0.8571803622998162</c:v>
                </c:pt>
                <c:pt idx="1">
                  <c:v>0.92226743677255618</c:v>
                </c:pt>
                <c:pt idx="2">
                  <c:v>0.94714273212566724</c:v>
                </c:pt>
                <c:pt idx="3">
                  <c:v>0.96650476940579322</c:v>
                </c:pt>
                <c:pt idx="4">
                  <c:v>0.98142557101601458</c:v>
                </c:pt>
                <c:pt idx="5">
                  <c:v>0.99253959919488921</c:v>
                </c:pt>
                <c:pt idx="6">
                  <c:v>0.99954056182725115</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strCache>
            </c:strRef>
          </c:cat>
          <c:val>
            <c:numRef>
              <c:f>Sheet1!$D$2:$D$9</c:f>
              <c:numCache>
                <c:formatCode>General</c:formatCode>
                <c:ptCount val="8"/>
                <c:pt idx="0">
                  <c:v>391.8</c:v>
                </c:pt>
                <c:pt idx="1">
                  <c:v>43.115942028985508</c:v>
                </c:pt>
                <c:pt idx="2">
                  <c:v>18.047619047619047</c:v>
                </c:pt>
                <c:pt idx="3">
                  <c:v>18.061224489795919</c:v>
                </c:pt>
                <c:pt idx="4">
                  <c:v>20.058823529411764</c:v>
                </c:pt>
                <c:pt idx="5">
                  <c:v>20.32</c:v>
                </c:pt>
                <c:pt idx="6">
                  <c:v>7.2727272727272725</c:v>
                </c:pt>
                <c:pt idx="7">
                  <c:v>1.61538461538461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MG CHAMPAGNE NICOLAS 1ERE CUVE 1CT X 1500ML</c:v>
                </c:pt>
                <c:pt idx="4">
                  <c:v>MG CHAMPAGNE E.NICOLAS BRUT 1CT X 1500ML</c:v>
                </c:pt>
                <c:pt idx="5">
                  <c:v>CHAMPAGNE NICOLAS BIO NAT 2017 1CT X 750ML</c:v>
                </c:pt>
                <c:pt idx="6">
                  <c:v>CHAMPAGNE NICOLAS 1ERE CUV ETU 1CT X 750ML</c:v>
                </c:pt>
              </c:strCache>
            </c:strRef>
          </c:cat>
          <c:val>
            <c:numRef>
              <c:f>Sheet1!$B$2:$B$8</c:f>
              <c:numCache>
                <c:formatCode>General</c:formatCode>
                <c:ptCount val="7"/>
                <c:pt idx="0">
                  <c:v>1</c:v>
                </c:pt>
                <c:pt idx="1">
                  <c:v>0.56000000000000005</c:v>
                </c:pt>
                <c:pt idx="2">
                  <c:v>0.64</c:v>
                </c:pt>
                <c:pt idx="3">
                  <c:v>0.3</c:v>
                </c:pt>
                <c:pt idx="4">
                  <c:v>0.51</c:v>
                </c:pt>
                <c:pt idx="5">
                  <c:v>0.34</c:v>
                </c:pt>
                <c:pt idx="6">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MG CHAMPAGNE NICOLAS 1ERE CUVE 1CT X 1500ML</c:v>
                </c:pt>
                <c:pt idx="4">
                  <c:v>MG CHAMPAGNE E.NICOLAS BRUT 1CT X 1500ML</c:v>
                </c:pt>
                <c:pt idx="5">
                  <c:v>CHAMPAGNE NICOLAS BIO NAT 2017 1CT X 750ML</c:v>
                </c:pt>
                <c:pt idx="6">
                  <c:v>CHAMPAGNE NICOLAS 1ERE CUV ETU 1CT X 750ML</c:v>
                </c:pt>
              </c:strCache>
            </c:strRef>
          </c:cat>
          <c:val>
            <c:numRef>
              <c:f>Sheet1!$C$2:$C$8</c:f>
              <c:numCache>
                <c:formatCode>General</c:formatCode>
                <c:ptCount val="7"/>
                <c:pt idx="0">
                  <c:v>0.85694390042216129</c:v>
                </c:pt>
                <c:pt idx="1">
                  <c:v>0.90433912173042608</c:v>
                </c:pt>
                <c:pt idx="2">
                  <c:v>0.93876485180833003</c:v>
                </c:pt>
                <c:pt idx="3">
                  <c:v>0.96509553031292161</c:v>
                </c:pt>
                <c:pt idx="4">
                  <c:v>0.9868128998563781</c:v>
                </c:pt>
                <c:pt idx="5">
                  <c:v>0.99682290986638811</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MG CHAMPAGNE NICOLAS 1ERE CUVE 1CT X 1500ML</c:v>
                </c:pt>
                <c:pt idx="4">
                  <c:v>MG CHAMPAGNE E.NICOLAS BRUT 1CT X 1500ML</c:v>
                </c:pt>
                <c:pt idx="5">
                  <c:v>CHAMPAGNE NICOLAS BIO NAT 2017 1CT X 750ML</c:v>
                </c:pt>
                <c:pt idx="6">
                  <c:v>CHAMPAGNE NICOLAS 1ERE CUV ETU 1CT X 750ML</c:v>
                </c:pt>
              </c:strCache>
            </c:strRef>
          </c:cat>
          <c:val>
            <c:numRef>
              <c:f>Sheet1!$D$2:$D$8</c:f>
              <c:numCache>
                <c:formatCode>General</c:formatCode>
                <c:ptCount val="7"/>
                <c:pt idx="0">
                  <c:v>196.9</c:v>
                </c:pt>
                <c:pt idx="1">
                  <c:v>19.446428571428569</c:v>
                </c:pt>
                <c:pt idx="2">
                  <c:v>12.359375</c:v>
                </c:pt>
                <c:pt idx="3">
                  <c:v>20.166666666666668</c:v>
                </c:pt>
                <c:pt idx="4">
                  <c:v>9.7843137254901968</c:v>
                </c:pt>
                <c:pt idx="5">
                  <c:v>6.7647058823529411</c:v>
                </c:pt>
                <c:pt idx="6">
                  <c:v>6.63636363636363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1</c:v>
                </c:pt>
                <c:pt idx="1">
                  <c:v>0.62</c:v>
                </c:pt>
                <c:pt idx="2">
                  <c:v>0.59</c:v>
                </c:pt>
                <c:pt idx="3">
                  <c:v>0.56999999999999995</c:v>
                </c:pt>
                <c:pt idx="4">
                  <c:v>0.59</c:v>
                </c:pt>
                <c:pt idx="5">
                  <c:v>0.44</c:v>
                </c:pt>
                <c:pt idx="6">
                  <c:v>0.3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73496133496133498</c:v>
                </c:pt>
                <c:pt idx="1">
                  <c:v>0.85282865282865283</c:v>
                </c:pt>
                <c:pt idx="2">
                  <c:v>0.90427350427350428</c:v>
                </c:pt>
                <c:pt idx="3">
                  <c:v>0.93846153846153846</c:v>
                </c:pt>
                <c:pt idx="4">
                  <c:v>0.97037037037037033</c:v>
                </c:pt>
                <c:pt idx="5">
                  <c:v>0.99190069190069186</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180.58</c:v>
                </c:pt>
                <c:pt idx="1">
                  <c:v>46.70967741935484</c:v>
                </c:pt>
                <c:pt idx="2">
                  <c:v>21.423728813559322</c:v>
                </c:pt>
                <c:pt idx="3">
                  <c:v>14.736842105263159</c:v>
                </c:pt>
                <c:pt idx="4">
                  <c:v>13.288135593220339</c:v>
                </c:pt>
                <c:pt idx="5">
                  <c:v>12.022727272727273</c:v>
                </c:pt>
                <c:pt idx="6">
                  <c:v>6.03030303030303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1</c:v>
                </c:pt>
                <c:pt idx="1">
                  <c:v>0.3</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6182902584493044</c:v>
                </c:pt>
                <c:pt idx="1">
                  <c:v>0.8493041749502983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67.285714285714292</c:v>
                </c:pt>
                <c:pt idx="1">
                  <c:v>24.1</c:v>
                </c:pt>
                <c:pt idx="2">
                  <c:v>63.1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c:v>
                </c:pt>
                <c:pt idx="1">
                  <c:v>0.22</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6390193009911327</c:v>
                </c:pt>
                <c:pt idx="1">
                  <c:v>0.96035472091810115</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2.066666666666663</c:v>
                </c:pt>
                <c:pt idx="1">
                  <c:v>69.090909090909093</c:v>
                </c:pt>
                <c:pt idx="2">
                  <c:v>3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65</c:v>
                </c:pt>
                <c:pt idx="1">
                  <c:v>0.3</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1533505154639179</c:v>
                </c:pt>
                <c:pt idx="1">
                  <c:v>0.951675257731958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4.692307692307692</c:v>
                </c:pt>
                <c:pt idx="1">
                  <c:v>17.399999999999999</c:v>
                </c:pt>
                <c:pt idx="2">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HAMPAGNE NICOLAS 1ER CRU BS 1CT X 750ML</c:v>
                </c:pt>
                <c:pt idx="1">
                  <c:v>CHAMPAGNE NICOLAS 1ER CRU ETUI 1CT X 750ML</c:v>
                </c:pt>
              </c:strCache>
            </c:strRef>
          </c:cat>
          <c:val>
            <c:numRef>
              <c:f>Sheet1!$B$2:$B$3</c:f>
              <c:numCache>
                <c:formatCode>General</c:formatCode>
                <c:ptCount val="2"/>
                <c:pt idx="0">
                  <c:v>0.62</c:v>
                </c:pt>
                <c:pt idx="1">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HAMPAGNE NICOLAS 1ER CRU BS 1CT X 750ML</c:v>
                </c:pt>
                <c:pt idx="1">
                  <c:v>CHAMPAGNE NICOLAS 1ER CRU ETUI 1CT X 750ML</c:v>
                </c:pt>
              </c:strCache>
            </c:strRef>
          </c:cat>
          <c:val>
            <c:numRef>
              <c:f>Sheet1!$C$2:$C$3</c:f>
              <c:numCache>
                <c:formatCode>General</c:formatCode>
                <c:ptCount val="2"/>
                <c:pt idx="0">
                  <c:v>0.83221476510067116</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HAMPAGNE NICOLAS 1ER CRU BS 1CT X 750ML</c:v>
                </c:pt>
                <c:pt idx="1">
                  <c:v>CHAMPAGNE NICOLAS 1ER CRU ETUI 1CT X 750ML</c:v>
                </c:pt>
              </c:strCache>
            </c:strRef>
          </c:cat>
          <c:val>
            <c:numRef>
              <c:f>Sheet1!$D$2:$D$3</c:f>
              <c:numCache>
                <c:formatCode>General</c:formatCode>
                <c:ptCount val="2"/>
                <c:pt idx="0">
                  <c:v>10</c:v>
                </c:pt>
                <c:pt idx="1">
                  <c:v>7.35294117647058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56000000000000005</c:v>
                </c:pt>
                <c:pt idx="1">
                  <c:v>7.0000000000000007E-2</c:v>
                </c:pt>
                <c:pt idx="2">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9646950939935803</c:v>
                </c:pt>
                <c:pt idx="1">
                  <c:v>0.89546079779917465</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7.124999999999996</c:v>
                </c:pt>
                <c:pt idx="1">
                  <c:v>61.999999999999993</c:v>
                </c:pt>
                <c:pt idx="2">
                  <c:v>32.57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B$2:$B$4</c:f>
              <c:numCache>
                <c:formatCode>General</c:formatCode>
                <c:ptCount val="3"/>
                <c:pt idx="0">
                  <c:v>0.43762562814070349</c:v>
                </c:pt>
                <c:pt idx="1">
                  <c:v>0.41356783919597989</c:v>
                </c:pt>
                <c:pt idx="2">
                  <c:v>0.1488065326633165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C$2:$C$4</c:f>
              <c:numCache>
                <c:formatCode>General</c:formatCode>
                <c:ptCount val="3"/>
                <c:pt idx="0">
                  <c:v>0.32452830188679238</c:v>
                </c:pt>
                <c:pt idx="1">
                  <c:v>0.33962264150943394</c:v>
                </c:pt>
                <c:pt idx="2">
                  <c:v>0.3358490566037735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D$2:$D$4</c:f>
              <c:numCache>
                <c:formatCode>General</c:formatCode>
                <c:ptCount val="3"/>
                <c:pt idx="0">
                  <c:v>74.156603502766387</c:v>
                </c:pt>
                <c:pt idx="1">
                  <c:v>82.120176987092776</c:v>
                </c:pt>
                <c:pt idx="2">
                  <c:v>225.695102622713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5</c:v>
                </c:pt>
                <c:pt idx="2">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71497294046903193</c:v>
                </c:pt>
                <c:pt idx="1">
                  <c:v>0.9542994588093807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42.464285714285708</c:v>
                </c:pt>
                <c:pt idx="1">
                  <c:v>26.533333333333335</c:v>
                </c:pt>
                <c:pt idx="2">
                  <c:v>6.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27</c:v>
                </c:pt>
                <c:pt idx="1">
                  <c:v>0.44</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48391248391248398</c:v>
                </c:pt>
                <c:pt idx="1">
                  <c:v>0.9021879021879022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13.925925925925926</c:v>
                </c:pt>
                <c:pt idx="1">
                  <c:v>7.3863636363636367</c:v>
                </c:pt>
                <c:pt idx="2">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85</c:v>
                </c:pt>
                <c:pt idx="1">
                  <c:v>0.38</c:v>
                </c:pt>
                <c:pt idx="2">
                  <c:v>0.2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59301014656144302</c:v>
                </c:pt>
                <c:pt idx="1">
                  <c:v>0.82036828260052608</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18.564705882352943</c:v>
                </c:pt>
                <c:pt idx="1">
                  <c:v>15.921052631578947</c:v>
                </c:pt>
                <c:pt idx="2">
                  <c:v>18.3846153846153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48</c:v>
                </c:pt>
                <c:pt idx="1">
                  <c:v>0.46</c:v>
                </c:pt>
                <c:pt idx="2">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0187734668335426</c:v>
                </c:pt>
                <c:pt idx="1">
                  <c:v>0.8097622027534419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8.3541666666666661</c:v>
                </c:pt>
                <c:pt idx="1">
                  <c:v>5.3478260869565215</c:v>
                </c:pt>
                <c:pt idx="2">
                  <c:v>13.81818181818181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HAMPAGNE NICOLAS 1ER CRU BS 1CT X 750ML</c:v>
                </c:pt>
              </c:strCache>
            </c:strRef>
          </c:cat>
          <c:val>
            <c:numRef>
              <c:f>Sheet1!$B$2:$B$2</c:f>
              <c:numCache>
                <c:formatCode>General</c:formatCode>
                <c:ptCount val="1"/>
                <c:pt idx="0">
                  <c:v>0.5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HAMPAGNE NICOLAS 1ER CRU BS 1CT X 750ML</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HAMPAGNE NICOLAS 1ER CRU BS 1CT X 750ML</c:v>
                </c:pt>
              </c:strCache>
            </c:strRef>
          </c:cat>
          <c:val>
            <c:numRef>
              <c:f>Sheet1!$D$2:$D$2</c:f>
              <c:numCache>
                <c:formatCode>General</c:formatCode>
                <c:ptCount val="1"/>
                <c:pt idx="0">
                  <c:v>9.452830188679245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HAMPAGNE NICOLAS 1ER CRU BS 1CT X 750ML</c:v>
                </c:pt>
                <c:pt idx="1">
                  <c:v>MG CHAMPAGNE NICOLAS 1E CRU BS 1CT X 1500ML</c:v>
                </c:pt>
              </c:strCache>
            </c:strRef>
          </c:cat>
          <c:val>
            <c:numRef>
              <c:f>Sheet1!$B$2:$B$3</c:f>
              <c:numCache>
                <c:formatCode>General</c:formatCode>
                <c:ptCount val="2"/>
                <c:pt idx="0">
                  <c:v>0.32</c:v>
                </c:pt>
                <c:pt idx="1">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HAMPAGNE NICOLAS 1ER CRU BS 1CT X 750ML</c:v>
                </c:pt>
                <c:pt idx="1">
                  <c:v>MG CHAMPAGNE NICOLAS 1E CRU BS 1CT X 1500ML</c:v>
                </c:pt>
              </c:strCache>
            </c:strRef>
          </c:cat>
          <c:val>
            <c:numRef>
              <c:f>Sheet1!$C$2:$C$3</c:f>
              <c:numCache>
                <c:formatCode>General</c:formatCode>
                <c:ptCount val="2"/>
                <c:pt idx="0">
                  <c:v>0.75328947368421051</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HAMPAGNE NICOLAS 1ER CRU BS 1CT X 750ML</c:v>
                </c:pt>
                <c:pt idx="1">
                  <c:v>MG CHAMPAGNE NICOLAS 1E CRU BS 1CT X 1500ML</c:v>
                </c:pt>
              </c:strCache>
            </c:strRef>
          </c:cat>
          <c:val>
            <c:numRef>
              <c:f>Sheet1!$D$2:$D$3</c:f>
              <c:numCache>
                <c:formatCode>General</c:formatCode>
                <c:ptCount val="2"/>
                <c:pt idx="0">
                  <c:v>7.15625</c:v>
                </c:pt>
                <c:pt idx="1">
                  <c:v>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B$2:$B$6</c:f>
              <c:numCache>
                <c:formatCode>General</c:formatCode>
                <c:ptCount val="5"/>
                <c:pt idx="0">
                  <c:v>0.83</c:v>
                </c:pt>
                <c:pt idx="1">
                  <c:v>0.43</c:v>
                </c:pt>
                <c:pt idx="2">
                  <c:v>0.41</c:v>
                </c:pt>
                <c:pt idx="3">
                  <c:v>0.15</c:v>
                </c:pt>
                <c:pt idx="4">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C$2:$C$6</c:f>
              <c:numCache>
                <c:formatCode>General</c:formatCode>
                <c:ptCount val="5"/>
                <c:pt idx="0">
                  <c:v>0.77169394981269568</c:v>
                </c:pt>
                <c:pt idx="1">
                  <c:v>0.88022784420382827</c:v>
                </c:pt>
                <c:pt idx="2">
                  <c:v>0.96546415559090681</c:v>
                </c:pt>
                <c:pt idx="3">
                  <c:v>0.98999332888592395</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D$2:$D$6</c:f>
              <c:numCache>
                <c:formatCode>General</c:formatCode>
                <c:ptCount val="5"/>
                <c:pt idx="0">
                  <c:v>181.18072289156626</c:v>
                </c:pt>
                <c:pt idx="1">
                  <c:v>49.186046511627907</c:v>
                </c:pt>
                <c:pt idx="2">
                  <c:v>40.512195121951223</c:v>
                </c:pt>
                <c:pt idx="3">
                  <c:v>31.866666666666667</c:v>
                </c:pt>
                <c:pt idx="4">
                  <c:v>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CHAMPAGNE NICOLAS ROSE 1ERE ET 1CT X 750ML</c:v>
                </c:pt>
                <c:pt idx="3">
                  <c:v>1/2 CHAMP NICOLAS ROSE 1E C BS 1CT X 375ML</c:v>
                </c:pt>
                <c:pt idx="4">
                  <c:v>CHAMPAGNE NICOLAS ROSE 1E C BS 1CT X 750ML</c:v>
                </c:pt>
              </c:strCache>
            </c:strRef>
          </c:cat>
          <c:val>
            <c:numRef>
              <c:f>Sheet1!$B$2:$B$6</c:f>
              <c:numCache>
                <c:formatCode>General</c:formatCode>
                <c:ptCount val="5"/>
                <c:pt idx="0">
                  <c:v>0.64</c:v>
                </c:pt>
                <c:pt idx="1">
                  <c:v>0.41</c:v>
                </c:pt>
                <c:pt idx="2">
                  <c:v>0.2</c:v>
                </c:pt>
                <c:pt idx="3">
                  <c:v>0.28000000000000003</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CHAMPAGNE NICOLAS ROSE 1ERE ET 1CT X 750ML</c:v>
                </c:pt>
                <c:pt idx="3">
                  <c:v>1/2 CHAMP NICOLAS ROSE 1E C BS 1CT X 375ML</c:v>
                </c:pt>
                <c:pt idx="4">
                  <c:v>CHAMPAGNE NICOLAS ROSE 1E C BS 1CT X 750ML</c:v>
                </c:pt>
              </c:strCache>
            </c:strRef>
          </c:cat>
          <c:val>
            <c:numRef>
              <c:f>Sheet1!$C$2:$C$6</c:f>
              <c:numCache>
                <c:formatCode>General</c:formatCode>
                <c:ptCount val="5"/>
                <c:pt idx="0">
                  <c:v>0.71054550275071249</c:v>
                </c:pt>
                <c:pt idx="1">
                  <c:v>0.86630874262610191</c:v>
                </c:pt>
                <c:pt idx="2">
                  <c:v>0.93179558560349962</c:v>
                </c:pt>
                <c:pt idx="3">
                  <c:v>0.98170610459335839</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CHAMPAGNE NICOLAS ROSE 1ERE ET 1CT X 750ML</c:v>
                </c:pt>
                <c:pt idx="3">
                  <c:v>1/2 CHAMP NICOLAS ROSE 1E C BS 1CT X 375ML</c:v>
                </c:pt>
                <c:pt idx="4">
                  <c:v>CHAMPAGNE NICOLAS ROSE 1E C BS 1CT X 750ML</c:v>
                </c:pt>
              </c:strCache>
            </c:strRef>
          </c:cat>
          <c:val>
            <c:numRef>
              <c:f>Sheet1!$D$2:$D$6</c:f>
              <c:numCache>
                <c:formatCode>General</c:formatCode>
                <c:ptCount val="5"/>
                <c:pt idx="0">
                  <c:v>167.5</c:v>
                </c:pt>
                <c:pt idx="1">
                  <c:v>57.31707317073171</c:v>
                </c:pt>
                <c:pt idx="2">
                  <c:v>49.4</c:v>
                </c:pt>
                <c:pt idx="3">
                  <c:v>26.892857142857139</c:v>
                </c:pt>
                <c:pt idx="4">
                  <c:v>3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8</c:v>
                </c:pt>
                <c:pt idx="1">
                  <c:v>0.52</c:v>
                </c:pt>
                <c:pt idx="2">
                  <c:v>0.35</c:v>
                </c:pt>
                <c:pt idx="3">
                  <c:v>0.22</c:v>
                </c:pt>
                <c:pt idx="4">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3368875691726267</c:v>
                </c:pt>
                <c:pt idx="1">
                  <c:v>0.89175327304629493</c:v>
                </c:pt>
                <c:pt idx="2">
                  <c:v>0.95707922796598721</c:v>
                </c:pt>
                <c:pt idx="3">
                  <c:v>0.98893237953839919</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69.044117647058826</c:v>
                </c:pt>
                <c:pt idx="1">
                  <c:v>36.769230769230766</c:v>
                </c:pt>
                <c:pt idx="2">
                  <c:v>13.828571428571429</c:v>
                </c:pt>
                <c:pt idx="3">
                  <c:v>10.727272727272727</c:v>
                </c:pt>
                <c:pt idx="4">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4</c:v>
                </c:pt>
                <c:pt idx="1">
                  <c:v>0.62</c:v>
                </c:pt>
                <c:pt idx="2">
                  <c:v>0.49</c:v>
                </c:pt>
                <c:pt idx="3">
                  <c:v>0.28000000000000003</c:v>
                </c:pt>
                <c:pt idx="4">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330073349633255</c:v>
                </c:pt>
                <c:pt idx="1">
                  <c:v>0.83031784841075806</c:v>
                </c:pt>
                <c:pt idx="2">
                  <c:v>0.91625916870415658</c:v>
                </c:pt>
                <c:pt idx="3">
                  <c:v>0.9864303178484108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63.61904761904762</c:v>
                </c:pt>
                <c:pt idx="1">
                  <c:v>23.35483870967742</c:v>
                </c:pt>
                <c:pt idx="2">
                  <c:v>14.346938775510203</c:v>
                </c:pt>
                <c:pt idx="3">
                  <c:v>20.499999999999996</c:v>
                </c:pt>
                <c:pt idx="4">
                  <c:v>6.5294117647058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B$2:$B$4</c:f>
              <c:numCache>
                <c:formatCode>General</c:formatCode>
                <c:ptCount val="3"/>
                <c:pt idx="0">
                  <c:v>0.41273015079563441</c:v>
                </c:pt>
                <c:pt idx="1">
                  <c:v>0.39098558693659918</c:v>
                </c:pt>
                <c:pt idx="2">
                  <c:v>0.1962842622677663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C$2:$C$4</c:f>
              <c:numCache>
                <c:formatCode>General</c:formatCode>
                <c:ptCount val="3"/>
                <c:pt idx="0">
                  <c:v>0.21754385964912279</c:v>
                </c:pt>
                <c:pt idx="1">
                  <c:v>0.2982456140350877</c:v>
                </c:pt>
                <c:pt idx="2">
                  <c:v>0.4842105263157894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D$2:$D$4</c:f>
              <c:numCache>
                <c:formatCode>General</c:formatCode>
                <c:ptCount val="3"/>
                <c:pt idx="0">
                  <c:v>52.708497120880516</c:v>
                </c:pt>
                <c:pt idx="1">
                  <c:v>76.280462502943919</c:v>
                </c:pt>
                <c:pt idx="2">
                  <c:v>246.688410329729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5</c:v>
                </c:pt>
                <c:pt idx="1">
                  <c:v>0.28000000000000003</c:v>
                </c:pt>
                <c:pt idx="2">
                  <c:v>0.36</c:v>
                </c:pt>
                <c:pt idx="3">
                  <c:v>0.18</c:v>
                </c:pt>
                <c:pt idx="4">
                  <c:v>0.2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68556085918854415</c:v>
                </c:pt>
                <c:pt idx="1">
                  <c:v>0.81175417661097848</c:v>
                </c:pt>
                <c:pt idx="2">
                  <c:v>0.90294351630867142</c:v>
                </c:pt>
                <c:pt idx="3">
                  <c:v>0.967581543357199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91.92</c:v>
                </c:pt>
                <c:pt idx="1">
                  <c:v>45.321428571428562</c:v>
                </c:pt>
                <c:pt idx="2">
                  <c:v>25.472222222222221</c:v>
                </c:pt>
                <c:pt idx="3">
                  <c:v>36.111111111111114</c:v>
                </c:pt>
                <c:pt idx="4">
                  <c:v>13.58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1</c:v>
                </c:pt>
                <c:pt idx="1">
                  <c:v>0.34</c:v>
                </c:pt>
                <c:pt idx="2">
                  <c:v>0.19</c:v>
                </c:pt>
                <c:pt idx="3">
                  <c:v>0.27</c:v>
                </c:pt>
                <c:pt idx="4">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73841541755888662</c:v>
                </c:pt>
                <c:pt idx="1">
                  <c:v>0.82835117773019284</c:v>
                </c:pt>
                <c:pt idx="2">
                  <c:v>0.90980728051391879</c:v>
                </c:pt>
                <c:pt idx="3">
                  <c:v>0.98244111349036423</c:v>
                </c:pt>
                <c:pt idx="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21.4225352112676</c:v>
                </c:pt>
                <c:pt idx="1">
                  <c:v>30.882352941176471</c:v>
                </c:pt>
                <c:pt idx="2">
                  <c:v>50.05263157894737</c:v>
                </c:pt>
                <c:pt idx="3">
                  <c:v>31.407407407407408</c:v>
                </c:pt>
                <c:pt idx="4">
                  <c:v>17.0833333333333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E.NICOLAS ROSE 1CT X 750ML</c:v>
                </c:pt>
                <c:pt idx="1">
                  <c:v>CHAMPAGNE NICOLAS ROSE 1ERE CU 1CT X 750ML</c:v>
                </c:pt>
                <c:pt idx="2">
                  <c:v>1/2 CHAMP NICOLAS ROSE 1E C BS 1CT X 375ML</c:v>
                </c:pt>
                <c:pt idx="3">
                  <c:v>CHAMPAGNE NICOLAS ROSE 1E C BS 1CT X 750ML</c:v>
                </c:pt>
              </c:strCache>
            </c:strRef>
          </c:cat>
          <c:val>
            <c:numRef>
              <c:f>Sheet1!$B$2:$B$5</c:f>
              <c:numCache>
                <c:formatCode>General</c:formatCode>
                <c:ptCount val="4"/>
                <c:pt idx="0">
                  <c:v>0.56000000000000005</c:v>
                </c:pt>
                <c:pt idx="1">
                  <c:v>0.28000000000000003</c:v>
                </c:pt>
                <c:pt idx="2">
                  <c:v>0.31</c:v>
                </c:pt>
                <c:pt idx="3">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E.NICOLAS ROSE 1CT X 750ML</c:v>
                </c:pt>
                <c:pt idx="1">
                  <c:v>CHAMPAGNE NICOLAS ROSE 1ERE CU 1CT X 750ML</c:v>
                </c:pt>
                <c:pt idx="2">
                  <c:v>1/2 CHAMP NICOLAS ROSE 1E C BS 1CT X 375ML</c:v>
                </c:pt>
                <c:pt idx="3">
                  <c:v>CHAMPAGNE NICOLAS ROSE 1E C BS 1CT X 750ML</c:v>
                </c:pt>
              </c:strCache>
            </c:strRef>
          </c:cat>
          <c:val>
            <c:numRef>
              <c:f>Sheet1!$C$2:$C$5</c:f>
              <c:numCache>
                <c:formatCode>General</c:formatCode>
                <c:ptCount val="4"/>
                <c:pt idx="0">
                  <c:v>0.68530985672363198</c:v>
                </c:pt>
                <c:pt idx="1">
                  <c:v>0.84981874676333513</c:v>
                </c:pt>
                <c:pt idx="2">
                  <c:v>0.96443984118764037</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E.NICOLAS ROSE 1CT X 750ML</c:v>
                </c:pt>
                <c:pt idx="1">
                  <c:v>CHAMPAGNE NICOLAS ROSE 1ERE CU 1CT X 750ML</c:v>
                </c:pt>
                <c:pt idx="2">
                  <c:v>1/2 CHAMP NICOLAS ROSE 1E C BS 1CT X 375ML</c:v>
                </c:pt>
                <c:pt idx="3">
                  <c:v>CHAMPAGNE NICOLAS ROSE 1E C BS 1CT X 750ML</c:v>
                </c:pt>
              </c:strCache>
            </c:strRef>
          </c:cat>
          <c:val>
            <c:numRef>
              <c:f>Sheet1!$D$2:$D$5</c:f>
              <c:numCache>
                <c:formatCode>General</c:formatCode>
                <c:ptCount val="4"/>
                <c:pt idx="0">
                  <c:v>70.892857142857139</c:v>
                </c:pt>
                <c:pt idx="1">
                  <c:v>34.035714285714285</c:v>
                </c:pt>
                <c:pt idx="2">
                  <c:v>21.419354838709676</c:v>
                </c:pt>
                <c:pt idx="3">
                  <c:v>18.7272727272727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E.NICOLAS ROSE 1CT X 750ML</c:v>
                </c:pt>
                <c:pt idx="1">
                  <c:v>1/2 CHAMP NICOLAS ROSE 1E C BS 1CT X 375ML</c:v>
                </c:pt>
                <c:pt idx="2">
                  <c:v>CHAMPAGNE NICOLAS ROSE 1E C BS 1CT X 750ML</c:v>
                </c:pt>
                <c:pt idx="3">
                  <c:v>CHAMPAGNE NICOLAS ROSE 1ERE CU 1CT X 750ML</c:v>
                </c:pt>
              </c:strCache>
            </c:strRef>
          </c:cat>
          <c:val>
            <c:numRef>
              <c:f>Sheet1!$B$2:$B$5</c:f>
              <c:numCache>
                <c:formatCode>General</c:formatCode>
                <c:ptCount val="4"/>
                <c:pt idx="0">
                  <c:v>0.56000000000000005</c:v>
                </c:pt>
                <c:pt idx="1">
                  <c:v>0.62</c:v>
                </c:pt>
                <c:pt idx="2">
                  <c:v>0.24</c:v>
                </c:pt>
                <c:pt idx="3">
                  <c:v>0.4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E.NICOLAS ROSE 1CT X 750ML</c:v>
                </c:pt>
                <c:pt idx="1">
                  <c:v>1/2 CHAMP NICOLAS ROSE 1E C BS 1CT X 375ML</c:v>
                </c:pt>
                <c:pt idx="2">
                  <c:v>CHAMPAGNE NICOLAS ROSE 1E C BS 1CT X 750ML</c:v>
                </c:pt>
                <c:pt idx="3">
                  <c:v>CHAMPAGNE NICOLAS ROSE 1ERE CU 1CT X 750ML</c:v>
                </c:pt>
              </c:strCache>
            </c:strRef>
          </c:cat>
          <c:val>
            <c:numRef>
              <c:f>Sheet1!$C$2:$C$5</c:f>
              <c:numCache>
                <c:formatCode>General</c:formatCode>
                <c:ptCount val="4"/>
                <c:pt idx="0">
                  <c:v>0.69360203482684413</c:v>
                </c:pt>
                <c:pt idx="1">
                  <c:v>0.813930737624731</c:v>
                </c:pt>
                <c:pt idx="2">
                  <c:v>0.9090197612991587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E.NICOLAS ROSE 1CT X 750ML</c:v>
                </c:pt>
                <c:pt idx="1">
                  <c:v>1/2 CHAMP NICOLAS ROSE 1E C BS 1CT X 375ML</c:v>
                </c:pt>
                <c:pt idx="2">
                  <c:v>CHAMPAGNE NICOLAS ROSE 1E C BS 1CT X 750ML</c:v>
                </c:pt>
                <c:pt idx="3">
                  <c:v>CHAMPAGNE NICOLAS ROSE 1ERE CU 1CT X 750ML</c:v>
                </c:pt>
              </c:strCache>
            </c:strRef>
          </c:cat>
          <c:val>
            <c:numRef>
              <c:f>Sheet1!$D$2:$D$5</c:f>
              <c:numCache>
                <c:formatCode>General</c:formatCode>
                <c:ptCount val="4"/>
                <c:pt idx="0">
                  <c:v>63.303571428571423</c:v>
                </c:pt>
                <c:pt idx="1">
                  <c:v>9.9193548387096779</c:v>
                </c:pt>
                <c:pt idx="2">
                  <c:v>20.25</c:v>
                </c:pt>
                <c:pt idx="3">
                  <c:v>9.6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c:v>
                </c:pt>
                <c:pt idx="1">
                  <c:v>0.51</c:v>
                </c:pt>
                <c:pt idx="2">
                  <c:v>0.39</c:v>
                </c:pt>
                <c:pt idx="3">
                  <c:v>0.28000000000000003</c:v>
                </c:pt>
                <c:pt idx="4">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70349691448721718</c:v>
                </c:pt>
                <c:pt idx="1">
                  <c:v>0.85836027034969153</c:v>
                </c:pt>
                <c:pt idx="2">
                  <c:v>0.96708786364972088</c:v>
                </c:pt>
                <c:pt idx="3">
                  <c:v>0.9879518072289157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39.9</c:v>
                </c:pt>
                <c:pt idx="1">
                  <c:v>10.333333333333334</c:v>
                </c:pt>
                <c:pt idx="2">
                  <c:v>9.4871794871794872</c:v>
                </c:pt>
                <c:pt idx="3">
                  <c:v>2.5357142857142856</c:v>
                </c:pt>
                <c:pt idx="4">
                  <c:v>4.55555555555555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3</c:v>
                </c:pt>
                <c:pt idx="1">
                  <c:v>0.63</c:v>
                </c:pt>
                <c:pt idx="2">
                  <c:v>0.62</c:v>
                </c:pt>
                <c:pt idx="3">
                  <c:v>0.38</c:v>
                </c:pt>
                <c:pt idx="4">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51939864209505338</c:v>
                </c:pt>
                <c:pt idx="1">
                  <c:v>0.73375363724539278</c:v>
                </c:pt>
                <c:pt idx="2">
                  <c:v>0.90543161978661491</c:v>
                </c:pt>
                <c:pt idx="3">
                  <c:v>0.9655674102812802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4.671232876712329</c:v>
                </c:pt>
                <c:pt idx="1">
                  <c:v>7.0158730158730158</c:v>
                </c:pt>
                <c:pt idx="2">
                  <c:v>5.709677419354839</c:v>
                </c:pt>
                <c:pt idx="3">
                  <c:v>3.263157894736842</c:v>
                </c:pt>
                <c:pt idx="4">
                  <c:v>4.4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ET 1CT X 750ML</c:v>
                </c:pt>
                <c:pt idx="3">
                  <c:v>CHAMPAGNE NICOLAS ROSE 1ERE CU 1CT X 750ML</c:v>
                </c:pt>
                <c:pt idx="4">
                  <c:v>CHAMPAGNE NICOLAS ROSE 1E C BS 1CT X 750ML</c:v>
                </c:pt>
              </c:strCache>
            </c:strRef>
          </c:cat>
          <c:val>
            <c:numRef>
              <c:f>Sheet1!$B$2:$B$6</c:f>
              <c:numCache>
                <c:formatCode>General</c:formatCode>
                <c:ptCount val="5"/>
                <c:pt idx="0">
                  <c:v>0.61</c:v>
                </c:pt>
                <c:pt idx="1">
                  <c:v>0.42</c:v>
                </c:pt>
                <c:pt idx="2">
                  <c:v>0.18</c:v>
                </c:pt>
                <c:pt idx="3">
                  <c:v>0.43</c:v>
                </c:pt>
                <c:pt idx="4">
                  <c:v>0.2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ET 1CT X 750ML</c:v>
                </c:pt>
                <c:pt idx="3">
                  <c:v>CHAMPAGNE NICOLAS ROSE 1ERE CU 1CT X 750ML</c:v>
                </c:pt>
                <c:pt idx="4">
                  <c:v>CHAMPAGNE NICOLAS ROSE 1E C BS 1CT X 750ML</c:v>
                </c:pt>
              </c:strCache>
            </c:strRef>
          </c:cat>
          <c:val>
            <c:numRef>
              <c:f>Sheet1!$C$2:$C$6</c:f>
              <c:numCache>
                <c:formatCode>General</c:formatCode>
                <c:ptCount val="5"/>
                <c:pt idx="0">
                  <c:v>0.56416615003099813</c:v>
                </c:pt>
                <c:pt idx="1">
                  <c:v>0.7021078735275883</c:v>
                </c:pt>
                <c:pt idx="2">
                  <c:v>0.8168009919404835</c:v>
                </c:pt>
                <c:pt idx="3">
                  <c:v>0.9311841289522627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ET 1CT X 750ML</c:v>
                </c:pt>
                <c:pt idx="3">
                  <c:v>CHAMPAGNE NICOLAS ROSE 1ERE CU 1CT X 750ML</c:v>
                </c:pt>
                <c:pt idx="4">
                  <c:v>CHAMPAGNE NICOLAS ROSE 1E C BS 1CT X 750ML</c:v>
                </c:pt>
              </c:strCache>
            </c:strRef>
          </c:cat>
          <c:val>
            <c:numRef>
              <c:f>Sheet1!$D$2:$D$6</c:f>
              <c:numCache>
                <c:formatCode>General</c:formatCode>
                <c:ptCount val="5"/>
                <c:pt idx="0">
                  <c:v>29.83606557377049</c:v>
                </c:pt>
                <c:pt idx="1">
                  <c:v>10.595238095238095</c:v>
                </c:pt>
                <c:pt idx="2">
                  <c:v>20.555555555555557</c:v>
                </c:pt>
                <c:pt idx="3">
                  <c:v>8.5813953488372086</c:v>
                </c:pt>
                <c:pt idx="4">
                  <c:v>8.53846153846153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BLC/BLC 2002 1CT X 750ML</c:v>
                </c:pt>
                <c:pt idx="14">
                  <c:v>CHAMPAGNE NICOLAS 1ERE CUV ETU 1CT X 750ML</c:v>
                </c:pt>
                <c:pt idx="15">
                  <c:v>CHAMPAGNE NICOLAS 1ER CRU ETUI 1CT X 750ML</c:v>
                </c:pt>
                <c:pt idx="16">
                  <c:v>CHAMPAGNE NICOLAS BLC DE NOIRS 1CT X 750ML</c:v>
                </c:pt>
                <c:pt idx="17">
                  <c:v>CHAMPAGNE NICOLAS ROSE 1E C BS 1CT X 750ML</c:v>
                </c:pt>
                <c:pt idx="18">
                  <c:v>CHAMPAGNE NICOLAS BLC/BL BS ET 1CT X 750ML</c:v>
                </c:pt>
                <c:pt idx="19">
                  <c:v>MG CHAMPAGNE NICOLAS 1E CRU BS 1CT X 1500ML</c:v>
                </c:pt>
                <c:pt idx="20">
                  <c:v>CHAMPAGNE NICOLAS ROSE 1ERE ET 1CT X 750ML</c:v>
                </c:pt>
              </c:strCache>
            </c:strRef>
          </c:cat>
          <c:val>
            <c:numRef>
              <c:f>Sheet1!$B$2:$B$22</c:f>
              <c:numCache>
                <c:formatCode>General</c:formatCode>
                <c:ptCount val="21"/>
                <c:pt idx="0">
                  <c:v>0.99</c:v>
                </c:pt>
                <c:pt idx="1">
                  <c:v>0.83</c:v>
                </c:pt>
                <c:pt idx="2">
                  <c:v>0.75</c:v>
                </c:pt>
                <c:pt idx="3">
                  <c:v>0.73</c:v>
                </c:pt>
                <c:pt idx="4">
                  <c:v>0.49</c:v>
                </c:pt>
                <c:pt idx="5">
                  <c:v>0.48</c:v>
                </c:pt>
                <c:pt idx="6">
                  <c:v>0.38</c:v>
                </c:pt>
                <c:pt idx="7">
                  <c:v>0.23</c:v>
                </c:pt>
                <c:pt idx="8">
                  <c:v>0.16</c:v>
                </c:pt>
                <c:pt idx="9">
                  <c:v>0.43</c:v>
                </c:pt>
                <c:pt idx="10">
                  <c:v>0.32</c:v>
                </c:pt>
                <c:pt idx="11">
                  <c:v>0.41</c:v>
                </c:pt>
                <c:pt idx="12">
                  <c:v>0.21</c:v>
                </c:pt>
                <c:pt idx="13">
                  <c:v>0.21</c:v>
                </c:pt>
                <c:pt idx="14">
                  <c:v>0.16</c:v>
                </c:pt>
                <c:pt idx="15">
                  <c:v>0.3</c:v>
                </c:pt>
                <c:pt idx="16">
                  <c:v>0.19</c:v>
                </c:pt>
                <c:pt idx="17">
                  <c:v>0.15</c:v>
                </c:pt>
                <c:pt idx="18">
                  <c:v>0.08</c:v>
                </c:pt>
                <c:pt idx="19">
                  <c:v>0.06</c:v>
                </c:pt>
                <c:pt idx="20">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BLC/BLC 2002 1CT X 750ML</c:v>
                </c:pt>
                <c:pt idx="14">
                  <c:v>CHAMPAGNE NICOLAS 1ERE CUV ETU 1CT X 750ML</c:v>
                </c:pt>
                <c:pt idx="15">
                  <c:v>CHAMPAGNE NICOLAS 1ER CRU ETUI 1CT X 750ML</c:v>
                </c:pt>
                <c:pt idx="16">
                  <c:v>CHAMPAGNE NICOLAS BLC DE NOIRS 1CT X 750ML</c:v>
                </c:pt>
                <c:pt idx="17">
                  <c:v>CHAMPAGNE NICOLAS ROSE 1E C BS 1CT X 750ML</c:v>
                </c:pt>
                <c:pt idx="18">
                  <c:v>CHAMPAGNE NICOLAS BLC/BL BS ET 1CT X 750ML</c:v>
                </c:pt>
                <c:pt idx="19">
                  <c:v>MG CHAMPAGNE NICOLAS 1E CRU BS 1CT X 1500ML</c:v>
                </c:pt>
                <c:pt idx="20">
                  <c:v>CHAMPAGNE NICOLAS ROSE 1ERE ET 1CT X 750ML</c:v>
                </c:pt>
              </c:strCache>
            </c:strRef>
          </c:cat>
          <c:val>
            <c:numRef>
              <c:f>Sheet1!$C$2:$C$22</c:f>
              <c:numCache>
                <c:formatCode>General</c:formatCode>
                <c:ptCount val="21"/>
                <c:pt idx="0">
                  <c:v>0.74890646123076354</c:v>
                </c:pt>
                <c:pt idx="1">
                  <c:v>0.80460378895905482</c:v>
                </c:pt>
                <c:pt idx="2">
                  <c:v>0.84771940221115205</c:v>
                </c:pt>
                <c:pt idx="3">
                  <c:v>0.89036834015444732</c:v>
                </c:pt>
                <c:pt idx="4">
                  <c:v>0.90995388803496358</c:v>
                </c:pt>
                <c:pt idx="5">
                  <c:v>0.92785051575029165</c:v>
                </c:pt>
                <c:pt idx="6">
                  <c:v>0.93819885553436178</c:v>
                </c:pt>
                <c:pt idx="7">
                  <c:v>0.9474138409970555</c:v>
                </c:pt>
                <c:pt idx="8">
                  <c:v>0.95536954388044226</c:v>
                </c:pt>
                <c:pt idx="9">
                  <c:v>0.96320302227819032</c:v>
                </c:pt>
                <c:pt idx="10">
                  <c:v>0.96994388784977503</c:v>
                </c:pt>
                <c:pt idx="11">
                  <c:v>0.97609585362691909</c:v>
                </c:pt>
                <c:pt idx="12">
                  <c:v>0.98132928387562735</c:v>
                </c:pt>
                <c:pt idx="13">
                  <c:v>0.98592936906239004</c:v>
                </c:pt>
                <c:pt idx="14">
                  <c:v>0.98941832256152895</c:v>
                </c:pt>
                <c:pt idx="15">
                  <c:v>0.99209614992870243</c:v>
                </c:pt>
                <c:pt idx="16">
                  <c:v>0.99437767366062335</c:v>
                </c:pt>
                <c:pt idx="17">
                  <c:v>0.99614807681623729</c:v>
                </c:pt>
                <c:pt idx="18">
                  <c:v>0.99787403470434632</c:v>
                </c:pt>
                <c:pt idx="19">
                  <c:v>0.9992777644030445</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BLC/BLC 2002 1CT X 750ML</c:v>
                </c:pt>
                <c:pt idx="14">
                  <c:v>CHAMPAGNE NICOLAS 1ERE CUV ETU 1CT X 750ML</c:v>
                </c:pt>
                <c:pt idx="15">
                  <c:v>CHAMPAGNE NICOLAS 1ER CRU ETUI 1CT X 750ML</c:v>
                </c:pt>
                <c:pt idx="16">
                  <c:v>CHAMPAGNE NICOLAS BLC DE NOIRS 1CT X 750ML</c:v>
                </c:pt>
                <c:pt idx="17">
                  <c:v>CHAMPAGNE NICOLAS ROSE 1E C BS 1CT X 750ML</c:v>
                </c:pt>
                <c:pt idx="18">
                  <c:v>CHAMPAGNE NICOLAS BLC/BL BS ET 1CT X 750ML</c:v>
                </c:pt>
                <c:pt idx="19">
                  <c:v>MG CHAMPAGNE NICOLAS 1E CRU BS 1CT X 1500ML</c:v>
                </c:pt>
                <c:pt idx="20">
                  <c:v>CHAMPAGNE NICOLAS ROSE 1ERE ET 1CT X 750ML</c:v>
                </c:pt>
              </c:strCache>
            </c:strRef>
          </c:cat>
          <c:val>
            <c:numRef>
              <c:f>Sheet1!$D$2:$D$22</c:f>
              <c:numCache>
                <c:formatCode>General</c:formatCode>
                <c:ptCount val="21"/>
                <c:pt idx="0">
                  <c:v>2042.4343434343434</c:v>
                </c:pt>
                <c:pt idx="1">
                  <c:v>181.18072289156626</c:v>
                </c:pt>
                <c:pt idx="2">
                  <c:v>155.21333333333334</c:v>
                </c:pt>
                <c:pt idx="3">
                  <c:v>157.73972602739727</c:v>
                </c:pt>
                <c:pt idx="4">
                  <c:v>107.91836734693878</c:v>
                </c:pt>
                <c:pt idx="5">
                  <c:v>100.66666666666667</c:v>
                </c:pt>
                <c:pt idx="6">
                  <c:v>73.526315789473685</c:v>
                </c:pt>
                <c:pt idx="7">
                  <c:v>108.17391304347827</c:v>
                </c:pt>
                <c:pt idx="8">
                  <c:v>134.25</c:v>
                </c:pt>
                <c:pt idx="9">
                  <c:v>49.186046511627907</c:v>
                </c:pt>
                <c:pt idx="10">
                  <c:v>56.875</c:v>
                </c:pt>
                <c:pt idx="11">
                  <c:v>40.512195121951223</c:v>
                </c:pt>
                <c:pt idx="12">
                  <c:v>67.285714285714292</c:v>
                </c:pt>
                <c:pt idx="13">
                  <c:v>59.142857142857146</c:v>
                </c:pt>
                <c:pt idx="14">
                  <c:v>58.875</c:v>
                </c:pt>
                <c:pt idx="15">
                  <c:v>24.1</c:v>
                </c:pt>
                <c:pt idx="16">
                  <c:v>32.421052631578945</c:v>
                </c:pt>
                <c:pt idx="17">
                  <c:v>31.866666666666667</c:v>
                </c:pt>
                <c:pt idx="18">
                  <c:v>58.25</c:v>
                </c:pt>
                <c:pt idx="19">
                  <c:v>63.166666666666664</c:v>
                </c:pt>
                <c:pt idx="20">
                  <c:v>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BLC 2002 1CT X 750ML</c:v>
                </c:pt>
                <c:pt idx="15">
                  <c:v>CHAMPAGNE NICOLAS BLC DE NOIRS 1CT X 750ML</c:v>
                </c:pt>
                <c:pt idx="16">
                  <c:v>1/2 CHAMP NICOLAS ROSE 1E C BS 1CT X 375ML</c:v>
                </c:pt>
                <c:pt idx="17">
                  <c:v>CHAMPAGNE NICOLAS 1ERE CUV ETU 1CT X 750ML</c:v>
                </c:pt>
                <c:pt idx="18">
                  <c:v>CHAMPAGNE NICOLAS ROSE 1E C BS 1CT X 750ML</c:v>
                </c:pt>
                <c:pt idx="19">
                  <c:v>MG CHAMPAGNE NICOLAS 1E CRU BS 1CT X 1500ML</c:v>
                </c:pt>
              </c:strCache>
            </c:strRef>
          </c:cat>
          <c:val>
            <c:numRef>
              <c:f>Sheet1!$B$2:$B$21</c:f>
              <c:numCache>
                <c:formatCode>General</c:formatCode>
                <c:ptCount val="20"/>
                <c:pt idx="0">
                  <c:v>1</c:v>
                </c:pt>
                <c:pt idx="1">
                  <c:v>0.63</c:v>
                </c:pt>
                <c:pt idx="2">
                  <c:v>0.52</c:v>
                </c:pt>
                <c:pt idx="3">
                  <c:v>0.64</c:v>
                </c:pt>
                <c:pt idx="4">
                  <c:v>0.49</c:v>
                </c:pt>
                <c:pt idx="5">
                  <c:v>0.31</c:v>
                </c:pt>
                <c:pt idx="6">
                  <c:v>0.37</c:v>
                </c:pt>
                <c:pt idx="7">
                  <c:v>0.41</c:v>
                </c:pt>
                <c:pt idx="8">
                  <c:v>0.3</c:v>
                </c:pt>
                <c:pt idx="9">
                  <c:v>0.32</c:v>
                </c:pt>
                <c:pt idx="10">
                  <c:v>0.27</c:v>
                </c:pt>
                <c:pt idx="11">
                  <c:v>0.22</c:v>
                </c:pt>
                <c:pt idx="12">
                  <c:v>0.43</c:v>
                </c:pt>
                <c:pt idx="13">
                  <c:v>0.2</c:v>
                </c:pt>
                <c:pt idx="14">
                  <c:v>0.2</c:v>
                </c:pt>
                <c:pt idx="15">
                  <c:v>0.17</c:v>
                </c:pt>
                <c:pt idx="16">
                  <c:v>0.28000000000000003</c:v>
                </c:pt>
                <c:pt idx="17">
                  <c:v>0.11</c:v>
                </c:pt>
                <c:pt idx="18">
                  <c:v>0.08</c:v>
                </c:pt>
                <c:pt idx="19">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BLC 2002 1CT X 750ML</c:v>
                </c:pt>
                <c:pt idx="15">
                  <c:v>CHAMPAGNE NICOLAS BLC DE NOIRS 1CT X 750ML</c:v>
                </c:pt>
                <c:pt idx="16">
                  <c:v>1/2 CHAMP NICOLAS ROSE 1E C BS 1CT X 375ML</c:v>
                </c:pt>
                <c:pt idx="17">
                  <c:v>CHAMPAGNE NICOLAS 1ERE CUV ETU 1CT X 750ML</c:v>
                </c:pt>
                <c:pt idx="18">
                  <c:v>CHAMPAGNE NICOLAS ROSE 1E C BS 1CT X 750ML</c:v>
                </c:pt>
                <c:pt idx="19">
                  <c:v>MG CHAMPAGNE NICOLAS 1E CRU BS 1CT X 1500ML</c:v>
                </c:pt>
              </c:strCache>
            </c:strRef>
          </c:cat>
          <c:val>
            <c:numRef>
              <c:f>Sheet1!$C$2:$C$21</c:f>
              <c:numCache>
                <c:formatCode>General</c:formatCode>
                <c:ptCount val="20"/>
                <c:pt idx="0">
                  <c:v>0.710659425188224</c:v>
                </c:pt>
                <c:pt idx="1">
                  <c:v>0.79592550290203024</c:v>
                </c:pt>
                <c:pt idx="2">
                  <c:v>0.8402096299231564</c:v>
                </c:pt>
                <c:pt idx="3">
                  <c:v>0.88185590079485321</c:v>
                </c:pt>
                <c:pt idx="4">
                  <c:v>0.91534385367862436</c:v>
                </c:pt>
                <c:pt idx="5">
                  <c:v>0.92802032586652983</c:v>
                </c:pt>
                <c:pt idx="6">
                  <c:v>0.9399042757356082</c:v>
                </c:pt>
                <c:pt idx="7">
                  <c:v>0.94903382205542985</c:v>
                </c:pt>
                <c:pt idx="8">
                  <c:v>0.95743300466966574</c:v>
                </c:pt>
                <c:pt idx="9">
                  <c:v>0.9656612510974879</c:v>
                </c:pt>
                <c:pt idx="10">
                  <c:v>0.97188488224827696</c:v>
                </c:pt>
                <c:pt idx="11">
                  <c:v>0.9777899505062041</c:v>
                </c:pt>
                <c:pt idx="12">
                  <c:v>0.98367947911082088</c:v>
                </c:pt>
                <c:pt idx="13">
                  <c:v>0.98751777347847358</c:v>
                </c:pt>
                <c:pt idx="14">
                  <c:v>0.99093261229341967</c:v>
                </c:pt>
                <c:pt idx="15">
                  <c:v>0.99421147914190022</c:v>
                </c:pt>
                <c:pt idx="16">
                  <c:v>0.99713681887757077</c:v>
                </c:pt>
                <c:pt idx="17">
                  <c:v>0.99833725709579413</c:v>
                </c:pt>
                <c:pt idx="18">
                  <c:v>0.99940949317420724</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BLC 2002 1CT X 750ML</c:v>
                </c:pt>
                <c:pt idx="15">
                  <c:v>CHAMPAGNE NICOLAS BLC DE NOIRS 1CT X 750ML</c:v>
                </c:pt>
                <c:pt idx="16">
                  <c:v>1/2 CHAMP NICOLAS ROSE 1E C BS 1CT X 375ML</c:v>
                </c:pt>
                <c:pt idx="17">
                  <c:v>CHAMPAGNE NICOLAS 1ERE CUV ETU 1CT X 750ML</c:v>
                </c:pt>
                <c:pt idx="18">
                  <c:v>CHAMPAGNE NICOLAS ROSE 1E C BS 1CT X 750ML</c:v>
                </c:pt>
                <c:pt idx="19">
                  <c:v>MG CHAMPAGNE NICOLAS 1E CRU BS 1CT X 1500ML</c:v>
                </c:pt>
              </c:strCache>
            </c:strRef>
          </c:cat>
          <c:val>
            <c:numRef>
              <c:f>Sheet1!$D$2:$D$21</c:f>
              <c:numCache>
                <c:formatCode>General</c:formatCode>
                <c:ptCount val="20"/>
                <c:pt idx="0">
                  <c:v>1829.28</c:v>
                </c:pt>
                <c:pt idx="1">
                  <c:v>348.38095238095241</c:v>
                </c:pt>
                <c:pt idx="2">
                  <c:v>219.21153846153845</c:v>
                </c:pt>
                <c:pt idx="3">
                  <c:v>167.5</c:v>
                </c:pt>
                <c:pt idx="4">
                  <c:v>175.91836734693877</c:v>
                </c:pt>
                <c:pt idx="5">
                  <c:v>105.25806451612904</c:v>
                </c:pt>
                <c:pt idx="6">
                  <c:v>82.675675675675677</c:v>
                </c:pt>
                <c:pt idx="7">
                  <c:v>57.31707317073171</c:v>
                </c:pt>
                <c:pt idx="8">
                  <c:v>72.066666666666663</c:v>
                </c:pt>
                <c:pt idx="9">
                  <c:v>66.1875</c:v>
                </c:pt>
                <c:pt idx="10">
                  <c:v>59.333333333333336</c:v>
                </c:pt>
                <c:pt idx="11">
                  <c:v>69.090909090909093</c:v>
                </c:pt>
                <c:pt idx="12">
                  <c:v>35.255813953488371</c:v>
                </c:pt>
                <c:pt idx="13">
                  <c:v>49.4</c:v>
                </c:pt>
                <c:pt idx="14">
                  <c:v>43.95</c:v>
                </c:pt>
                <c:pt idx="15">
                  <c:v>49.647058823529413</c:v>
                </c:pt>
                <c:pt idx="16">
                  <c:v>26.892857142857139</c:v>
                </c:pt>
                <c:pt idx="17">
                  <c:v>28.09090909090909</c:v>
                </c:pt>
                <c:pt idx="18">
                  <c:v>34.5</c:v>
                </c:pt>
                <c:pt idx="19">
                  <c:v>3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LC/BLC 2002 1CT X 750ML</c:v>
                </c:pt>
                <c:pt idx="11">
                  <c:v>CHAMPAGNE NICOLAS BIO NAT 2017 1CT X 750ML</c:v>
                </c:pt>
                <c:pt idx="12">
                  <c:v>CHAMPAGNE NICOLAS 1ER CRU ETUI 1CT X 750ML</c:v>
                </c:pt>
                <c:pt idx="13">
                  <c:v>MG CHAMPAGNE NICOLAS BLC/BL BS 1CT X 1500ML</c:v>
                </c:pt>
                <c:pt idx="14">
                  <c:v>CHAMPAGNE NICOLAS BLC DE NOIRS 1CT X 750ML</c:v>
                </c:pt>
                <c:pt idx="15">
                  <c:v>1/2 CHAMP NICOLAS ROSE 1E C BS 1CT X 375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pt idx="21">
                  <c:v>MG CHAMPAGNE NICOLAS BRUT 1CT X 1500ML</c:v>
                </c:pt>
              </c:strCache>
            </c:strRef>
          </c:cat>
          <c:val>
            <c:numRef>
              <c:f>Sheet1!$B$2:$B$23</c:f>
              <c:numCache>
                <c:formatCode>General</c:formatCode>
                <c:ptCount val="22"/>
                <c:pt idx="0">
                  <c:v>1</c:v>
                </c:pt>
                <c:pt idx="1">
                  <c:v>0.67</c:v>
                </c:pt>
                <c:pt idx="2">
                  <c:v>0.9</c:v>
                </c:pt>
                <c:pt idx="3">
                  <c:v>0.68</c:v>
                </c:pt>
                <c:pt idx="4">
                  <c:v>0.61</c:v>
                </c:pt>
                <c:pt idx="5">
                  <c:v>0.52</c:v>
                </c:pt>
                <c:pt idx="6">
                  <c:v>0.34</c:v>
                </c:pt>
                <c:pt idx="7">
                  <c:v>0.38</c:v>
                </c:pt>
                <c:pt idx="8">
                  <c:v>0.3</c:v>
                </c:pt>
                <c:pt idx="9">
                  <c:v>0.65</c:v>
                </c:pt>
                <c:pt idx="10">
                  <c:v>0.22</c:v>
                </c:pt>
                <c:pt idx="11">
                  <c:v>0.28000000000000003</c:v>
                </c:pt>
                <c:pt idx="12">
                  <c:v>0.3</c:v>
                </c:pt>
                <c:pt idx="13">
                  <c:v>0.15</c:v>
                </c:pt>
                <c:pt idx="14">
                  <c:v>0.36</c:v>
                </c:pt>
                <c:pt idx="15">
                  <c:v>0.35</c:v>
                </c:pt>
                <c:pt idx="16">
                  <c:v>0.12</c:v>
                </c:pt>
                <c:pt idx="17">
                  <c:v>0.22</c:v>
                </c:pt>
                <c:pt idx="18">
                  <c:v>0.2</c:v>
                </c:pt>
                <c:pt idx="19">
                  <c:v>0.03</c:v>
                </c:pt>
                <c:pt idx="20">
                  <c:v>0.03</c:v>
                </c:pt>
                <c:pt idx="2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LC/BLC 2002 1CT X 750ML</c:v>
                </c:pt>
                <c:pt idx="11">
                  <c:v>CHAMPAGNE NICOLAS BIO NAT 2017 1CT X 750ML</c:v>
                </c:pt>
                <c:pt idx="12">
                  <c:v>CHAMPAGNE NICOLAS 1ER CRU ETUI 1CT X 750ML</c:v>
                </c:pt>
                <c:pt idx="13">
                  <c:v>MG CHAMPAGNE NICOLAS BLC/BL BS 1CT X 1500ML</c:v>
                </c:pt>
                <c:pt idx="14">
                  <c:v>CHAMPAGNE NICOLAS BLC DE NOIRS 1CT X 750ML</c:v>
                </c:pt>
                <c:pt idx="15">
                  <c:v>1/2 CHAMP NICOLAS ROSE 1E C BS 1CT X 375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pt idx="21">
                  <c:v>MG CHAMPAGNE NICOLAS BRUT 1CT X 1500ML</c:v>
                </c:pt>
              </c:strCache>
            </c:strRef>
          </c:cat>
          <c:val>
            <c:numRef>
              <c:f>Sheet1!$C$2:$C$23</c:f>
              <c:numCache>
                <c:formatCode>General</c:formatCode>
                <c:ptCount val="22"/>
                <c:pt idx="0">
                  <c:v>0.74885876927172645</c:v>
                </c:pt>
                <c:pt idx="1">
                  <c:v>0.8108571562800968</c:v>
                </c:pt>
                <c:pt idx="2">
                  <c:v>0.85826031805689318</c:v>
                </c:pt>
                <c:pt idx="3">
                  <c:v>0.89502243311174268</c:v>
                </c:pt>
                <c:pt idx="4">
                  <c:v>0.91678215999937351</c:v>
                </c:pt>
                <c:pt idx="5">
                  <c:v>0.93175322794077342</c:v>
                </c:pt>
                <c:pt idx="6">
                  <c:v>0.94308331963073455</c:v>
                </c:pt>
                <c:pt idx="7">
                  <c:v>0.95132053902108638</c:v>
                </c:pt>
                <c:pt idx="8">
                  <c:v>0.95892352383860691</c:v>
                </c:pt>
                <c:pt idx="9">
                  <c:v>0.96640122775285209</c:v>
                </c:pt>
                <c:pt idx="10">
                  <c:v>0.9723599007148841</c:v>
                </c:pt>
                <c:pt idx="11">
                  <c:v>0.97811499220909381</c:v>
                </c:pt>
                <c:pt idx="12">
                  <c:v>0.98220228167845092</c:v>
                </c:pt>
                <c:pt idx="13">
                  <c:v>0.98622693069617029</c:v>
                </c:pt>
                <c:pt idx="14">
                  <c:v>0.99025157971388966</c:v>
                </c:pt>
                <c:pt idx="15">
                  <c:v>0.99404132703796788</c:v>
                </c:pt>
                <c:pt idx="16">
                  <c:v>0.99599101109518995</c:v>
                </c:pt>
                <c:pt idx="17">
                  <c:v>0.99783890441850076</c:v>
                </c:pt>
                <c:pt idx="18">
                  <c:v>0.99848096904778672</c:v>
                </c:pt>
                <c:pt idx="19">
                  <c:v>0.99909171345125392</c:v>
                </c:pt>
                <c:pt idx="20">
                  <c:v>0.9996789676853569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LC/BLC 2002 1CT X 750ML</c:v>
                </c:pt>
                <c:pt idx="11">
                  <c:v>CHAMPAGNE NICOLAS BIO NAT 2017 1CT X 750ML</c:v>
                </c:pt>
                <c:pt idx="12">
                  <c:v>CHAMPAGNE NICOLAS 1ER CRU ETUI 1CT X 750ML</c:v>
                </c:pt>
                <c:pt idx="13">
                  <c:v>MG CHAMPAGNE NICOLAS BLC/BL BS 1CT X 1500ML</c:v>
                </c:pt>
                <c:pt idx="14">
                  <c:v>CHAMPAGNE NICOLAS BLC DE NOIRS 1CT X 750ML</c:v>
                </c:pt>
                <c:pt idx="15">
                  <c:v>1/2 CHAMP NICOLAS ROSE 1E C BS 1CT X 375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pt idx="21">
                  <c:v>MG CHAMPAGNE NICOLAS BRUT 1CT X 1500ML</c:v>
                </c:pt>
              </c:strCache>
            </c:strRef>
          </c:cat>
          <c:val>
            <c:numRef>
              <c:f>Sheet1!$D$2:$D$23</c:f>
              <c:numCache>
                <c:formatCode>General</c:formatCode>
                <c:ptCount val="22"/>
                <c:pt idx="0">
                  <c:v>956.39</c:v>
                </c:pt>
                <c:pt idx="1">
                  <c:v>118.17910447761194</c:v>
                </c:pt>
                <c:pt idx="2">
                  <c:v>67.266666666666666</c:v>
                </c:pt>
                <c:pt idx="3">
                  <c:v>69.044117647058826</c:v>
                </c:pt>
                <c:pt idx="4">
                  <c:v>45.557377049180324</c:v>
                </c:pt>
                <c:pt idx="5">
                  <c:v>36.769230769230766</c:v>
                </c:pt>
                <c:pt idx="6">
                  <c:v>42.558823529411768</c:v>
                </c:pt>
                <c:pt idx="7">
                  <c:v>27.684210526315791</c:v>
                </c:pt>
                <c:pt idx="8">
                  <c:v>32.366666666666667</c:v>
                </c:pt>
                <c:pt idx="9">
                  <c:v>14.692307692307692</c:v>
                </c:pt>
                <c:pt idx="10">
                  <c:v>34.590909090909093</c:v>
                </c:pt>
                <c:pt idx="11">
                  <c:v>26.249999999999996</c:v>
                </c:pt>
                <c:pt idx="12">
                  <c:v>17.399999999999999</c:v>
                </c:pt>
                <c:pt idx="13">
                  <c:v>34.266666666666666</c:v>
                </c:pt>
                <c:pt idx="14">
                  <c:v>14.277777777777779</c:v>
                </c:pt>
                <c:pt idx="15">
                  <c:v>13.828571428571429</c:v>
                </c:pt>
                <c:pt idx="16">
                  <c:v>20.75</c:v>
                </c:pt>
                <c:pt idx="17">
                  <c:v>10.727272727272727</c:v>
                </c:pt>
                <c:pt idx="18">
                  <c:v>4.0999999999999996</c:v>
                </c:pt>
                <c:pt idx="19">
                  <c:v>26</c:v>
                </c:pt>
                <c:pt idx="20">
                  <c:v>25</c:v>
                </c:pt>
                <c:pt idx="21">
                  <c:v>5.8571428571428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Malard</c:v>
                </c:pt>
                <c:pt idx="5">
                  <c:v>Dom Perignon</c:v>
                </c:pt>
                <c:pt idx="6">
                  <c:v>Nicolas Feuillatte</c:v>
                </c:pt>
                <c:pt idx="7">
                  <c:v>Heidsieck &amp; Co Monopole</c:v>
                </c:pt>
                <c:pt idx="8">
                  <c:v>Roederer</c:v>
                </c:pt>
                <c:pt idx="9">
                  <c:v>Others</c:v>
                </c:pt>
              </c:strCache>
            </c:strRef>
          </c:cat>
          <c:val>
            <c:numRef>
              <c:f>Sheet1!$B$2:$B$11</c:f>
              <c:numCache>
                <c:formatCode>General</c:formatCode>
                <c:ptCount val="10"/>
                <c:pt idx="0">
                  <c:v>0.28047221933767297</c:v>
                </c:pt>
                <c:pt idx="1">
                  <c:v>7.1661197833835247E-2</c:v>
                </c:pt>
                <c:pt idx="2">
                  <c:v>6.9150140924994538E-2</c:v>
                </c:pt>
                <c:pt idx="3">
                  <c:v>4.0373150742728278E-2</c:v>
                </c:pt>
                <c:pt idx="4">
                  <c:v>3.2191569684486637E-2</c:v>
                </c:pt>
                <c:pt idx="5">
                  <c:v>2.8446652510116591E-2</c:v>
                </c:pt>
                <c:pt idx="6">
                  <c:v>2.803209508491886E-2</c:v>
                </c:pt>
                <c:pt idx="7">
                  <c:v>2.7674774385093595E-2</c:v>
                </c:pt>
                <c:pt idx="8">
                  <c:v>2.7223421922156418E-2</c:v>
                </c:pt>
                <c:pt idx="9">
                  <c:v>0.3947747775739968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Malard</c:v>
                </c:pt>
                <c:pt idx="5">
                  <c:v>Dom Perignon</c:v>
                </c:pt>
                <c:pt idx="6">
                  <c:v>Nicolas Feuillatte</c:v>
                </c:pt>
                <c:pt idx="7">
                  <c:v>Heidsieck &amp; Co Monopole</c:v>
                </c:pt>
                <c:pt idx="8">
                  <c:v>Roederer</c:v>
                </c:pt>
                <c:pt idx="9">
                  <c:v>Others</c:v>
                </c:pt>
              </c:strCache>
            </c:strRef>
          </c:cat>
          <c:val>
            <c:numRef>
              <c:f>Sheet1!$C$2:$C$11</c:f>
              <c:numCache>
                <c:formatCode>General</c:formatCode>
                <c:ptCount val="10"/>
                <c:pt idx="0">
                  <c:v>9.1092645802593727E-2</c:v>
                </c:pt>
                <c:pt idx="1">
                  <c:v>4.2323522559602381E-2</c:v>
                </c:pt>
                <c:pt idx="2">
                  <c:v>7.0125029121689789E-2</c:v>
                </c:pt>
                <c:pt idx="3">
                  <c:v>4.022676089151199E-2</c:v>
                </c:pt>
                <c:pt idx="4">
                  <c:v>3.556729051797778E-2</c:v>
                </c:pt>
                <c:pt idx="5">
                  <c:v>2.0812301001786122E-2</c:v>
                </c:pt>
                <c:pt idx="6">
                  <c:v>2.4695192979731301E-2</c:v>
                </c:pt>
                <c:pt idx="7">
                  <c:v>7.7657839558903444E-3</c:v>
                </c:pt>
                <c:pt idx="8">
                  <c:v>5.6146618001087202E-2</c:v>
                </c:pt>
                <c:pt idx="9">
                  <c:v>0.6112448551681289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Malard</c:v>
                </c:pt>
                <c:pt idx="5">
                  <c:v>Dom Perignon</c:v>
                </c:pt>
                <c:pt idx="6">
                  <c:v>Nicolas Feuillatte</c:v>
                </c:pt>
                <c:pt idx="7">
                  <c:v>Heidsieck &amp; Co Monopole</c:v>
                </c:pt>
                <c:pt idx="8">
                  <c:v>Roederer</c:v>
                </c:pt>
                <c:pt idx="9">
                  <c:v>Others</c:v>
                </c:pt>
              </c:strCache>
            </c:strRef>
          </c:cat>
          <c:val>
            <c:numRef>
              <c:f>Sheet1!$D$2:$D$11</c:f>
              <c:numCache>
                <c:formatCode>General</c:formatCode>
                <c:ptCount val="10"/>
                <c:pt idx="0">
                  <c:v>32.478313188274541</c:v>
                </c:pt>
                <c:pt idx="1">
                  <c:v>59.060584861754975</c:v>
                </c:pt>
                <c:pt idx="2">
                  <c:v>101.409813752589</c:v>
                </c:pt>
                <c:pt idx="3">
                  <c:v>99.637407909654769</c:v>
                </c:pt>
                <c:pt idx="4">
                  <c:v>110.48635051529634</c:v>
                </c:pt>
                <c:pt idx="5">
                  <c:v>73.162566296278854</c:v>
                </c:pt>
                <c:pt idx="6">
                  <c:v>88.096137320171991</c:v>
                </c:pt>
                <c:pt idx="7">
                  <c:v>28.060875394428553</c:v>
                </c:pt>
                <c:pt idx="8">
                  <c:v>206.24379316323552</c:v>
                </c:pt>
                <c:pt idx="9">
                  <c:v>154.833816619289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B$2:$B$4</c:f>
              <c:numCache>
                <c:formatCode>General</c:formatCode>
                <c:ptCount val="3"/>
                <c:pt idx="0">
                  <c:v>0.45213065515299417</c:v>
                </c:pt>
                <c:pt idx="1">
                  <c:v>0.34559789750328518</c:v>
                </c:pt>
                <c:pt idx="2">
                  <c:v>0.202271447343720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C$2:$C$4</c:f>
              <c:numCache>
                <c:formatCode>General</c:formatCode>
                <c:ptCount val="3"/>
                <c:pt idx="0">
                  <c:v>0.28104575163398698</c:v>
                </c:pt>
                <c:pt idx="1">
                  <c:v>0.2908496732026144</c:v>
                </c:pt>
                <c:pt idx="2">
                  <c:v>0.428104575163398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 Chanceny</c:v>
                </c:pt>
                <c:pt idx="1">
                  <c:v>Lyre's</c:v>
                </c:pt>
                <c:pt idx="2">
                  <c:v>Others</c:v>
                </c:pt>
              </c:strCache>
            </c:strRef>
          </c:cat>
          <c:val>
            <c:numRef>
              <c:f>Sheet1!$D$2:$D$4</c:f>
              <c:numCache>
                <c:formatCode>General</c:formatCode>
                <c:ptCount val="3"/>
                <c:pt idx="0">
                  <c:v>62.160295576261106</c:v>
                </c:pt>
                <c:pt idx="1">
                  <c:v>84.158403538855339</c:v>
                </c:pt>
                <c:pt idx="2">
                  <c:v>211.64854495549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CHAMPAGNE NICOLAS BLC/BLC 2002 1CT X 750ML</c:v>
                </c:pt>
                <c:pt idx="10">
                  <c:v>1/2 CHAMP NICOLAS ROSE 1E C BS 1CT X 375ML</c:v>
                </c:pt>
                <c:pt idx="11">
                  <c:v>CHAMPAGNE NICOLAS BIO NAT 2017 1CT X 750ML</c:v>
                </c:pt>
                <c:pt idx="12">
                  <c:v>CHAMPAGNE NICOLAS 1ERE CUV ETU 1CT X 750ML</c:v>
                </c:pt>
                <c:pt idx="13">
                  <c:v>CHAMPAGNE NICOLAS 1ER CRU BS 1CT X 750ML</c:v>
                </c:pt>
                <c:pt idx="14">
                  <c:v>MG CHAMPAGNE NICOLAS 1ERE CUVE 1CT X 1500ML</c:v>
                </c:pt>
                <c:pt idx="15">
                  <c:v>CHAMPAGNE NICOLAS ROSE 1ERE ET 1CT X 750ML</c:v>
                </c:pt>
                <c:pt idx="16">
                  <c:v>CHAMPAGNE NICOLAS BLC DE NOIRS 1CT X 750ML</c:v>
                </c:pt>
                <c:pt idx="17">
                  <c:v>CHAMPAGNE NICOLAS 1ER CRU ETUI 1CT X 750ML</c:v>
                </c:pt>
                <c:pt idx="18">
                  <c:v>CHAMPAGNE NICOLAS ROSE 1E C BS 1CT X 750ML</c:v>
                </c:pt>
              </c:strCache>
            </c:strRef>
          </c:cat>
          <c:val>
            <c:numRef>
              <c:f>Sheet1!$B$2:$B$20</c:f>
              <c:numCache>
                <c:formatCode>General</c:formatCode>
                <c:ptCount val="19"/>
                <c:pt idx="0">
                  <c:v>1</c:v>
                </c:pt>
                <c:pt idx="1">
                  <c:v>0.87</c:v>
                </c:pt>
                <c:pt idx="2">
                  <c:v>0.84</c:v>
                </c:pt>
                <c:pt idx="3">
                  <c:v>0.63</c:v>
                </c:pt>
                <c:pt idx="4">
                  <c:v>0.54</c:v>
                </c:pt>
                <c:pt idx="5">
                  <c:v>0.62</c:v>
                </c:pt>
                <c:pt idx="6">
                  <c:v>0.47</c:v>
                </c:pt>
                <c:pt idx="7">
                  <c:v>0.62</c:v>
                </c:pt>
                <c:pt idx="8">
                  <c:v>0.41</c:v>
                </c:pt>
                <c:pt idx="9">
                  <c:v>0.34</c:v>
                </c:pt>
                <c:pt idx="10">
                  <c:v>0.49</c:v>
                </c:pt>
                <c:pt idx="11">
                  <c:v>0.33</c:v>
                </c:pt>
                <c:pt idx="12">
                  <c:v>0.19</c:v>
                </c:pt>
                <c:pt idx="13">
                  <c:v>0.62</c:v>
                </c:pt>
                <c:pt idx="14">
                  <c:v>0.36</c:v>
                </c:pt>
                <c:pt idx="15">
                  <c:v>0.28000000000000003</c:v>
                </c:pt>
                <c:pt idx="16">
                  <c:v>0.08</c:v>
                </c:pt>
                <c:pt idx="17">
                  <c:v>0.17</c:v>
                </c:pt>
                <c:pt idx="18">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CHAMPAGNE NICOLAS BLC/BLC 2002 1CT X 750ML</c:v>
                </c:pt>
                <c:pt idx="10">
                  <c:v>1/2 CHAMP NICOLAS ROSE 1E C BS 1CT X 375ML</c:v>
                </c:pt>
                <c:pt idx="11">
                  <c:v>CHAMPAGNE NICOLAS BIO NAT 2017 1CT X 750ML</c:v>
                </c:pt>
                <c:pt idx="12">
                  <c:v>CHAMPAGNE NICOLAS 1ERE CUV ETU 1CT X 750ML</c:v>
                </c:pt>
                <c:pt idx="13">
                  <c:v>CHAMPAGNE NICOLAS 1ER CRU BS 1CT X 750ML</c:v>
                </c:pt>
                <c:pt idx="14">
                  <c:v>MG CHAMPAGNE NICOLAS 1ERE CUVE 1CT X 1500ML</c:v>
                </c:pt>
                <c:pt idx="15">
                  <c:v>CHAMPAGNE NICOLAS ROSE 1ERE ET 1CT X 750ML</c:v>
                </c:pt>
                <c:pt idx="16">
                  <c:v>CHAMPAGNE NICOLAS BLC DE NOIRS 1CT X 750ML</c:v>
                </c:pt>
                <c:pt idx="17">
                  <c:v>CHAMPAGNE NICOLAS 1ER CRU ETUI 1CT X 750ML</c:v>
                </c:pt>
                <c:pt idx="18">
                  <c:v>CHAMPAGNE NICOLAS ROSE 1E C BS 1CT X 750ML</c:v>
                </c:pt>
              </c:strCache>
            </c:strRef>
          </c:cat>
          <c:val>
            <c:numRef>
              <c:f>Sheet1!$C$2:$C$20</c:f>
              <c:numCache>
                <c:formatCode>General</c:formatCode>
                <c:ptCount val="19"/>
                <c:pt idx="0">
                  <c:v>0.66382878089156916</c:v>
                </c:pt>
                <c:pt idx="1">
                  <c:v>0.75866146387607902</c:v>
                </c:pt>
                <c:pt idx="2">
                  <c:v>0.82185172046825117</c:v>
                </c:pt>
                <c:pt idx="3">
                  <c:v>0.84826770722478417</c:v>
                </c:pt>
                <c:pt idx="4">
                  <c:v>0.87335934728627174</c:v>
                </c:pt>
                <c:pt idx="5">
                  <c:v>0.89252690079224317</c:v>
                </c:pt>
                <c:pt idx="6">
                  <c:v>0.91040558117535775</c:v>
                </c:pt>
                <c:pt idx="7">
                  <c:v>0.92752749201844631</c:v>
                </c:pt>
                <c:pt idx="8">
                  <c:v>0.94139765874423564</c:v>
                </c:pt>
                <c:pt idx="9">
                  <c:v>0.94979307082889919</c:v>
                </c:pt>
                <c:pt idx="10">
                  <c:v>0.95810571124512245</c:v>
                </c:pt>
                <c:pt idx="11">
                  <c:v>0.96573252926569708</c:v>
                </c:pt>
                <c:pt idx="12">
                  <c:v>0.97335934728627171</c:v>
                </c:pt>
                <c:pt idx="13">
                  <c:v>0.98069055220527368</c:v>
                </c:pt>
                <c:pt idx="14">
                  <c:v>0.98785621378739497</c:v>
                </c:pt>
                <c:pt idx="15">
                  <c:v>0.9946434905995033</c:v>
                </c:pt>
                <c:pt idx="16">
                  <c:v>0.99720941232115401</c:v>
                </c:pt>
                <c:pt idx="17">
                  <c:v>0.99868747782901734</c:v>
                </c:pt>
                <c:pt idx="1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CHAMPAGNE NICOLAS BLC/BLC 2002 1CT X 750ML</c:v>
                </c:pt>
                <c:pt idx="10">
                  <c:v>1/2 CHAMP NICOLAS ROSE 1E C BS 1CT X 375ML</c:v>
                </c:pt>
                <c:pt idx="11">
                  <c:v>CHAMPAGNE NICOLAS BIO NAT 2017 1CT X 750ML</c:v>
                </c:pt>
                <c:pt idx="12">
                  <c:v>CHAMPAGNE NICOLAS 1ERE CUV ETU 1CT X 750ML</c:v>
                </c:pt>
                <c:pt idx="13">
                  <c:v>CHAMPAGNE NICOLAS 1ER CRU BS 1CT X 750ML</c:v>
                </c:pt>
                <c:pt idx="14">
                  <c:v>MG CHAMPAGNE NICOLAS 1ERE CUVE 1CT X 1500ML</c:v>
                </c:pt>
                <c:pt idx="15">
                  <c:v>CHAMPAGNE NICOLAS ROSE 1ERE ET 1CT X 750ML</c:v>
                </c:pt>
                <c:pt idx="16">
                  <c:v>CHAMPAGNE NICOLAS BLC DE NOIRS 1CT X 750ML</c:v>
                </c:pt>
                <c:pt idx="17">
                  <c:v>CHAMPAGNE NICOLAS 1ER CRU ETUI 1CT X 750ML</c:v>
                </c:pt>
                <c:pt idx="18">
                  <c:v>CHAMPAGNE NICOLAS ROSE 1E C BS 1CT X 750ML</c:v>
                </c:pt>
              </c:strCache>
            </c:strRef>
          </c:cat>
          <c:val>
            <c:numRef>
              <c:f>Sheet1!$D$2:$D$20</c:f>
              <c:numCache>
                <c:formatCode>General</c:formatCode>
                <c:ptCount val="19"/>
                <c:pt idx="0">
                  <c:v>561.4</c:v>
                </c:pt>
                <c:pt idx="1">
                  <c:v>92.183908045977006</c:v>
                </c:pt>
                <c:pt idx="2">
                  <c:v>63.61904761904762</c:v>
                </c:pt>
                <c:pt idx="3">
                  <c:v>35.460317460317462</c:v>
                </c:pt>
                <c:pt idx="4">
                  <c:v>39.296296296296298</c:v>
                </c:pt>
                <c:pt idx="5">
                  <c:v>26.14516129032258</c:v>
                </c:pt>
                <c:pt idx="6">
                  <c:v>32.170212765957444</c:v>
                </c:pt>
                <c:pt idx="7">
                  <c:v>23.35483870967742</c:v>
                </c:pt>
                <c:pt idx="8">
                  <c:v>28.609756097560975</c:v>
                </c:pt>
                <c:pt idx="9">
                  <c:v>20.882352941176471</c:v>
                </c:pt>
                <c:pt idx="10">
                  <c:v>14.346938775510203</c:v>
                </c:pt>
                <c:pt idx="11">
                  <c:v>19.545454545454547</c:v>
                </c:pt>
                <c:pt idx="12">
                  <c:v>33.94736842105263</c:v>
                </c:pt>
                <c:pt idx="13">
                  <c:v>10</c:v>
                </c:pt>
                <c:pt idx="14">
                  <c:v>16.833333333333332</c:v>
                </c:pt>
                <c:pt idx="15">
                  <c:v>20.499999999999996</c:v>
                </c:pt>
                <c:pt idx="16">
                  <c:v>27.125</c:v>
                </c:pt>
                <c:pt idx="17">
                  <c:v>7.3529411764705879</c:v>
                </c:pt>
                <c:pt idx="18">
                  <c:v>6.5294117647058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BLC/BLC 2002 1CT X 750ML</c:v>
                </c:pt>
                <c:pt idx="12">
                  <c:v>CHAMPAGNE NICOLAS ROSE 1ERE CU 1CT X 750ML</c:v>
                </c:pt>
                <c:pt idx="13">
                  <c:v>CHAMPAGNE NICOLAS BLC DE NOIRS 1CT X 750ML</c:v>
                </c:pt>
                <c:pt idx="14">
                  <c:v>MG CHAMPAGNE NICOLAS 1ERE CUVE 1CT X 1500ML</c:v>
                </c:pt>
                <c:pt idx="15">
                  <c:v>CHAMPAGNE NICOLAS ROSE 1ERE ET 1CT X 750ML</c:v>
                </c:pt>
                <c:pt idx="16">
                  <c:v>CHAMPAGNE NICOLAS 1ER CRU ETUI 1CT X 750ML</c:v>
                </c:pt>
                <c:pt idx="17">
                  <c:v>CHAMPAGNE NICOLAS ROSE 1E C BS 1CT X 750ML</c:v>
                </c:pt>
                <c:pt idx="18">
                  <c:v>CHAMPAGNE NICOLAS 1ERE CUV ETU 1CT X 750ML</c:v>
                </c:pt>
                <c:pt idx="19">
                  <c:v>CHAMPAGNE NICOLAS BLC/BL BS ET 1CT X 750ML</c:v>
                </c:pt>
                <c:pt idx="20">
                  <c:v>MG CHAMPAGNE NICOLAS 1E CRU BS 1CT X 1500ML</c:v>
                </c:pt>
              </c:strCache>
            </c:strRef>
          </c:cat>
          <c:val>
            <c:numRef>
              <c:f>Sheet1!$B$2:$B$22</c:f>
              <c:numCache>
                <c:formatCode>General</c:formatCode>
                <c:ptCount val="21"/>
                <c:pt idx="0">
                  <c:v>1</c:v>
                </c:pt>
                <c:pt idx="1">
                  <c:v>0.55000000000000004</c:v>
                </c:pt>
                <c:pt idx="2">
                  <c:v>0.75</c:v>
                </c:pt>
                <c:pt idx="3">
                  <c:v>0.75</c:v>
                </c:pt>
                <c:pt idx="4">
                  <c:v>0.46</c:v>
                </c:pt>
                <c:pt idx="5">
                  <c:v>0.61</c:v>
                </c:pt>
                <c:pt idx="6">
                  <c:v>0.4</c:v>
                </c:pt>
                <c:pt idx="7">
                  <c:v>0.35</c:v>
                </c:pt>
                <c:pt idx="8">
                  <c:v>0.56000000000000005</c:v>
                </c:pt>
                <c:pt idx="9">
                  <c:v>0.3</c:v>
                </c:pt>
                <c:pt idx="10">
                  <c:v>0.28000000000000003</c:v>
                </c:pt>
                <c:pt idx="11">
                  <c:v>0.11</c:v>
                </c:pt>
                <c:pt idx="12">
                  <c:v>0.36</c:v>
                </c:pt>
                <c:pt idx="13">
                  <c:v>0.2</c:v>
                </c:pt>
                <c:pt idx="14">
                  <c:v>0.21</c:v>
                </c:pt>
                <c:pt idx="15">
                  <c:v>0.18</c:v>
                </c:pt>
                <c:pt idx="16">
                  <c:v>7.0000000000000007E-2</c:v>
                </c:pt>
                <c:pt idx="17">
                  <c:v>0.24</c:v>
                </c:pt>
                <c:pt idx="18">
                  <c:v>0.12</c:v>
                </c:pt>
                <c:pt idx="19">
                  <c:v>0.13</c:v>
                </c:pt>
                <c:pt idx="20">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BLC/BLC 2002 1CT X 750ML</c:v>
                </c:pt>
                <c:pt idx="12">
                  <c:v>CHAMPAGNE NICOLAS ROSE 1ERE CU 1CT X 750ML</c:v>
                </c:pt>
                <c:pt idx="13">
                  <c:v>CHAMPAGNE NICOLAS BLC DE NOIRS 1CT X 750ML</c:v>
                </c:pt>
                <c:pt idx="14">
                  <c:v>MG CHAMPAGNE NICOLAS 1ERE CUVE 1CT X 1500ML</c:v>
                </c:pt>
                <c:pt idx="15">
                  <c:v>CHAMPAGNE NICOLAS ROSE 1ERE ET 1CT X 750ML</c:v>
                </c:pt>
                <c:pt idx="16">
                  <c:v>CHAMPAGNE NICOLAS 1ER CRU ETUI 1CT X 750ML</c:v>
                </c:pt>
                <c:pt idx="17">
                  <c:v>CHAMPAGNE NICOLAS ROSE 1E C BS 1CT X 750ML</c:v>
                </c:pt>
                <c:pt idx="18">
                  <c:v>CHAMPAGNE NICOLAS 1ERE CUV ETU 1CT X 750ML</c:v>
                </c:pt>
                <c:pt idx="19">
                  <c:v>CHAMPAGNE NICOLAS BLC/BL BS ET 1CT X 750ML</c:v>
                </c:pt>
                <c:pt idx="20">
                  <c:v>MG CHAMPAGNE NICOLAS 1E CRU BS 1CT X 1500ML</c:v>
                </c:pt>
              </c:strCache>
            </c:strRef>
          </c:cat>
          <c:val>
            <c:numRef>
              <c:f>Sheet1!$C$2:$C$22</c:f>
              <c:numCache>
                <c:formatCode>General</c:formatCode>
                <c:ptCount val="21"/>
                <c:pt idx="0">
                  <c:v>0.73095969131211425</c:v>
                </c:pt>
                <c:pt idx="1">
                  <c:v>0.79009732313697079</c:v>
                </c:pt>
                <c:pt idx="2">
                  <c:v>0.83392134052927014</c:v>
                </c:pt>
                <c:pt idx="3">
                  <c:v>0.86981838523688748</c:v>
                </c:pt>
                <c:pt idx="4">
                  <c:v>0.898761052946075</c:v>
                </c:pt>
                <c:pt idx="5">
                  <c:v>0.91283508464125207</c:v>
                </c:pt>
                <c:pt idx="6">
                  <c:v>0.92648956525608506</c:v>
                </c:pt>
                <c:pt idx="7">
                  <c:v>0.9369783422646859</c:v>
                </c:pt>
                <c:pt idx="8">
                  <c:v>0.94663437394714933</c:v>
                </c:pt>
                <c:pt idx="9">
                  <c:v>0.95599799124028206</c:v>
                </c:pt>
                <c:pt idx="10">
                  <c:v>0.96406481428507873</c:v>
                </c:pt>
                <c:pt idx="11">
                  <c:v>0.97019280279192188</c:v>
                </c:pt>
                <c:pt idx="12">
                  <c:v>0.9760220200748837</c:v>
                </c:pt>
                <c:pt idx="13">
                  <c:v>0.98134269059379209</c:v>
                </c:pt>
                <c:pt idx="14">
                  <c:v>0.98615481434864716</c:v>
                </c:pt>
                <c:pt idx="15">
                  <c:v>0.99028675680658085</c:v>
                </c:pt>
                <c:pt idx="16">
                  <c:v>0.9930456230015704</c:v>
                </c:pt>
                <c:pt idx="17">
                  <c:v>0.99511795106508794</c:v>
                </c:pt>
                <c:pt idx="18">
                  <c:v>0.99707585610669347</c:v>
                </c:pt>
                <c:pt idx="19">
                  <c:v>0.99855064172244823</c:v>
                </c:pt>
                <c:pt idx="20">
                  <c:v>1.0000000000000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BLC/BLC 2002 1CT X 750ML</c:v>
                </c:pt>
                <c:pt idx="12">
                  <c:v>CHAMPAGNE NICOLAS ROSE 1ERE CU 1CT X 750ML</c:v>
                </c:pt>
                <c:pt idx="13">
                  <c:v>CHAMPAGNE NICOLAS BLC DE NOIRS 1CT X 750ML</c:v>
                </c:pt>
                <c:pt idx="14">
                  <c:v>MG CHAMPAGNE NICOLAS 1ERE CUVE 1CT X 1500ML</c:v>
                </c:pt>
                <c:pt idx="15">
                  <c:v>CHAMPAGNE NICOLAS ROSE 1ERE ET 1CT X 750ML</c:v>
                </c:pt>
                <c:pt idx="16">
                  <c:v>CHAMPAGNE NICOLAS 1ER CRU ETUI 1CT X 750ML</c:v>
                </c:pt>
                <c:pt idx="17">
                  <c:v>CHAMPAGNE NICOLAS ROSE 1E C BS 1CT X 750ML</c:v>
                </c:pt>
                <c:pt idx="18">
                  <c:v>CHAMPAGNE NICOLAS 1ERE CUV ETU 1CT X 750ML</c:v>
                </c:pt>
                <c:pt idx="19">
                  <c:v>CHAMPAGNE NICOLAS BLC/BL BS ET 1CT X 750ML</c:v>
                </c:pt>
                <c:pt idx="20">
                  <c:v>MG CHAMPAGNE NICOLAS 1E CRU BS 1CT X 1500ML</c:v>
                </c:pt>
              </c:strCache>
            </c:strRef>
          </c:cat>
          <c:val>
            <c:numRef>
              <c:f>Sheet1!$D$2:$D$22</c:f>
              <c:numCache>
                <c:formatCode>General</c:formatCode>
                <c:ptCount val="21"/>
                <c:pt idx="0">
                  <c:v>1149.8800000000001</c:v>
                </c:pt>
                <c:pt idx="1">
                  <c:v>169.14545454545453</c:v>
                </c:pt>
                <c:pt idx="2">
                  <c:v>91.92</c:v>
                </c:pt>
                <c:pt idx="3">
                  <c:v>75.293333333333337</c:v>
                </c:pt>
                <c:pt idx="4">
                  <c:v>98.978260869565219</c:v>
                </c:pt>
                <c:pt idx="5">
                  <c:v>36.295081967213115</c:v>
                </c:pt>
                <c:pt idx="6">
                  <c:v>53.7</c:v>
                </c:pt>
                <c:pt idx="7">
                  <c:v>47.142857142857146</c:v>
                </c:pt>
                <c:pt idx="8">
                  <c:v>27.124999999999996</c:v>
                </c:pt>
                <c:pt idx="9">
                  <c:v>49.1</c:v>
                </c:pt>
                <c:pt idx="10">
                  <c:v>45.321428571428562</c:v>
                </c:pt>
                <c:pt idx="11">
                  <c:v>87.63636363636364</c:v>
                </c:pt>
                <c:pt idx="12">
                  <c:v>25.472222222222221</c:v>
                </c:pt>
                <c:pt idx="13">
                  <c:v>41.85</c:v>
                </c:pt>
                <c:pt idx="14">
                  <c:v>36.047619047619051</c:v>
                </c:pt>
                <c:pt idx="15">
                  <c:v>36.111111111111114</c:v>
                </c:pt>
                <c:pt idx="16">
                  <c:v>61.999999999999993</c:v>
                </c:pt>
                <c:pt idx="17">
                  <c:v>13.583333333333334</c:v>
                </c:pt>
                <c:pt idx="18">
                  <c:v>25.666666666666668</c:v>
                </c:pt>
                <c:pt idx="19">
                  <c:v>17.846153846153847</c:v>
                </c:pt>
                <c:pt idx="20">
                  <c:v>32.57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BLC/BLC 2002 1CT X 750ML</c:v>
                </c:pt>
                <c:pt idx="13">
                  <c:v>CHAMPAGNE NICOLAS ROSE 1ERE CU 1CT X 750ML</c:v>
                </c:pt>
                <c:pt idx="14">
                  <c:v>CHAMPAGNE NICOLAS ROSE 1ERE ET 1CT X 750ML</c:v>
                </c:pt>
                <c:pt idx="15">
                  <c:v>CHAMPAGNE NICOLAS BLC DE NOIRS 1CT X 750ML</c:v>
                </c:pt>
                <c:pt idx="16">
                  <c:v>CHAMPAGNE NICOLAS 1ERE CUV ETU 1CT X 750ML</c:v>
                </c:pt>
                <c:pt idx="17">
                  <c:v>CHAMPAGNE NICOLAS 1ER CRU ETUI 1CT X 750ML</c:v>
                </c:pt>
                <c:pt idx="18">
                  <c:v>CHAMPAGNE NICOLAS BLC/BL BS ET 1CT X 750ML</c:v>
                </c:pt>
                <c:pt idx="19">
                  <c:v>CHAMPAGNE NICOLAS ROSE 1E C BS 1CT X 750ML</c:v>
                </c:pt>
                <c:pt idx="20">
                  <c:v>MG CHAMPAGNE NICOLAS 1E CRU BS 1CT X 1500ML</c:v>
                </c:pt>
                <c:pt idx="21">
                  <c:v>1/2 CHAMPAGNE NICOLAS 1E C BS 1CT X 375ML</c:v>
                </c:pt>
              </c:strCache>
            </c:strRef>
          </c:cat>
          <c:val>
            <c:numRef>
              <c:f>Sheet1!$B$2:$B$23</c:f>
              <c:numCache>
                <c:formatCode>General</c:formatCode>
                <c:ptCount val="22"/>
                <c:pt idx="0">
                  <c:v>1</c:v>
                </c:pt>
                <c:pt idx="1">
                  <c:v>0.65</c:v>
                </c:pt>
                <c:pt idx="2">
                  <c:v>0.71</c:v>
                </c:pt>
                <c:pt idx="3">
                  <c:v>0.87</c:v>
                </c:pt>
                <c:pt idx="4">
                  <c:v>0.4</c:v>
                </c:pt>
                <c:pt idx="5">
                  <c:v>0.45</c:v>
                </c:pt>
                <c:pt idx="6">
                  <c:v>0.35</c:v>
                </c:pt>
                <c:pt idx="7">
                  <c:v>0.43</c:v>
                </c:pt>
                <c:pt idx="8">
                  <c:v>0.28000000000000003</c:v>
                </c:pt>
                <c:pt idx="9">
                  <c:v>0.28000000000000003</c:v>
                </c:pt>
                <c:pt idx="10">
                  <c:v>0.3</c:v>
                </c:pt>
                <c:pt idx="11">
                  <c:v>0.34</c:v>
                </c:pt>
                <c:pt idx="12">
                  <c:v>0.17</c:v>
                </c:pt>
                <c:pt idx="13">
                  <c:v>0.19</c:v>
                </c:pt>
                <c:pt idx="14">
                  <c:v>0.27</c:v>
                </c:pt>
                <c:pt idx="15">
                  <c:v>0.17</c:v>
                </c:pt>
                <c:pt idx="16">
                  <c:v>0.1</c:v>
                </c:pt>
                <c:pt idx="17">
                  <c:v>0.15</c:v>
                </c:pt>
                <c:pt idx="18">
                  <c:v>7.0000000000000007E-2</c:v>
                </c:pt>
                <c:pt idx="19">
                  <c:v>0.12</c:v>
                </c:pt>
                <c:pt idx="20">
                  <c:v>0.11</c:v>
                </c:pt>
                <c:pt idx="21">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BLC/BLC 2002 1CT X 750ML</c:v>
                </c:pt>
                <c:pt idx="13">
                  <c:v>CHAMPAGNE NICOLAS ROSE 1ERE CU 1CT X 750ML</c:v>
                </c:pt>
                <c:pt idx="14">
                  <c:v>CHAMPAGNE NICOLAS ROSE 1ERE ET 1CT X 750ML</c:v>
                </c:pt>
                <c:pt idx="15">
                  <c:v>CHAMPAGNE NICOLAS BLC DE NOIRS 1CT X 750ML</c:v>
                </c:pt>
                <c:pt idx="16">
                  <c:v>CHAMPAGNE NICOLAS 1ERE CUV ETU 1CT X 750ML</c:v>
                </c:pt>
                <c:pt idx="17">
                  <c:v>CHAMPAGNE NICOLAS 1ER CRU ETUI 1CT X 750ML</c:v>
                </c:pt>
                <c:pt idx="18">
                  <c:v>CHAMPAGNE NICOLAS BLC/BL BS ET 1CT X 750ML</c:v>
                </c:pt>
                <c:pt idx="19">
                  <c:v>CHAMPAGNE NICOLAS ROSE 1E C BS 1CT X 750ML</c:v>
                </c:pt>
                <c:pt idx="20">
                  <c:v>MG CHAMPAGNE NICOLAS 1E CRU BS 1CT X 1500ML</c:v>
                </c:pt>
                <c:pt idx="21">
                  <c:v>1/2 CHAMPAGNE NICOLAS 1E C BS 1CT X 375ML</c:v>
                </c:pt>
              </c:strCache>
            </c:strRef>
          </c:cat>
          <c:val>
            <c:numRef>
              <c:f>Sheet1!$C$2:$C$23</c:f>
              <c:numCache>
                <c:formatCode>General</c:formatCode>
                <c:ptCount val="22"/>
                <c:pt idx="0">
                  <c:v>0.68742405648686067</c:v>
                </c:pt>
                <c:pt idx="1">
                  <c:v>0.78091392161722661</c:v>
                </c:pt>
                <c:pt idx="2">
                  <c:v>0.83303006305200733</c:v>
                </c:pt>
                <c:pt idx="3">
                  <c:v>0.8810475217478041</c:v>
                </c:pt>
                <c:pt idx="4">
                  <c:v>0.8981676832770118</c:v>
                </c:pt>
                <c:pt idx="5">
                  <c:v>0.91510044190812434</c:v>
                </c:pt>
                <c:pt idx="6">
                  <c:v>0.92930074537991414</c:v>
                </c:pt>
                <c:pt idx="7">
                  <c:v>0.94334991748227237</c:v>
                </c:pt>
                <c:pt idx="8">
                  <c:v>0.95173468585833554</c:v>
                </c:pt>
                <c:pt idx="9">
                  <c:v>0.95892249378850081</c:v>
                </c:pt>
                <c:pt idx="10">
                  <c:v>0.96533650910717639</c:v>
                </c:pt>
                <c:pt idx="11">
                  <c:v>0.97168402662330211</c:v>
                </c:pt>
                <c:pt idx="12">
                  <c:v>0.97764464783368299</c:v>
                </c:pt>
                <c:pt idx="13">
                  <c:v>0.98339368512685976</c:v>
                </c:pt>
                <c:pt idx="14">
                  <c:v>0.98852006117797842</c:v>
                </c:pt>
                <c:pt idx="15">
                  <c:v>0.99119810904430572</c:v>
                </c:pt>
                <c:pt idx="16">
                  <c:v>0.99364643722909707</c:v>
                </c:pt>
                <c:pt idx="17">
                  <c:v>0.99605244863044762</c:v>
                </c:pt>
                <c:pt idx="18">
                  <c:v>0.99817433305726677</c:v>
                </c:pt>
                <c:pt idx="19">
                  <c:v>0.99941361028660558</c:v>
                </c:pt>
                <c:pt idx="20">
                  <c:v>0.99987304964967749</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BLC/BLC 2002 1CT X 750ML</c:v>
                </c:pt>
                <c:pt idx="13">
                  <c:v>CHAMPAGNE NICOLAS ROSE 1ERE CU 1CT X 750ML</c:v>
                </c:pt>
                <c:pt idx="14">
                  <c:v>CHAMPAGNE NICOLAS ROSE 1ERE ET 1CT X 750ML</c:v>
                </c:pt>
                <c:pt idx="15">
                  <c:v>CHAMPAGNE NICOLAS BLC DE NOIRS 1CT X 750ML</c:v>
                </c:pt>
                <c:pt idx="16">
                  <c:v>CHAMPAGNE NICOLAS 1ERE CUV ETU 1CT X 750ML</c:v>
                </c:pt>
                <c:pt idx="17">
                  <c:v>CHAMPAGNE NICOLAS 1ER CRU ETUI 1CT X 750ML</c:v>
                </c:pt>
                <c:pt idx="18">
                  <c:v>CHAMPAGNE NICOLAS BLC/BL BS ET 1CT X 750ML</c:v>
                </c:pt>
                <c:pt idx="19">
                  <c:v>CHAMPAGNE NICOLAS ROSE 1E C BS 1CT X 750ML</c:v>
                </c:pt>
                <c:pt idx="20">
                  <c:v>MG CHAMPAGNE NICOLAS 1E CRU BS 1CT X 1500ML</c:v>
                </c:pt>
                <c:pt idx="21">
                  <c:v>1/2 CHAMPAGNE NICOLAS 1E C BS 1CT X 375ML</c:v>
                </c:pt>
              </c:strCache>
            </c:strRef>
          </c:cat>
          <c:val>
            <c:numRef>
              <c:f>Sheet1!$D$2:$D$23</c:f>
              <c:numCache>
                <c:formatCode>General</c:formatCode>
                <c:ptCount val="22"/>
                <c:pt idx="0">
                  <c:v>1137.1300000000001</c:v>
                </c:pt>
                <c:pt idx="1">
                  <c:v>237.92307692307693</c:v>
                </c:pt>
                <c:pt idx="2">
                  <c:v>121.4225352112676</c:v>
                </c:pt>
                <c:pt idx="3">
                  <c:v>91.298850574712645</c:v>
                </c:pt>
                <c:pt idx="4">
                  <c:v>70.8</c:v>
                </c:pt>
                <c:pt idx="5">
                  <c:v>62.244444444444447</c:v>
                </c:pt>
                <c:pt idx="6">
                  <c:v>67.114285714285714</c:v>
                </c:pt>
                <c:pt idx="7">
                  <c:v>54.046511627906973</c:v>
                </c:pt>
                <c:pt idx="8">
                  <c:v>49.535714285714278</c:v>
                </c:pt>
                <c:pt idx="9">
                  <c:v>42.464285714285708</c:v>
                </c:pt>
                <c:pt idx="10">
                  <c:v>35.366666666666667</c:v>
                </c:pt>
                <c:pt idx="11">
                  <c:v>30.882352941176471</c:v>
                </c:pt>
                <c:pt idx="12">
                  <c:v>58</c:v>
                </c:pt>
                <c:pt idx="13">
                  <c:v>50.05263157894737</c:v>
                </c:pt>
                <c:pt idx="14">
                  <c:v>31.407407407407408</c:v>
                </c:pt>
                <c:pt idx="15">
                  <c:v>26.058823529411764</c:v>
                </c:pt>
                <c:pt idx="16">
                  <c:v>40.5</c:v>
                </c:pt>
                <c:pt idx="17">
                  <c:v>26.533333333333335</c:v>
                </c:pt>
                <c:pt idx="18">
                  <c:v>50.142857142857139</c:v>
                </c:pt>
                <c:pt idx="19">
                  <c:v>17.083333333333332</c:v>
                </c:pt>
                <c:pt idx="20">
                  <c:v>6.9090909090909092</c:v>
                </c:pt>
                <c:pt idx="21">
                  <c:v>1.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CHAMPAGNE NICOLAS BLC/BLC 2002 1CT X 750ML</c:v>
                </c:pt>
                <c:pt idx="7">
                  <c:v>1/2 CHAMP NICOLAS BLC/BLC BS 1CT X 375ML</c:v>
                </c:pt>
                <c:pt idx="8">
                  <c:v>MG CHAMPAGNE NICOLAS 1ERE CUVE 1CT X 1500ML</c:v>
                </c:pt>
                <c:pt idx="9">
                  <c:v>CHAMPAGNE NICOLAS ROSE 1ERE CU 1CT X 750ML</c:v>
                </c:pt>
                <c:pt idx="10">
                  <c:v>MG CHAMPAGNE E.NICOLAS BRUT 1CT X 1500ML</c:v>
                </c:pt>
                <c:pt idx="11">
                  <c:v>MG CHAMPAGNE NICOLAS BLC/BL BS 1CT X 1500ML</c:v>
                </c:pt>
                <c:pt idx="12">
                  <c:v>1/2 CHAMP NICOLAS ROSE 1E C BS 1CT X 375ML</c:v>
                </c:pt>
                <c:pt idx="13">
                  <c:v>CHAMPAGNE NICOLAS BLC DE NOIRS 1CT X 750ML</c:v>
                </c:pt>
                <c:pt idx="14">
                  <c:v>CHAMPAGNE NICOLAS 1ER CRU ETUI 1CT X 750ML</c:v>
                </c:pt>
                <c:pt idx="15">
                  <c:v>CHAMPAGNE NICOLAS 1ER CRU BS 1CT X 750ML</c:v>
                </c:pt>
                <c:pt idx="16">
                  <c:v>CHAMPAGNE NICOLAS ROSE 1E C BS 1CT X 750ML</c:v>
                </c:pt>
                <c:pt idx="17">
                  <c:v>CHAMPAGNE NICOLAS 1ERE CUV ETU 1CT X 750ML</c:v>
                </c:pt>
                <c:pt idx="18">
                  <c:v>MG CHAMPAGNE NICOLAS 1E CRU BS 1CT X 1500ML</c:v>
                </c:pt>
                <c:pt idx="19">
                  <c:v>MG CHAMPAGNE NICOLAS BRUT 1CT X 1500ML</c:v>
                </c:pt>
              </c:strCache>
            </c:strRef>
          </c:cat>
          <c:val>
            <c:numRef>
              <c:f>Sheet1!$B$2:$B$21</c:f>
              <c:numCache>
                <c:formatCode>General</c:formatCode>
                <c:ptCount val="20"/>
                <c:pt idx="0">
                  <c:v>1</c:v>
                </c:pt>
                <c:pt idx="1">
                  <c:v>0.63</c:v>
                </c:pt>
                <c:pt idx="2">
                  <c:v>0.79</c:v>
                </c:pt>
                <c:pt idx="3">
                  <c:v>0.56000000000000005</c:v>
                </c:pt>
                <c:pt idx="4">
                  <c:v>0.56999999999999995</c:v>
                </c:pt>
                <c:pt idx="5">
                  <c:v>0.23</c:v>
                </c:pt>
                <c:pt idx="6">
                  <c:v>0.25</c:v>
                </c:pt>
                <c:pt idx="7">
                  <c:v>0.26</c:v>
                </c:pt>
                <c:pt idx="8">
                  <c:v>0.15</c:v>
                </c:pt>
                <c:pt idx="9">
                  <c:v>0.28000000000000003</c:v>
                </c:pt>
                <c:pt idx="10">
                  <c:v>0.32</c:v>
                </c:pt>
                <c:pt idx="11">
                  <c:v>0.18</c:v>
                </c:pt>
                <c:pt idx="12">
                  <c:v>0.31</c:v>
                </c:pt>
                <c:pt idx="13">
                  <c:v>0.26</c:v>
                </c:pt>
                <c:pt idx="14">
                  <c:v>0.27</c:v>
                </c:pt>
                <c:pt idx="15">
                  <c:v>0.44</c:v>
                </c:pt>
                <c:pt idx="16">
                  <c:v>0.11</c:v>
                </c:pt>
                <c:pt idx="17">
                  <c:v>0.11</c:v>
                </c:pt>
                <c:pt idx="18">
                  <c:v>0.06</c:v>
                </c:pt>
                <c:pt idx="19">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CHAMPAGNE NICOLAS BLC/BLC 2002 1CT X 750ML</c:v>
                </c:pt>
                <c:pt idx="7">
                  <c:v>1/2 CHAMP NICOLAS BLC/BLC BS 1CT X 375ML</c:v>
                </c:pt>
                <c:pt idx="8">
                  <c:v>MG CHAMPAGNE NICOLAS 1ERE CUVE 1CT X 1500ML</c:v>
                </c:pt>
                <c:pt idx="9">
                  <c:v>CHAMPAGNE NICOLAS ROSE 1ERE CU 1CT X 750ML</c:v>
                </c:pt>
                <c:pt idx="10">
                  <c:v>MG CHAMPAGNE E.NICOLAS BRUT 1CT X 1500ML</c:v>
                </c:pt>
                <c:pt idx="11">
                  <c:v>MG CHAMPAGNE NICOLAS BLC/BL BS 1CT X 1500ML</c:v>
                </c:pt>
                <c:pt idx="12">
                  <c:v>1/2 CHAMP NICOLAS ROSE 1E C BS 1CT X 375ML</c:v>
                </c:pt>
                <c:pt idx="13">
                  <c:v>CHAMPAGNE NICOLAS BLC DE NOIRS 1CT X 750ML</c:v>
                </c:pt>
                <c:pt idx="14">
                  <c:v>CHAMPAGNE NICOLAS 1ER CRU ETUI 1CT X 750ML</c:v>
                </c:pt>
                <c:pt idx="15">
                  <c:v>CHAMPAGNE NICOLAS 1ER CRU BS 1CT X 750ML</c:v>
                </c:pt>
                <c:pt idx="16">
                  <c:v>CHAMPAGNE NICOLAS ROSE 1E C BS 1CT X 750ML</c:v>
                </c:pt>
                <c:pt idx="17">
                  <c:v>CHAMPAGNE NICOLAS 1ERE CUV ETU 1CT X 750ML</c:v>
                </c:pt>
                <c:pt idx="18">
                  <c:v>MG CHAMPAGNE NICOLAS 1E CRU BS 1CT X 1500ML</c:v>
                </c:pt>
                <c:pt idx="19">
                  <c:v>MG CHAMPAGNE NICOLAS BRUT 1CT X 1500ML</c:v>
                </c:pt>
              </c:strCache>
            </c:strRef>
          </c:cat>
          <c:val>
            <c:numRef>
              <c:f>Sheet1!$C$2:$C$21</c:f>
              <c:numCache>
                <c:formatCode>General</c:formatCode>
                <c:ptCount val="20"/>
                <c:pt idx="0">
                  <c:v>0.72942171878507411</c:v>
                </c:pt>
                <c:pt idx="1">
                  <c:v>0.79768791117711046</c:v>
                </c:pt>
                <c:pt idx="2">
                  <c:v>0.85964291264482928</c:v>
                </c:pt>
                <c:pt idx="3">
                  <c:v>0.89391846390275065</c:v>
                </c:pt>
                <c:pt idx="4">
                  <c:v>0.91252395835132005</c:v>
                </c:pt>
                <c:pt idx="5">
                  <c:v>0.9260787733324124</c:v>
                </c:pt>
                <c:pt idx="6">
                  <c:v>0.93719890180097731</c:v>
                </c:pt>
                <c:pt idx="7">
                  <c:v>0.94587571011689953</c:v>
                </c:pt>
                <c:pt idx="8">
                  <c:v>0.95428487558924602</c:v>
                </c:pt>
                <c:pt idx="9">
                  <c:v>0.9625127346191702</c:v>
                </c:pt>
                <c:pt idx="10">
                  <c:v>0.97069742544851767</c:v>
                </c:pt>
                <c:pt idx="11">
                  <c:v>0.97886484899763448</c:v>
                </c:pt>
                <c:pt idx="12">
                  <c:v>0.98459758603422387</c:v>
                </c:pt>
                <c:pt idx="13">
                  <c:v>0.99020945210919842</c:v>
                </c:pt>
                <c:pt idx="14">
                  <c:v>0.99345570079256829</c:v>
                </c:pt>
                <c:pt idx="15">
                  <c:v>0.9962616338300555</c:v>
                </c:pt>
                <c:pt idx="16">
                  <c:v>0.99804016369381665</c:v>
                </c:pt>
                <c:pt idx="17">
                  <c:v>0.9989898641065047</c:v>
                </c:pt>
                <c:pt idx="18">
                  <c:v>0.99964602075527098</c:v>
                </c:pt>
                <c:pt idx="1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CHAMPAGNE NICOLAS BLC/BLC 2002 1CT X 750ML</c:v>
                </c:pt>
                <c:pt idx="7">
                  <c:v>1/2 CHAMP NICOLAS BLC/BLC BS 1CT X 375ML</c:v>
                </c:pt>
                <c:pt idx="8">
                  <c:v>MG CHAMPAGNE NICOLAS 1ERE CUVE 1CT X 1500ML</c:v>
                </c:pt>
                <c:pt idx="9">
                  <c:v>CHAMPAGNE NICOLAS ROSE 1ERE CU 1CT X 750ML</c:v>
                </c:pt>
                <c:pt idx="10">
                  <c:v>MG CHAMPAGNE E.NICOLAS BRUT 1CT X 1500ML</c:v>
                </c:pt>
                <c:pt idx="11">
                  <c:v>MG CHAMPAGNE NICOLAS BLC/BL BS 1CT X 1500ML</c:v>
                </c:pt>
                <c:pt idx="12">
                  <c:v>1/2 CHAMP NICOLAS ROSE 1E C BS 1CT X 375ML</c:v>
                </c:pt>
                <c:pt idx="13">
                  <c:v>CHAMPAGNE NICOLAS BLC DE NOIRS 1CT X 750ML</c:v>
                </c:pt>
                <c:pt idx="14">
                  <c:v>CHAMPAGNE NICOLAS 1ER CRU ETUI 1CT X 750ML</c:v>
                </c:pt>
                <c:pt idx="15">
                  <c:v>CHAMPAGNE NICOLAS 1ER CRU BS 1CT X 750ML</c:v>
                </c:pt>
                <c:pt idx="16">
                  <c:v>CHAMPAGNE NICOLAS ROSE 1E C BS 1CT X 750ML</c:v>
                </c:pt>
                <c:pt idx="17">
                  <c:v>CHAMPAGNE NICOLAS 1ERE CUV ETU 1CT X 750ML</c:v>
                </c:pt>
                <c:pt idx="18">
                  <c:v>MG CHAMPAGNE NICOLAS 1E CRU BS 1CT X 1500ML</c:v>
                </c:pt>
                <c:pt idx="19">
                  <c:v>MG CHAMPAGNE NICOLAS BRUT 1CT X 1500ML</c:v>
                </c:pt>
              </c:strCache>
            </c:strRef>
          </c:cat>
          <c:val>
            <c:numRef>
              <c:f>Sheet1!$D$2:$D$21</c:f>
              <c:numCache>
                <c:formatCode>General</c:formatCode>
                <c:ptCount val="20"/>
                <c:pt idx="0">
                  <c:v>844.86</c:v>
                </c:pt>
                <c:pt idx="1">
                  <c:v>125.50793650793651</c:v>
                </c:pt>
                <c:pt idx="2">
                  <c:v>90.835443037974684</c:v>
                </c:pt>
                <c:pt idx="3">
                  <c:v>70.892857142857139</c:v>
                </c:pt>
                <c:pt idx="4">
                  <c:v>37.807017543859651</c:v>
                </c:pt>
                <c:pt idx="5">
                  <c:v>68.260869565217391</c:v>
                </c:pt>
                <c:pt idx="6">
                  <c:v>51.52</c:v>
                </c:pt>
                <c:pt idx="7">
                  <c:v>38.653846153846153</c:v>
                </c:pt>
                <c:pt idx="8">
                  <c:v>64.933333333333337</c:v>
                </c:pt>
                <c:pt idx="9">
                  <c:v>34.035714285714285</c:v>
                </c:pt>
                <c:pt idx="10">
                  <c:v>29.625</c:v>
                </c:pt>
                <c:pt idx="11">
                  <c:v>52.555555555555557</c:v>
                </c:pt>
                <c:pt idx="12">
                  <c:v>21.419354838709676</c:v>
                </c:pt>
                <c:pt idx="13">
                  <c:v>25</c:v>
                </c:pt>
                <c:pt idx="14">
                  <c:v>13.925925925925926</c:v>
                </c:pt>
                <c:pt idx="15">
                  <c:v>7.3863636363636367</c:v>
                </c:pt>
                <c:pt idx="16">
                  <c:v>18.727272727272727</c:v>
                </c:pt>
                <c:pt idx="17">
                  <c:v>10</c:v>
                </c:pt>
                <c:pt idx="18">
                  <c:v>12.666666666666666</c:v>
                </c:pt>
                <c:pt idx="19">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CHAMPAGNE NICOLAS BLC/BLC 2002 1CT X 750ML</c:v>
                </c:pt>
                <c:pt idx="17">
                  <c:v>MG CHAMPAGNE NICOLAS BLC/BL BS 1CT X 1500ML</c:v>
                </c:pt>
                <c:pt idx="18">
                  <c:v>CHAMPAGNE NICOLAS 1ERE CUV ETU 1CT X 750ML</c:v>
                </c:pt>
                <c:pt idx="19">
                  <c:v>CHAMPAGNE NICOLAS BLC DE NOIRS 1CT X 750ML</c:v>
                </c:pt>
              </c:strCache>
            </c:strRef>
          </c:cat>
          <c:val>
            <c:numRef>
              <c:f>Sheet1!$B$2:$B$21</c:f>
              <c:numCache>
                <c:formatCode>General</c:formatCode>
                <c:ptCount val="20"/>
                <c:pt idx="0">
                  <c:v>1</c:v>
                </c:pt>
                <c:pt idx="1">
                  <c:v>0.76</c:v>
                </c:pt>
                <c:pt idx="2">
                  <c:v>0.56000000000000005</c:v>
                </c:pt>
                <c:pt idx="3">
                  <c:v>0.51</c:v>
                </c:pt>
                <c:pt idx="4">
                  <c:v>0.49</c:v>
                </c:pt>
                <c:pt idx="5">
                  <c:v>0.85</c:v>
                </c:pt>
                <c:pt idx="6">
                  <c:v>0.46</c:v>
                </c:pt>
                <c:pt idx="7">
                  <c:v>0.4</c:v>
                </c:pt>
                <c:pt idx="8">
                  <c:v>0.62</c:v>
                </c:pt>
                <c:pt idx="9">
                  <c:v>0.38</c:v>
                </c:pt>
                <c:pt idx="10">
                  <c:v>0.62</c:v>
                </c:pt>
                <c:pt idx="11">
                  <c:v>0.24</c:v>
                </c:pt>
                <c:pt idx="12">
                  <c:v>0.26</c:v>
                </c:pt>
                <c:pt idx="13">
                  <c:v>0.48</c:v>
                </c:pt>
                <c:pt idx="14">
                  <c:v>0.14000000000000001</c:v>
                </c:pt>
                <c:pt idx="15">
                  <c:v>0.11</c:v>
                </c:pt>
                <c:pt idx="16">
                  <c:v>0.1</c:v>
                </c:pt>
                <c:pt idx="17">
                  <c:v>0.35</c:v>
                </c:pt>
                <c:pt idx="18">
                  <c:v>0.66</c:v>
                </c:pt>
                <c:pt idx="19">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CHAMPAGNE NICOLAS BLC/BLC 2002 1CT X 750ML</c:v>
                </c:pt>
                <c:pt idx="17">
                  <c:v>MG CHAMPAGNE NICOLAS BLC/BL BS 1CT X 1500ML</c:v>
                </c:pt>
                <c:pt idx="18">
                  <c:v>CHAMPAGNE NICOLAS 1ERE CUV ETU 1CT X 750ML</c:v>
                </c:pt>
                <c:pt idx="19">
                  <c:v>CHAMPAGNE NICOLAS BLC DE NOIRS 1CT X 750ML</c:v>
                </c:pt>
              </c:strCache>
            </c:strRef>
          </c:cat>
          <c:val>
            <c:numRef>
              <c:f>Sheet1!$C$2:$C$21</c:f>
              <c:numCache>
                <c:formatCode>General</c:formatCode>
                <c:ptCount val="20"/>
                <c:pt idx="0">
                  <c:v>0.75774197779659203</c:v>
                </c:pt>
                <c:pt idx="1">
                  <c:v>0.80189837946125142</c:v>
                </c:pt>
                <c:pt idx="2">
                  <c:v>0.84417071105758346</c:v>
                </c:pt>
                <c:pt idx="3">
                  <c:v>0.87847748059288588</c:v>
                </c:pt>
                <c:pt idx="4">
                  <c:v>0.90100284995409075</c:v>
                </c:pt>
                <c:pt idx="5">
                  <c:v>0.91981970164915761</c:v>
                </c:pt>
                <c:pt idx="6">
                  <c:v>0.93430796198471289</c:v>
                </c:pt>
                <c:pt idx="7">
                  <c:v>0.94245239145729254</c:v>
                </c:pt>
                <c:pt idx="8">
                  <c:v>0.9497859553308452</c:v>
                </c:pt>
                <c:pt idx="9">
                  <c:v>0.95700027426336454</c:v>
                </c:pt>
                <c:pt idx="10">
                  <c:v>0.96388070736099041</c:v>
                </c:pt>
                <c:pt idx="11">
                  <c:v>0.96967601149521254</c:v>
                </c:pt>
                <c:pt idx="12">
                  <c:v>0.97537591967660797</c:v>
                </c:pt>
                <c:pt idx="13">
                  <c:v>0.98092080943465998</c:v>
                </c:pt>
                <c:pt idx="14">
                  <c:v>0.98529709877058491</c:v>
                </c:pt>
                <c:pt idx="15">
                  <c:v>0.98948259620085643</c:v>
                </c:pt>
                <c:pt idx="16">
                  <c:v>0.99305994443185774</c:v>
                </c:pt>
                <c:pt idx="17">
                  <c:v>0.99613646391051891</c:v>
                </c:pt>
                <c:pt idx="18">
                  <c:v>0.99872407913094319</c:v>
                </c:pt>
                <c:pt idx="1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CHAMPAGNE NICOLAS BLC/BLC 2002 1CT X 750ML</c:v>
                </c:pt>
                <c:pt idx="17">
                  <c:v>MG CHAMPAGNE NICOLAS BLC/BL BS 1CT X 1500ML</c:v>
                </c:pt>
                <c:pt idx="18">
                  <c:v>CHAMPAGNE NICOLAS 1ERE CUV ETU 1CT X 750ML</c:v>
                </c:pt>
                <c:pt idx="19">
                  <c:v>CHAMPAGNE NICOLAS BLC DE NOIRS 1CT X 750ML</c:v>
                </c:pt>
              </c:strCache>
            </c:strRef>
          </c:cat>
          <c:val>
            <c:numRef>
              <c:f>Sheet1!$D$2:$D$21</c:f>
              <c:numCache>
                <c:formatCode>General</c:formatCode>
                <c:ptCount val="20"/>
                <c:pt idx="0">
                  <c:v>635.45000000000005</c:v>
                </c:pt>
                <c:pt idx="1">
                  <c:v>48.723684210526315</c:v>
                </c:pt>
                <c:pt idx="2">
                  <c:v>63.303571428571423</c:v>
                </c:pt>
                <c:pt idx="3">
                  <c:v>56.411764705882355</c:v>
                </c:pt>
                <c:pt idx="4">
                  <c:v>38.551020408163268</c:v>
                </c:pt>
                <c:pt idx="5">
                  <c:v>18.564705882352943</c:v>
                </c:pt>
                <c:pt idx="6">
                  <c:v>26.413043478260871</c:v>
                </c:pt>
                <c:pt idx="7">
                  <c:v>17.074999999999999</c:v>
                </c:pt>
                <c:pt idx="8">
                  <c:v>9.9193548387096779</c:v>
                </c:pt>
                <c:pt idx="9">
                  <c:v>15.921052631578947</c:v>
                </c:pt>
                <c:pt idx="10">
                  <c:v>9.306451612903226</c:v>
                </c:pt>
                <c:pt idx="11">
                  <c:v>20.25</c:v>
                </c:pt>
                <c:pt idx="12">
                  <c:v>18.384615384615383</c:v>
                </c:pt>
                <c:pt idx="13">
                  <c:v>9.6875</c:v>
                </c:pt>
                <c:pt idx="14">
                  <c:v>26.214285714285712</c:v>
                </c:pt>
                <c:pt idx="15">
                  <c:v>31.90909090909091</c:v>
                </c:pt>
                <c:pt idx="16">
                  <c:v>30</c:v>
                </c:pt>
                <c:pt idx="17">
                  <c:v>7.371428571428571</c:v>
                </c:pt>
                <c:pt idx="18">
                  <c:v>3.2878787878787881</c:v>
                </c:pt>
                <c:pt idx="19">
                  <c:v>15.2857142857142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B$2:$B$21</c:f>
              <c:numCache>
                <c:formatCode>General</c:formatCode>
                <c:ptCount val="20"/>
                <c:pt idx="0">
                  <c:v>1</c:v>
                </c:pt>
                <c:pt idx="1">
                  <c:v>0.69</c:v>
                </c:pt>
                <c:pt idx="2">
                  <c:v>0.69</c:v>
                </c:pt>
                <c:pt idx="3">
                  <c:v>0.6</c:v>
                </c:pt>
                <c:pt idx="4">
                  <c:v>0.63</c:v>
                </c:pt>
                <c:pt idx="5">
                  <c:v>0.49</c:v>
                </c:pt>
                <c:pt idx="6">
                  <c:v>0.35</c:v>
                </c:pt>
                <c:pt idx="7">
                  <c:v>0.34</c:v>
                </c:pt>
                <c:pt idx="8">
                  <c:v>0.41</c:v>
                </c:pt>
                <c:pt idx="9">
                  <c:v>0.51</c:v>
                </c:pt>
                <c:pt idx="10">
                  <c:v>0.25</c:v>
                </c:pt>
                <c:pt idx="11">
                  <c:v>0.48</c:v>
                </c:pt>
                <c:pt idx="12">
                  <c:v>0.39</c:v>
                </c:pt>
                <c:pt idx="13">
                  <c:v>0.44</c:v>
                </c:pt>
                <c:pt idx="14">
                  <c:v>0.46</c:v>
                </c:pt>
                <c:pt idx="15">
                  <c:v>0.11</c:v>
                </c:pt>
                <c:pt idx="16">
                  <c:v>0.28000000000000003</c:v>
                </c:pt>
                <c:pt idx="17">
                  <c:v>0.28000000000000003</c:v>
                </c:pt>
                <c:pt idx="18">
                  <c:v>0.09</c:v>
                </c:pt>
                <c:pt idx="19">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C$2:$C$21</c:f>
              <c:numCache>
                <c:formatCode>General</c:formatCode>
                <c:ptCount val="20"/>
                <c:pt idx="0">
                  <c:v>0.70446086628189231</c:v>
                </c:pt>
                <c:pt idx="1">
                  <c:v>0.77817933365697545</c:v>
                </c:pt>
                <c:pt idx="2">
                  <c:v>0.83167017278889555</c:v>
                </c:pt>
                <c:pt idx="3">
                  <c:v>0.87471456569034656</c:v>
                </c:pt>
                <c:pt idx="4">
                  <c:v>0.89515795530143671</c:v>
                </c:pt>
                <c:pt idx="5">
                  <c:v>0.91107035618605836</c:v>
                </c:pt>
                <c:pt idx="6">
                  <c:v>0.92653325422083188</c:v>
                </c:pt>
                <c:pt idx="7">
                  <c:v>0.93879569196468715</c:v>
                </c:pt>
                <c:pt idx="8">
                  <c:v>0.94956578024704685</c:v>
                </c:pt>
                <c:pt idx="9">
                  <c:v>0.95904130032184409</c:v>
                </c:pt>
                <c:pt idx="10">
                  <c:v>0.96817519823075682</c:v>
                </c:pt>
                <c:pt idx="11">
                  <c:v>0.97538522394231986</c:v>
                </c:pt>
                <c:pt idx="12">
                  <c:v>0.98203786612007127</c:v>
                </c:pt>
                <c:pt idx="13">
                  <c:v>0.98779150259812654</c:v>
                </c:pt>
                <c:pt idx="14">
                  <c:v>0.99221461064063154</c:v>
                </c:pt>
                <c:pt idx="15">
                  <c:v>0.99494758796770777</c:v>
                </c:pt>
                <c:pt idx="16">
                  <c:v>0.99760864483880829</c:v>
                </c:pt>
                <c:pt idx="17">
                  <c:v>0.99888523293237685</c:v>
                </c:pt>
                <c:pt idx="18">
                  <c:v>0.99962241760612769</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D$2:$D$21</c:f>
              <c:numCache>
                <c:formatCode>General</c:formatCode>
                <c:ptCount val="20"/>
                <c:pt idx="0">
                  <c:v>391.8</c:v>
                </c:pt>
                <c:pt idx="1">
                  <c:v>59.420289855072461</c:v>
                </c:pt>
                <c:pt idx="2">
                  <c:v>43.115942028985508</c:v>
                </c:pt>
                <c:pt idx="3">
                  <c:v>39.9</c:v>
                </c:pt>
                <c:pt idx="4">
                  <c:v>18.047619047619047</c:v>
                </c:pt>
                <c:pt idx="5">
                  <c:v>18.061224489795919</c:v>
                </c:pt>
                <c:pt idx="6">
                  <c:v>24.571428571428573</c:v>
                </c:pt>
                <c:pt idx="7">
                  <c:v>20.058823529411764</c:v>
                </c:pt>
                <c:pt idx="8">
                  <c:v>14.609756097560975</c:v>
                </c:pt>
                <c:pt idx="9">
                  <c:v>10.333333333333334</c:v>
                </c:pt>
                <c:pt idx="10">
                  <c:v>20.32</c:v>
                </c:pt>
                <c:pt idx="11">
                  <c:v>8.3541666666666661</c:v>
                </c:pt>
                <c:pt idx="12">
                  <c:v>9.4871794871794872</c:v>
                </c:pt>
                <c:pt idx="13">
                  <c:v>7.2727272727272725</c:v>
                </c:pt>
                <c:pt idx="14">
                  <c:v>5.3478260869565215</c:v>
                </c:pt>
                <c:pt idx="15">
                  <c:v>13.818181818181818</c:v>
                </c:pt>
                <c:pt idx="16">
                  <c:v>5.2857142857142847</c:v>
                </c:pt>
                <c:pt idx="17">
                  <c:v>2.5357142857142856</c:v>
                </c:pt>
                <c:pt idx="18">
                  <c:v>4.5555555555555554</c:v>
                </c:pt>
                <c:pt idx="19">
                  <c:v>1.61538461538461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BLC/BLC 2002 1CT X 750ML</c:v>
                </c:pt>
                <c:pt idx="14">
                  <c:v>CHAMPAGNE NICOLAS ROSE 1ERE ET 1CT X 750ML</c:v>
                </c:pt>
                <c:pt idx="15">
                  <c:v>MG CHAMPAGNE NICOLAS BLC/BL BS 1CT X 1500ML</c:v>
                </c:pt>
                <c:pt idx="16">
                  <c:v>CHAMPAGNE NICOLAS 1ERE CUV ETU 1CT X 750ML</c:v>
                </c:pt>
                <c:pt idx="17">
                  <c:v>CHAMPAGNE NICOLAS ROSE 1E C BS 1CT X 750ML</c:v>
                </c:pt>
              </c:strCache>
            </c:strRef>
          </c:cat>
          <c:val>
            <c:numRef>
              <c:f>Sheet1!$B$2:$B$19</c:f>
              <c:numCache>
                <c:formatCode>General</c:formatCode>
                <c:ptCount val="18"/>
                <c:pt idx="0">
                  <c:v>1</c:v>
                </c:pt>
                <c:pt idx="1">
                  <c:v>0.8</c:v>
                </c:pt>
                <c:pt idx="2">
                  <c:v>0.56000000000000005</c:v>
                </c:pt>
                <c:pt idx="3">
                  <c:v>0.73</c:v>
                </c:pt>
                <c:pt idx="4">
                  <c:v>0.64</c:v>
                </c:pt>
                <c:pt idx="5">
                  <c:v>0.52</c:v>
                </c:pt>
                <c:pt idx="6">
                  <c:v>0.3</c:v>
                </c:pt>
                <c:pt idx="7">
                  <c:v>0.53</c:v>
                </c:pt>
                <c:pt idx="8">
                  <c:v>0.51</c:v>
                </c:pt>
                <c:pt idx="9">
                  <c:v>0.64</c:v>
                </c:pt>
                <c:pt idx="10">
                  <c:v>0.63</c:v>
                </c:pt>
                <c:pt idx="11">
                  <c:v>0.62</c:v>
                </c:pt>
                <c:pt idx="12">
                  <c:v>0.34</c:v>
                </c:pt>
                <c:pt idx="13">
                  <c:v>0.44</c:v>
                </c:pt>
                <c:pt idx="14">
                  <c:v>0.38</c:v>
                </c:pt>
                <c:pt idx="15">
                  <c:v>0.11</c:v>
                </c:pt>
                <c:pt idx="16">
                  <c:v>0.11</c:v>
                </c:pt>
                <c:pt idx="17">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BLC/BLC 2002 1CT X 750ML</c:v>
                </c:pt>
                <c:pt idx="14">
                  <c:v>CHAMPAGNE NICOLAS ROSE 1ERE ET 1CT X 750ML</c:v>
                </c:pt>
                <c:pt idx="15">
                  <c:v>MG CHAMPAGNE NICOLAS BLC/BL BS 1CT X 1500ML</c:v>
                </c:pt>
                <c:pt idx="16">
                  <c:v>CHAMPAGNE NICOLAS 1ERE CUV ETU 1CT X 750ML</c:v>
                </c:pt>
                <c:pt idx="17">
                  <c:v>CHAMPAGNE NICOLAS ROSE 1E C BS 1CT X 750ML</c:v>
                </c:pt>
              </c:strCache>
            </c:strRef>
          </c:cat>
          <c:val>
            <c:numRef>
              <c:f>Sheet1!$C$2:$C$19</c:f>
              <c:numCache>
                <c:formatCode>General</c:formatCode>
                <c:ptCount val="18"/>
                <c:pt idx="0">
                  <c:v>0.66096005370929845</c:v>
                </c:pt>
                <c:pt idx="1">
                  <c:v>0.75156092648539785</c:v>
                </c:pt>
                <c:pt idx="2">
                  <c:v>0.7881168177240685</c:v>
                </c:pt>
                <c:pt idx="3">
                  <c:v>0.82406847935548844</c:v>
                </c:pt>
                <c:pt idx="4">
                  <c:v>0.85062101376300769</c:v>
                </c:pt>
                <c:pt idx="5">
                  <c:v>0.87650218194024843</c:v>
                </c:pt>
                <c:pt idx="6">
                  <c:v>0.89681101040617661</c:v>
                </c:pt>
                <c:pt idx="7">
                  <c:v>0.91362873447465598</c:v>
                </c:pt>
                <c:pt idx="8">
                  <c:v>0.93037932192010753</c:v>
                </c:pt>
                <c:pt idx="9">
                  <c:v>0.94642497482376642</c:v>
                </c:pt>
                <c:pt idx="10">
                  <c:v>0.9612621685129239</c:v>
                </c:pt>
                <c:pt idx="11">
                  <c:v>0.97314535078885545</c:v>
                </c:pt>
                <c:pt idx="12">
                  <c:v>0.98086606243705954</c:v>
                </c:pt>
                <c:pt idx="13">
                  <c:v>0.98811681772406856</c:v>
                </c:pt>
                <c:pt idx="14">
                  <c:v>0.99227928835179602</c:v>
                </c:pt>
                <c:pt idx="15">
                  <c:v>0.99516616314199402</c:v>
                </c:pt>
                <c:pt idx="16">
                  <c:v>0.99761664988251098</c:v>
                </c:pt>
                <c:pt idx="1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9</c:f>
              <c:strCache>
                <c:ptCount val="18"/>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BLC/BLC 2002 1CT X 750ML</c:v>
                </c:pt>
                <c:pt idx="14">
                  <c:v>CHAMPAGNE NICOLAS ROSE 1ERE ET 1CT X 750ML</c:v>
                </c:pt>
                <c:pt idx="15">
                  <c:v>MG CHAMPAGNE NICOLAS BLC/BL BS 1CT X 1500ML</c:v>
                </c:pt>
                <c:pt idx="16">
                  <c:v>CHAMPAGNE NICOLAS 1ERE CUV ETU 1CT X 750ML</c:v>
                </c:pt>
                <c:pt idx="17">
                  <c:v>CHAMPAGNE NICOLAS ROSE 1E C BS 1CT X 750ML</c:v>
                </c:pt>
              </c:strCache>
            </c:strRef>
          </c:cat>
          <c:val>
            <c:numRef>
              <c:f>Sheet1!$D$2:$D$19</c:f>
              <c:numCache>
                <c:formatCode>General</c:formatCode>
                <c:ptCount val="18"/>
                <c:pt idx="0">
                  <c:v>196.9</c:v>
                </c:pt>
                <c:pt idx="1">
                  <c:v>33.737499999999997</c:v>
                </c:pt>
                <c:pt idx="2">
                  <c:v>19.446428571428569</c:v>
                </c:pt>
                <c:pt idx="3">
                  <c:v>14.671232876712329</c:v>
                </c:pt>
                <c:pt idx="4">
                  <c:v>12.359375</c:v>
                </c:pt>
                <c:pt idx="5">
                  <c:v>14.826923076923077</c:v>
                </c:pt>
                <c:pt idx="6">
                  <c:v>20.166666666666668</c:v>
                </c:pt>
                <c:pt idx="7">
                  <c:v>9.4528301886792452</c:v>
                </c:pt>
                <c:pt idx="8">
                  <c:v>9.7843137254901968</c:v>
                </c:pt>
                <c:pt idx="9">
                  <c:v>7.46875</c:v>
                </c:pt>
                <c:pt idx="10">
                  <c:v>7.0158730158730158</c:v>
                </c:pt>
                <c:pt idx="11">
                  <c:v>5.709677419354839</c:v>
                </c:pt>
                <c:pt idx="12">
                  <c:v>6.7647058823529411</c:v>
                </c:pt>
                <c:pt idx="13">
                  <c:v>4.9090909090909092</c:v>
                </c:pt>
                <c:pt idx="14">
                  <c:v>3.263157894736842</c:v>
                </c:pt>
                <c:pt idx="15">
                  <c:v>7.8181818181818183</c:v>
                </c:pt>
                <c:pt idx="16">
                  <c:v>6.6363636363636367</c:v>
                </c:pt>
                <c:pt idx="17">
                  <c:v>4.4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CHAMPAGNE NICOLAS BLC/BLC 2002 1CT X 750ML</c:v>
                </c:pt>
                <c:pt idx="18">
                  <c:v>MG CHAMPAGNE NICOLAS 1E CRU BS 1CT X 1500ML</c:v>
                </c:pt>
                <c:pt idx="19">
                  <c:v>CHAMPAGNE NICOLAS BLC DE NOIRS 1CT X 750ML</c:v>
                </c:pt>
              </c:strCache>
            </c:strRef>
          </c:cat>
          <c:val>
            <c:numRef>
              <c:f>Sheet1!$B$2:$B$21</c:f>
              <c:numCache>
                <c:formatCode>General</c:formatCode>
                <c:ptCount val="20"/>
                <c:pt idx="0">
                  <c:v>1</c:v>
                </c:pt>
                <c:pt idx="1">
                  <c:v>0.62</c:v>
                </c:pt>
                <c:pt idx="2">
                  <c:v>0.61</c:v>
                </c:pt>
                <c:pt idx="3">
                  <c:v>0.59</c:v>
                </c:pt>
                <c:pt idx="4">
                  <c:v>0.56999999999999995</c:v>
                </c:pt>
                <c:pt idx="5">
                  <c:v>0.59</c:v>
                </c:pt>
                <c:pt idx="6">
                  <c:v>0.59</c:v>
                </c:pt>
                <c:pt idx="7">
                  <c:v>0.44</c:v>
                </c:pt>
                <c:pt idx="8">
                  <c:v>0.27</c:v>
                </c:pt>
                <c:pt idx="9">
                  <c:v>0.42</c:v>
                </c:pt>
                <c:pt idx="10">
                  <c:v>0.18</c:v>
                </c:pt>
                <c:pt idx="11">
                  <c:v>0.43</c:v>
                </c:pt>
                <c:pt idx="12">
                  <c:v>0.5</c:v>
                </c:pt>
                <c:pt idx="13">
                  <c:v>0.32</c:v>
                </c:pt>
                <c:pt idx="14">
                  <c:v>0.26</c:v>
                </c:pt>
                <c:pt idx="15">
                  <c:v>0.33</c:v>
                </c:pt>
                <c:pt idx="16">
                  <c:v>0.18</c:v>
                </c:pt>
                <c:pt idx="17">
                  <c:v>0.15</c:v>
                </c:pt>
                <c:pt idx="18">
                  <c:v>0.2</c:v>
                </c:pt>
                <c:pt idx="19">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CHAMPAGNE NICOLAS BLC/BLC 2002 1CT X 750ML</c:v>
                </c:pt>
                <c:pt idx="18">
                  <c:v>MG CHAMPAGNE NICOLAS 1E CRU BS 1CT X 1500ML</c:v>
                </c:pt>
                <c:pt idx="19">
                  <c:v>CHAMPAGNE NICOLAS BLC DE NOIRS 1CT X 750ML</c:v>
                </c:pt>
              </c:strCache>
            </c:strRef>
          </c:cat>
          <c:val>
            <c:numRef>
              <c:f>Sheet1!$C$2:$C$21</c:f>
              <c:numCache>
                <c:formatCode>General</c:formatCode>
                <c:ptCount val="20"/>
                <c:pt idx="0">
                  <c:v>0.60326050644751783</c:v>
                </c:pt>
                <c:pt idx="1">
                  <c:v>0.70000668136567112</c:v>
                </c:pt>
                <c:pt idx="2">
                  <c:v>0.76080710897307413</c:v>
                </c:pt>
                <c:pt idx="3">
                  <c:v>0.80303334001469906</c:v>
                </c:pt>
                <c:pt idx="4">
                  <c:v>0.8310950758335004</c:v>
                </c:pt>
                <c:pt idx="5">
                  <c:v>0.85842186142847599</c:v>
                </c:pt>
                <c:pt idx="6">
                  <c:v>0.88461281485935728</c:v>
                </c:pt>
                <c:pt idx="7">
                  <c:v>0.90228502705953095</c:v>
                </c:pt>
                <c:pt idx="8">
                  <c:v>0.91948954366272462</c:v>
                </c:pt>
                <c:pt idx="9">
                  <c:v>0.93435558228101823</c:v>
                </c:pt>
                <c:pt idx="10">
                  <c:v>0.94671610877263312</c:v>
                </c:pt>
                <c:pt idx="11">
                  <c:v>0.95904322843589229</c:v>
                </c:pt>
                <c:pt idx="12">
                  <c:v>0.96702746041290844</c:v>
                </c:pt>
                <c:pt idx="13">
                  <c:v>0.97467762410636738</c:v>
                </c:pt>
                <c:pt idx="14">
                  <c:v>0.98209394000133632</c:v>
                </c:pt>
                <c:pt idx="15">
                  <c:v>0.98874189884412378</c:v>
                </c:pt>
                <c:pt idx="16">
                  <c:v>0.99265049776174252</c:v>
                </c:pt>
                <c:pt idx="17">
                  <c:v>0.9962584352241598</c:v>
                </c:pt>
                <c:pt idx="18">
                  <c:v>0.99876394735083851</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CHAMPAGNE NICOLAS BLC/BLC 2002 1CT X 750ML</c:v>
                </c:pt>
                <c:pt idx="18">
                  <c:v>MG CHAMPAGNE NICOLAS 1E CRU BS 1CT X 1500ML</c:v>
                </c:pt>
                <c:pt idx="19">
                  <c:v>CHAMPAGNE NICOLAS BLC DE NOIRS 1CT X 750ML</c:v>
                </c:pt>
              </c:strCache>
            </c:strRef>
          </c:cat>
          <c:val>
            <c:numRef>
              <c:f>Sheet1!$D$2:$D$21</c:f>
              <c:numCache>
                <c:formatCode>General</c:formatCode>
                <c:ptCount val="20"/>
                <c:pt idx="0">
                  <c:v>180.58</c:v>
                </c:pt>
                <c:pt idx="1">
                  <c:v>46.70967741935484</c:v>
                </c:pt>
                <c:pt idx="2">
                  <c:v>29.83606557377049</c:v>
                </c:pt>
                <c:pt idx="3">
                  <c:v>21.423728813559322</c:v>
                </c:pt>
                <c:pt idx="4">
                  <c:v>14.736842105263159</c:v>
                </c:pt>
                <c:pt idx="5">
                  <c:v>13.864406779661017</c:v>
                </c:pt>
                <c:pt idx="6">
                  <c:v>13.288135593220339</c:v>
                </c:pt>
                <c:pt idx="7">
                  <c:v>12.022727272727273</c:v>
                </c:pt>
                <c:pt idx="8">
                  <c:v>19.074074074074073</c:v>
                </c:pt>
                <c:pt idx="9">
                  <c:v>10.595238095238095</c:v>
                </c:pt>
                <c:pt idx="10">
                  <c:v>20.555555555555557</c:v>
                </c:pt>
                <c:pt idx="11">
                  <c:v>8.5813953488372086</c:v>
                </c:pt>
                <c:pt idx="12">
                  <c:v>4.78</c:v>
                </c:pt>
                <c:pt idx="13">
                  <c:v>7.15625</c:v>
                </c:pt>
                <c:pt idx="14">
                  <c:v>8.5384615384615383</c:v>
                </c:pt>
                <c:pt idx="15">
                  <c:v>6.0303030303030303</c:v>
                </c:pt>
                <c:pt idx="16">
                  <c:v>6.5</c:v>
                </c:pt>
                <c:pt idx="17">
                  <c:v>7.2</c:v>
                </c:pt>
                <c:pt idx="18">
                  <c:v>3.75</c:v>
                </c:pt>
                <c:pt idx="19">
                  <c:v>2.17647058823529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BLC/BLC 2002 1CT X 750ML</c:v>
                </c:pt>
                <c:pt idx="14">
                  <c:v>CHAMPAGNE NICOLAS 1ERE CUV ETU 1CT X 750ML</c:v>
                </c:pt>
                <c:pt idx="15">
                  <c:v>CHAMPAGNE NICOLAS 1ER CRU ETUI 1CT X 750ML</c:v>
                </c:pt>
                <c:pt idx="16">
                  <c:v>CHAMPAGNE NICOLAS BLC DE NOIRS 1CT X 750ML</c:v>
                </c:pt>
                <c:pt idx="17">
                  <c:v>CHAMPAGNE NICOLAS ROSE 1E C BS 1CT X 750ML</c:v>
                </c:pt>
                <c:pt idx="18">
                  <c:v>CHAMPAGNE NICOLAS BLC/BL BS ET 1CT X 750ML</c:v>
                </c:pt>
                <c:pt idx="19">
                  <c:v>MG CHAMPAGNE NICOLAS 1E CRU BS 1CT X 1500ML</c:v>
                </c:pt>
                <c:pt idx="20">
                  <c:v>CHAMPAGNE NICOLAS ROSE 1ERE ET 1CT X 750ML</c:v>
                </c:pt>
              </c:strCache>
            </c:strRef>
          </c:cat>
          <c:val>
            <c:numRef>
              <c:f>Sheet1!$B$2:$B$22</c:f>
              <c:numCache>
                <c:formatCode>General</c:formatCode>
                <c:ptCount val="21"/>
                <c:pt idx="0">
                  <c:v>0.99</c:v>
                </c:pt>
                <c:pt idx="1">
                  <c:v>0.83</c:v>
                </c:pt>
                <c:pt idx="2">
                  <c:v>0.75</c:v>
                </c:pt>
                <c:pt idx="3">
                  <c:v>0.73</c:v>
                </c:pt>
                <c:pt idx="4">
                  <c:v>0.49</c:v>
                </c:pt>
                <c:pt idx="5">
                  <c:v>0.48</c:v>
                </c:pt>
                <c:pt idx="6">
                  <c:v>0.38</c:v>
                </c:pt>
                <c:pt idx="7">
                  <c:v>0.23</c:v>
                </c:pt>
                <c:pt idx="8">
                  <c:v>0.16</c:v>
                </c:pt>
                <c:pt idx="9">
                  <c:v>0.43</c:v>
                </c:pt>
                <c:pt idx="10">
                  <c:v>0.32</c:v>
                </c:pt>
                <c:pt idx="11">
                  <c:v>0.41</c:v>
                </c:pt>
                <c:pt idx="12">
                  <c:v>0.21</c:v>
                </c:pt>
                <c:pt idx="13">
                  <c:v>0.21</c:v>
                </c:pt>
                <c:pt idx="14">
                  <c:v>0.16</c:v>
                </c:pt>
                <c:pt idx="15">
                  <c:v>0.3</c:v>
                </c:pt>
                <c:pt idx="16">
                  <c:v>0.19</c:v>
                </c:pt>
                <c:pt idx="17">
                  <c:v>0.15</c:v>
                </c:pt>
                <c:pt idx="18">
                  <c:v>0.08</c:v>
                </c:pt>
                <c:pt idx="19">
                  <c:v>0.06</c:v>
                </c:pt>
                <c:pt idx="20">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BLC/BLC 2002 1CT X 750ML</c:v>
                </c:pt>
                <c:pt idx="14">
                  <c:v>CHAMPAGNE NICOLAS 1ERE CUV ETU 1CT X 750ML</c:v>
                </c:pt>
                <c:pt idx="15">
                  <c:v>CHAMPAGNE NICOLAS 1ER CRU ETUI 1CT X 750ML</c:v>
                </c:pt>
                <c:pt idx="16">
                  <c:v>CHAMPAGNE NICOLAS BLC DE NOIRS 1CT X 750ML</c:v>
                </c:pt>
                <c:pt idx="17">
                  <c:v>CHAMPAGNE NICOLAS ROSE 1E C BS 1CT X 750ML</c:v>
                </c:pt>
                <c:pt idx="18">
                  <c:v>CHAMPAGNE NICOLAS BLC/BL BS ET 1CT X 750ML</c:v>
                </c:pt>
                <c:pt idx="19">
                  <c:v>MG CHAMPAGNE NICOLAS 1E CRU BS 1CT X 1500ML</c:v>
                </c:pt>
                <c:pt idx="20">
                  <c:v>CHAMPAGNE NICOLAS ROSE 1ERE ET 1CT X 750ML</c:v>
                </c:pt>
              </c:strCache>
            </c:strRef>
          </c:cat>
          <c:val>
            <c:numRef>
              <c:f>Sheet1!$C$2:$C$22</c:f>
              <c:numCache>
                <c:formatCode>General</c:formatCode>
                <c:ptCount val="21"/>
                <c:pt idx="0">
                  <c:v>0.74890646123076354</c:v>
                </c:pt>
                <c:pt idx="1">
                  <c:v>0.80460378895905482</c:v>
                </c:pt>
                <c:pt idx="2">
                  <c:v>0.84771940221115205</c:v>
                </c:pt>
                <c:pt idx="3">
                  <c:v>0.89036834015444732</c:v>
                </c:pt>
                <c:pt idx="4">
                  <c:v>0.90995388803496358</c:v>
                </c:pt>
                <c:pt idx="5">
                  <c:v>0.92785051575029165</c:v>
                </c:pt>
                <c:pt idx="6">
                  <c:v>0.93819885553436178</c:v>
                </c:pt>
                <c:pt idx="7">
                  <c:v>0.9474138409970555</c:v>
                </c:pt>
                <c:pt idx="8">
                  <c:v>0.95536954388044226</c:v>
                </c:pt>
                <c:pt idx="9">
                  <c:v>0.96320302227819032</c:v>
                </c:pt>
                <c:pt idx="10">
                  <c:v>0.96994388784977503</c:v>
                </c:pt>
                <c:pt idx="11">
                  <c:v>0.97609585362691909</c:v>
                </c:pt>
                <c:pt idx="12">
                  <c:v>0.98132928387562735</c:v>
                </c:pt>
                <c:pt idx="13">
                  <c:v>0.98592936906239004</c:v>
                </c:pt>
                <c:pt idx="14">
                  <c:v>0.98941832256152895</c:v>
                </c:pt>
                <c:pt idx="15">
                  <c:v>0.99209614992870243</c:v>
                </c:pt>
                <c:pt idx="16">
                  <c:v>0.99437767366062335</c:v>
                </c:pt>
                <c:pt idx="17">
                  <c:v>0.99614807681623729</c:v>
                </c:pt>
                <c:pt idx="18">
                  <c:v>0.99787403470434632</c:v>
                </c:pt>
                <c:pt idx="19">
                  <c:v>0.9992777644030445</c:v>
                </c:pt>
                <c:pt idx="2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1/2 CHAMP NICOLAS BLC/BLC BS 1CT X 375ML</c:v>
                </c:pt>
                <c:pt idx="7">
                  <c:v>CHAMPAGNE NICOLAS BIO NAT 2017 1CT X 750ML</c:v>
                </c:pt>
                <c:pt idx="8">
                  <c:v>MG CHAMPAGNE NICOLAS BLC/BL BS 1CT X 1500ML</c:v>
                </c:pt>
                <c:pt idx="9">
                  <c:v>CHAMPAGNE NICOLAS ROSE 1ERE CU 1CT X 750ML</c:v>
                </c:pt>
                <c:pt idx="10">
                  <c:v>MG CHAMPAGNE NICOLAS 1ERE CUVE 1CT X 1500ML</c:v>
                </c:pt>
                <c:pt idx="11">
                  <c:v>1/2 CHAMP NICOLAS ROSE 1E C BS 1CT X 375ML</c:v>
                </c:pt>
                <c:pt idx="12">
                  <c:v>CHAMPAGNE NICOLAS 1ER CRU BS 1CT X 750ML</c:v>
                </c:pt>
                <c:pt idx="13">
                  <c:v>CHAMPAGNE NICOLAS BLC/BLC 2002 1CT X 750ML</c:v>
                </c:pt>
                <c:pt idx="14">
                  <c:v>CHAMPAGNE NICOLAS 1ERE CUV ETU 1CT X 750ML</c:v>
                </c:pt>
                <c:pt idx="15">
                  <c:v>CHAMPAGNE NICOLAS 1ER CRU ETUI 1CT X 750ML</c:v>
                </c:pt>
                <c:pt idx="16">
                  <c:v>CHAMPAGNE NICOLAS BLC DE NOIRS 1CT X 750ML</c:v>
                </c:pt>
                <c:pt idx="17">
                  <c:v>CHAMPAGNE NICOLAS ROSE 1E C BS 1CT X 750ML</c:v>
                </c:pt>
                <c:pt idx="18">
                  <c:v>CHAMPAGNE NICOLAS BLC/BL BS ET 1CT X 750ML</c:v>
                </c:pt>
                <c:pt idx="19">
                  <c:v>MG CHAMPAGNE NICOLAS 1E CRU BS 1CT X 1500ML</c:v>
                </c:pt>
                <c:pt idx="20">
                  <c:v>CHAMPAGNE NICOLAS ROSE 1ERE ET 1CT X 750ML</c:v>
                </c:pt>
              </c:strCache>
            </c:strRef>
          </c:cat>
          <c:val>
            <c:numRef>
              <c:f>Sheet1!$D$2:$D$22</c:f>
              <c:numCache>
                <c:formatCode>General</c:formatCode>
                <c:ptCount val="21"/>
                <c:pt idx="0">
                  <c:v>2042.4343434343434</c:v>
                </c:pt>
                <c:pt idx="1">
                  <c:v>181.18072289156626</c:v>
                </c:pt>
                <c:pt idx="2">
                  <c:v>155.21333333333334</c:v>
                </c:pt>
                <c:pt idx="3">
                  <c:v>157.73972602739727</c:v>
                </c:pt>
                <c:pt idx="4">
                  <c:v>107.91836734693878</c:v>
                </c:pt>
                <c:pt idx="5">
                  <c:v>100.66666666666667</c:v>
                </c:pt>
                <c:pt idx="6">
                  <c:v>73.526315789473685</c:v>
                </c:pt>
                <c:pt idx="7">
                  <c:v>108.17391304347827</c:v>
                </c:pt>
                <c:pt idx="8">
                  <c:v>134.25</c:v>
                </c:pt>
                <c:pt idx="9">
                  <c:v>49.186046511627907</c:v>
                </c:pt>
                <c:pt idx="10">
                  <c:v>56.875</c:v>
                </c:pt>
                <c:pt idx="11">
                  <c:v>40.512195121951223</c:v>
                </c:pt>
                <c:pt idx="12">
                  <c:v>67.285714285714292</c:v>
                </c:pt>
                <c:pt idx="13">
                  <c:v>59.142857142857146</c:v>
                </c:pt>
                <c:pt idx="14">
                  <c:v>58.875</c:v>
                </c:pt>
                <c:pt idx="15">
                  <c:v>24.1</c:v>
                </c:pt>
                <c:pt idx="16">
                  <c:v>32.421052631578945</c:v>
                </c:pt>
                <c:pt idx="17">
                  <c:v>31.866666666666667</c:v>
                </c:pt>
                <c:pt idx="18">
                  <c:v>58.25</c:v>
                </c:pt>
                <c:pt idx="19">
                  <c:v>63.166666666666664</c:v>
                </c:pt>
                <c:pt idx="20">
                  <c:v>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BLC 2002 1CT X 750ML</c:v>
                </c:pt>
                <c:pt idx="15">
                  <c:v>CHAMPAGNE NICOLAS BLC DE NOIRS 1CT X 750ML</c:v>
                </c:pt>
                <c:pt idx="16">
                  <c:v>1/2 CHAMP NICOLAS ROSE 1E C BS 1CT X 375ML</c:v>
                </c:pt>
                <c:pt idx="17">
                  <c:v>CHAMPAGNE NICOLAS 1ERE CUV ETU 1CT X 750ML</c:v>
                </c:pt>
                <c:pt idx="18">
                  <c:v>CHAMPAGNE NICOLAS ROSE 1E C BS 1CT X 750ML</c:v>
                </c:pt>
                <c:pt idx="19">
                  <c:v>MG CHAMPAGNE NICOLAS 1E CRU BS 1CT X 1500ML</c:v>
                </c:pt>
              </c:strCache>
            </c:strRef>
          </c:cat>
          <c:val>
            <c:numRef>
              <c:f>Sheet1!$B$2:$B$21</c:f>
              <c:numCache>
                <c:formatCode>General</c:formatCode>
                <c:ptCount val="20"/>
                <c:pt idx="0">
                  <c:v>1</c:v>
                </c:pt>
                <c:pt idx="1">
                  <c:v>0.63</c:v>
                </c:pt>
                <c:pt idx="2">
                  <c:v>0.52</c:v>
                </c:pt>
                <c:pt idx="3">
                  <c:v>0.64</c:v>
                </c:pt>
                <c:pt idx="4">
                  <c:v>0.49</c:v>
                </c:pt>
                <c:pt idx="5">
                  <c:v>0.31</c:v>
                </c:pt>
                <c:pt idx="6">
                  <c:v>0.37</c:v>
                </c:pt>
                <c:pt idx="7">
                  <c:v>0.41</c:v>
                </c:pt>
                <c:pt idx="8">
                  <c:v>0.3</c:v>
                </c:pt>
                <c:pt idx="9">
                  <c:v>0.32</c:v>
                </c:pt>
                <c:pt idx="10">
                  <c:v>0.27</c:v>
                </c:pt>
                <c:pt idx="11">
                  <c:v>0.22</c:v>
                </c:pt>
                <c:pt idx="12">
                  <c:v>0.43</c:v>
                </c:pt>
                <c:pt idx="13">
                  <c:v>0.2</c:v>
                </c:pt>
                <c:pt idx="14">
                  <c:v>0.2</c:v>
                </c:pt>
                <c:pt idx="15">
                  <c:v>0.17</c:v>
                </c:pt>
                <c:pt idx="16">
                  <c:v>0.28000000000000003</c:v>
                </c:pt>
                <c:pt idx="17">
                  <c:v>0.11</c:v>
                </c:pt>
                <c:pt idx="18">
                  <c:v>0.08</c:v>
                </c:pt>
                <c:pt idx="19">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BLC 2002 1CT X 750ML</c:v>
                </c:pt>
                <c:pt idx="15">
                  <c:v>CHAMPAGNE NICOLAS BLC DE NOIRS 1CT X 750ML</c:v>
                </c:pt>
                <c:pt idx="16">
                  <c:v>1/2 CHAMP NICOLAS ROSE 1E C BS 1CT X 375ML</c:v>
                </c:pt>
                <c:pt idx="17">
                  <c:v>CHAMPAGNE NICOLAS 1ERE CUV ETU 1CT X 750ML</c:v>
                </c:pt>
                <c:pt idx="18">
                  <c:v>CHAMPAGNE NICOLAS ROSE 1E C BS 1CT X 750ML</c:v>
                </c:pt>
                <c:pt idx="19">
                  <c:v>MG CHAMPAGNE NICOLAS 1E CRU BS 1CT X 1500ML</c:v>
                </c:pt>
              </c:strCache>
            </c:strRef>
          </c:cat>
          <c:val>
            <c:numRef>
              <c:f>Sheet1!$C$2:$C$21</c:f>
              <c:numCache>
                <c:formatCode>General</c:formatCode>
                <c:ptCount val="20"/>
                <c:pt idx="0">
                  <c:v>0.710659425188224</c:v>
                </c:pt>
                <c:pt idx="1">
                  <c:v>0.79592550290203024</c:v>
                </c:pt>
                <c:pt idx="2">
                  <c:v>0.8402096299231564</c:v>
                </c:pt>
                <c:pt idx="3">
                  <c:v>0.88185590079485321</c:v>
                </c:pt>
                <c:pt idx="4">
                  <c:v>0.91534385367862436</c:v>
                </c:pt>
                <c:pt idx="5">
                  <c:v>0.92802032586652983</c:v>
                </c:pt>
                <c:pt idx="6">
                  <c:v>0.9399042757356082</c:v>
                </c:pt>
                <c:pt idx="7">
                  <c:v>0.94903382205542985</c:v>
                </c:pt>
                <c:pt idx="8">
                  <c:v>0.95743300466966574</c:v>
                </c:pt>
                <c:pt idx="9">
                  <c:v>0.9656612510974879</c:v>
                </c:pt>
                <c:pt idx="10">
                  <c:v>0.97188488224827696</c:v>
                </c:pt>
                <c:pt idx="11">
                  <c:v>0.9777899505062041</c:v>
                </c:pt>
                <c:pt idx="12">
                  <c:v>0.98367947911082088</c:v>
                </c:pt>
                <c:pt idx="13">
                  <c:v>0.98751777347847358</c:v>
                </c:pt>
                <c:pt idx="14">
                  <c:v>0.99093261229341967</c:v>
                </c:pt>
                <c:pt idx="15">
                  <c:v>0.99421147914190033</c:v>
                </c:pt>
                <c:pt idx="16">
                  <c:v>0.99713681887757089</c:v>
                </c:pt>
                <c:pt idx="17">
                  <c:v>0.99833725709579424</c:v>
                </c:pt>
                <c:pt idx="18">
                  <c:v>0.99940949317420735</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MG CHAMPAGNE NICOLAS BLC/BL BS 1CT X 1500ML</c:v>
                </c:pt>
                <c:pt idx="6">
                  <c:v>1/2 CHAMPAGNE NICOLAS 1ERE CUV 1CT X 375ML</c:v>
                </c:pt>
                <c:pt idx="7">
                  <c:v>CHAMPAGNE NICOLAS ROSE 1ERE CU 1CT X 750ML</c:v>
                </c:pt>
                <c:pt idx="8">
                  <c:v>CHAMPAGNE NICOLAS 1ER CRU BS 1CT X 750ML</c:v>
                </c:pt>
                <c:pt idx="9">
                  <c:v>CHAMPAGNE NICOLAS BIO NAT 2017 1CT X 750ML</c:v>
                </c:pt>
                <c:pt idx="10">
                  <c:v>1/2 CHAMP NICOLAS BLC/BLC BS 1CT X 375ML</c:v>
                </c:pt>
                <c:pt idx="11">
                  <c:v>CHAMPAGNE NICOLAS 1ER CRU ETUI 1CT X 750ML</c:v>
                </c:pt>
                <c:pt idx="12">
                  <c:v>MG CHAMPAGNE NICOLAS 1ERE CUVE 1CT X 1500ML</c:v>
                </c:pt>
                <c:pt idx="13">
                  <c:v>CHAMPAGNE NICOLAS ROSE 1ERE ET 1CT X 750ML</c:v>
                </c:pt>
                <c:pt idx="14">
                  <c:v>CHAMPAGNE NICOLAS BLC/BLC 2002 1CT X 750ML</c:v>
                </c:pt>
                <c:pt idx="15">
                  <c:v>CHAMPAGNE NICOLAS BLC DE NOIRS 1CT X 750ML</c:v>
                </c:pt>
                <c:pt idx="16">
                  <c:v>1/2 CHAMP NICOLAS ROSE 1E C BS 1CT X 375ML</c:v>
                </c:pt>
                <c:pt idx="17">
                  <c:v>CHAMPAGNE NICOLAS 1ERE CUV ETU 1CT X 750ML</c:v>
                </c:pt>
                <c:pt idx="18">
                  <c:v>CHAMPAGNE NICOLAS ROSE 1E C BS 1CT X 750ML</c:v>
                </c:pt>
                <c:pt idx="19">
                  <c:v>MG CHAMPAGNE NICOLAS 1E CRU BS 1CT X 1500ML</c:v>
                </c:pt>
              </c:strCache>
            </c:strRef>
          </c:cat>
          <c:val>
            <c:numRef>
              <c:f>Sheet1!$D$2:$D$21</c:f>
              <c:numCache>
                <c:formatCode>General</c:formatCode>
                <c:ptCount val="20"/>
                <c:pt idx="0">
                  <c:v>1829.28</c:v>
                </c:pt>
                <c:pt idx="1">
                  <c:v>348.38095238095241</c:v>
                </c:pt>
                <c:pt idx="2">
                  <c:v>219.21153846153845</c:v>
                </c:pt>
                <c:pt idx="3">
                  <c:v>167.5</c:v>
                </c:pt>
                <c:pt idx="4">
                  <c:v>175.91836734693877</c:v>
                </c:pt>
                <c:pt idx="5">
                  <c:v>105.25806451612904</c:v>
                </c:pt>
                <c:pt idx="6">
                  <c:v>82.675675675675677</c:v>
                </c:pt>
                <c:pt idx="7">
                  <c:v>57.31707317073171</c:v>
                </c:pt>
                <c:pt idx="8">
                  <c:v>72.066666666666663</c:v>
                </c:pt>
                <c:pt idx="9">
                  <c:v>66.1875</c:v>
                </c:pt>
                <c:pt idx="10">
                  <c:v>59.333333333333336</c:v>
                </c:pt>
                <c:pt idx="11">
                  <c:v>69.090909090909093</c:v>
                </c:pt>
                <c:pt idx="12">
                  <c:v>35.255813953488371</c:v>
                </c:pt>
                <c:pt idx="13">
                  <c:v>49.4</c:v>
                </c:pt>
                <c:pt idx="14">
                  <c:v>43.95</c:v>
                </c:pt>
                <c:pt idx="15">
                  <c:v>49.647058823529413</c:v>
                </c:pt>
                <c:pt idx="16">
                  <c:v>26.892857142857139</c:v>
                </c:pt>
                <c:pt idx="17">
                  <c:v>28.09090909090909</c:v>
                </c:pt>
                <c:pt idx="18">
                  <c:v>34.5</c:v>
                </c:pt>
                <c:pt idx="19">
                  <c:v>3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B$2:$B$4</c:f>
              <c:numCache>
                <c:formatCode>General</c:formatCode>
                <c:ptCount val="3"/>
                <c:pt idx="0">
                  <c:v>0.44127722045510154</c:v>
                </c:pt>
                <c:pt idx="1">
                  <c:v>0.372155615365794</c:v>
                </c:pt>
                <c:pt idx="2">
                  <c:v>0.186567164179104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C$2:$C$4</c:f>
              <c:numCache>
                <c:formatCode>General</c:formatCode>
                <c:ptCount val="3"/>
                <c:pt idx="0">
                  <c:v>0.37453183520599254</c:v>
                </c:pt>
                <c:pt idx="1">
                  <c:v>0.19850187265917604</c:v>
                </c:pt>
                <c:pt idx="2">
                  <c:v>0.4269662921348314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D$2:$D$4</c:f>
              <c:numCache>
                <c:formatCode>General</c:formatCode>
                <c:ptCount val="3"/>
                <c:pt idx="0">
                  <c:v>84.874500165616382</c:v>
                </c:pt>
                <c:pt idx="1">
                  <c:v>53.338405888103381</c:v>
                </c:pt>
                <c:pt idx="2">
                  <c:v>228.8539325842696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LC/BLC 2002 1CT X 750ML</c:v>
                </c:pt>
                <c:pt idx="11">
                  <c:v>CHAMPAGNE NICOLAS BIO NAT 2017 1CT X 750ML</c:v>
                </c:pt>
                <c:pt idx="12">
                  <c:v>CHAMPAGNE NICOLAS 1ER CRU ETUI 1CT X 750ML</c:v>
                </c:pt>
                <c:pt idx="13">
                  <c:v>MG CHAMPAGNE NICOLAS BLC/BL BS 1CT X 1500ML</c:v>
                </c:pt>
                <c:pt idx="14">
                  <c:v>CHAMPAGNE NICOLAS BLC DE NOIRS 1CT X 750ML</c:v>
                </c:pt>
                <c:pt idx="15">
                  <c:v>1/2 CHAMP NICOLAS ROSE 1E C BS 1CT X 375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pt idx="21">
                  <c:v>MG CHAMPAGNE NICOLAS BRUT 1CT X 1500ML</c:v>
                </c:pt>
              </c:strCache>
            </c:strRef>
          </c:cat>
          <c:val>
            <c:numRef>
              <c:f>Sheet1!$B$2:$B$23</c:f>
              <c:numCache>
                <c:formatCode>General</c:formatCode>
                <c:ptCount val="22"/>
                <c:pt idx="0">
                  <c:v>1</c:v>
                </c:pt>
                <c:pt idx="1">
                  <c:v>0.67</c:v>
                </c:pt>
                <c:pt idx="2">
                  <c:v>0.9</c:v>
                </c:pt>
                <c:pt idx="3">
                  <c:v>0.68</c:v>
                </c:pt>
                <c:pt idx="4">
                  <c:v>0.61</c:v>
                </c:pt>
                <c:pt idx="5">
                  <c:v>0.52</c:v>
                </c:pt>
                <c:pt idx="6">
                  <c:v>0.34</c:v>
                </c:pt>
                <c:pt idx="7">
                  <c:v>0.38</c:v>
                </c:pt>
                <c:pt idx="8">
                  <c:v>0.3</c:v>
                </c:pt>
                <c:pt idx="9">
                  <c:v>0.65</c:v>
                </c:pt>
                <c:pt idx="10">
                  <c:v>0.22</c:v>
                </c:pt>
                <c:pt idx="11">
                  <c:v>0.28000000000000003</c:v>
                </c:pt>
                <c:pt idx="12">
                  <c:v>0.3</c:v>
                </c:pt>
                <c:pt idx="13">
                  <c:v>0.15</c:v>
                </c:pt>
                <c:pt idx="14">
                  <c:v>0.36</c:v>
                </c:pt>
                <c:pt idx="15">
                  <c:v>0.35</c:v>
                </c:pt>
                <c:pt idx="16">
                  <c:v>0.12</c:v>
                </c:pt>
                <c:pt idx="17">
                  <c:v>0.22</c:v>
                </c:pt>
                <c:pt idx="18">
                  <c:v>0.2</c:v>
                </c:pt>
                <c:pt idx="19">
                  <c:v>0.03</c:v>
                </c:pt>
                <c:pt idx="20">
                  <c:v>0.03</c:v>
                </c:pt>
                <c:pt idx="2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LC/BLC 2002 1CT X 750ML</c:v>
                </c:pt>
                <c:pt idx="11">
                  <c:v>CHAMPAGNE NICOLAS BIO NAT 2017 1CT X 750ML</c:v>
                </c:pt>
                <c:pt idx="12">
                  <c:v>CHAMPAGNE NICOLAS 1ER CRU ETUI 1CT X 750ML</c:v>
                </c:pt>
                <c:pt idx="13">
                  <c:v>MG CHAMPAGNE NICOLAS BLC/BL BS 1CT X 1500ML</c:v>
                </c:pt>
                <c:pt idx="14">
                  <c:v>CHAMPAGNE NICOLAS BLC DE NOIRS 1CT X 750ML</c:v>
                </c:pt>
                <c:pt idx="15">
                  <c:v>1/2 CHAMP NICOLAS ROSE 1E C BS 1CT X 375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pt idx="21">
                  <c:v>MG CHAMPAGNE NICOLAS BRUT 1CT X 1500ML</c:v>
                </c:pt>
              </c:strCache>
            </c:strRef>
          </c:cat>
          <c:val>
            <c:numRef>
              <c:f>Sheet1!$C$2:$C$23</c:f>
              <c:numCache>
                <c:formatCode>General</c:formatCode>
                <c:ptCount val="22"/>
                <c:pt idx="0">
                  <c:v>0.74885876927172645</c:v>
                </c:pt>
                <c:pt idx="1">
                  <c:v>0.8108571562800968</c:v>
                </c:pt>
                <c:pt idx="2">
                  <c:v>0.85826031805689318</c:v>
                </c:pt>
                <c:pt idx="3">
                  <c:v>0.89502243311174268</c:v>
                </c:pt>
                <c:pt idx="4">
                  <c:v>0.91678215999937351</c:v>
                </c:pt>
                <c:pt idx="5">
                  <c:v>0.93175322794077342</c:v>
                </c:pt>
                <c:pt idx="6">
                  <c:v>0.94308331963073455</c:v>
                </c:pt>
                <c:pt idx="7">
                  <c:v>0.95132053902108638</c:v>
                </c:pt>
                <c:pt idx="8">
                  <c:v>0.95892352383860691</c:v>
                </c:pt>
                <c:pt idx="9">
                  <c:v>0.96640122775285209</c:v>
                </c:pt>
                <c:pt idx="10">
                  <c:v>0.9723599007148841</c:v>
                </c:pt>
                <c:pt idx="11">
                  <c:v>0.97811499220909381</c:v>
                </c:pt>
                <c:pt idx="12">
                  <c:v>0.98220228167845092</c:v>
                </c:pt>
                <c:pt idx="13">
                  <c:v>0.98622693069617029</c:v>
                </c:pt>
                <c:pt idx="14">
                  <c:v>0.99025157971388966</c:v>
                </c:pt>
                <c:pt idx="15">
                  <c:v>0.99404132703796788</c:v>
                </c:pt>
                <c:pt idx="16">
                  <c:v>0.99599101109518995</c:v>
                </c:pt>
                <c:pt idx="17">
                  <c:v>0.99783890441850076</c:v>
                </c:pt>
                <c:pt idx="18">
                  <c:v>0.99848096904778672</c:v>
                </c:pt>
                <c:pt idx="19">
                  <c:v>0.99909171345125392</c:v>
                </c:pt>
                <c:pt idx="20">
                  <c:v>0.99967896768535691</c:v>
                </c:pt>
                <c:pt idx="2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1/2 CHAMP NICOLAS BLC/BLC BS 1CT X 375ML</c:v>
                </c:pt>
                <c:pt idx="8">
                  <c:v>MG CHAMPAGNE NICOLAS 1ERE CUVE 1CT X 1500ML</c:v>
                </c:pt>
                <c:pt idx="9">
                  <c:v>CHAMPAGNE NICOLAS 1ER CRU BS 1CT X 750ML</c:v>
                </c:pt>
                <c:pt idx="10">
                  <c:v>CHAMPAGNE NICOLAS BLC/BLC 2002 1CT X 750ML</c:v>
                </c:pt>
                <c:pt idx="11">
                  <c:v>CHAMPAGNE NICOLAS BIO NAT 2017 1CT X 750ML</c:v>
                </c:pt>
                <c:pt idx="12">
                  <c:v>CHAMPAGNE NICOLAS 1ER CRU ETUI 1CT X 750ML</c:v>
                </c:pt>
                <c:pt idx="13">
                  <c:v>MG CHAMPAGNE NICOLAS BLC/BL BS 1CT X 1500ML</c:v>
                </c:pt>
                <c:pt idx="14">
                  <c:v>CHAMPAGNE NICOLAS BLC DE NOIRS 1CT X 750ML</c:v>
                </c:pt>
                <c:pt idx="15">
                  <c:v>1/2 CHAMP NICOLAS ROSE 1E C BS 1CT X 375ML</c:v>
                </c:pt>
                <c:pt idx="16">
                  <c:v>CHAMPAGNE NICOLAS 1ERE CUV ETU 1CT X 750ML</c:v>
                </c:pt>
                <c:pt idx="17">
                  <c:v>CHAMPAGNE NICOLAS ROSE 1ERE ET 1CT X 750ML</c:v>
                </c:pt>
                <c:pt idx="18">
                  <c:v>CHAMPAGNE NICOLAS ROSE 1E C BS 1CT X 750ML</c:v>
                </c:pt>
                <c:pt idx="19">
                  <c:v>CHAMPAGNE NICOLAS BLC/BL BS ET 1CT X 750ML</c:v>
                </c:pt>
                <c:pt idx="20">
                  <c:v>MG CHAMPAGNE NICOLAS 1E CRU BS 1CT X 1500ML</c:v>
                </c:pt>
                <c:pt idx="21">
                  <c:v>MG CHAMPAGNE NICOLAS BRUT 1CT X 1500ML</c:v>
                </c:pt>
              </c:strCache>
            </c:strRef>
          </c:cat>
          <c:val>
            <c:numRef>
              <c:f>Sheet1!$D$2:$D$23</c:f>
              <c:numCache>
                <c:formatCode>General</c:formatCode>
                <c:ptCount val="22"/>
                <c:pt idx="0">
                  <c:v>956.39</c:v>
                </c:pt>
                <c:pt idx="1">
                  <c:v>118.17910447761194</c:v>
                </c:pt>
                <c:pt idx="2">
                  <c:v>67.266666666666666</c:v>
                </c:pt>
                <c:pt idx="3">
                  <c:v>69.044117647058826</c:v>
                </c:pt>
                <c:pt idx="4">
                  <c:v>45.557377049180324</c:v>
                </c:pt>
                <c:pt idx="5">
                  <c:v>36.769230769230766</c:v>
                </c:pt>
                <c:pt idx="6">
                  <c:v>42.558823529411768</c:v>
                </c:pt>
                <c:pt idx="7">
                  <c:v>27.684210526315791</c:v>
                </c:pt>
                <c:pt idx="8">
                  <c:v>32.366666666666667</c:v>
                </c:pt>
                <c:pt idx="9">
                  <c:v>14.692307692307692</c:v>
                </c:pt>
                <c:pt idx="10">
                  <c:v>34.590909090909093</c:v>
                </c:pt>
                <c:pt idx="11">
                  <c:v>26.249999999999996</c:v>
                </c:pt>
                <c:pt idx="12">
                  <c:v>17.399999999999999</c:v>
                </c:pt>
                <c:pt idx="13">
                  <c:v>34.266666666666666</c:v>
                </c:pt>
                <c:pt idx="14">
                  <c:v>14.277777777777779</c:v>
                </c:pt>
                <c:pt idx="15">
                  <c:v>13.828571428571429</c:v>
                </c:pt>
                <c:pt idx="16">
                  <c:v>20.75</c:v>
                </c:pt>
                <c:pt idx="17">
                  <c:v>10.727272727272727</c:v>
                </c:pt>
                <c:pt idx="18">
                  <c:v>4.0999999999999996</c:v>
                </c:pt>
                <c:pt idx="19">
                  <c:v>26</c:v>
                </c:pt>
                <c:pt idx="20">
                  <c:v>25</c:v>
                </c:pt>
                <c:pt idx="21">
                  <c:v>5.8571428571428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CHAMPAGNE NICOLAS BLC/BLC 2002 1CT X 750ML</c:v>
                </c:pt>
                <c:pt idx="10">
                  <c:v>1/2 CHAMP NICOLAS ROSE 1E C BS 1CT X 375ML</c:v>
                </c:pt>
                <c:pt idx="11">
                  <c:v>CHAMPAGNE NICOLAS BIO NAT 2017 1CT X 750ML</c:v>
                </c:pt>
                <c:pt idx="12">
                  <c:v>CHAMPAGNE NICOLAS 1ERE CUV ETU 1CT X 750ML</c:v>
                </c:pt>
                <c:pt idx="13">
                  <c:v>CHAMPAGNE NICOLAS 1ER CRU BS 1CT X 750ML</c:v>
                </c:pt>
                <c:pt idx="14">
                  <c:v>MG CHAMPAGNE NICOLAS 1ERE CUVE 1CT X 1500ML</c:v>
                </c:pt>
                <c:pt idx="15">
                  <c:v>CHAMPAGNE NICOLAS ROSE 1ERE ET 1CT X 750ML</c:v>
                </c:pt>
                <c:pt idx="16">
                  <c:v>CHAMPAGNE NICOLAS BLC DE NOIRS 1CT X 750ML</c:v>
                </c:pt>
                <c:pt idx="17">
                  <c:v>CHAMPAGNE NICOLAS 1ER CRU ETUI 1CT X 750ML</c:v>
                </c:pt>
                <c:pt idx="18">
                  <c:v>CHAMPAGNE NICOLAS ROSE 1E C BS 1CT X 750ML</c:v>
                </c:pt>
              </c:strCache>
            </c:strRef>
          </c:cat>
          <c:val>
            <c:numRef>
              <c:f>Sheet1!$B$2:$B$20</c:f>
              <c:numCache>
                <c:formatCode>General</c:formatCode>
                <c:ptCount val="19"/>
                <c:pt idx="0">
                  <c:v>1</c:v>
                </c:pt>
                <c:pt idx="1">
                  <c:v>0.87</c:v>
                </c:pt>
                <c:pt idx="2">
                  <c:v>0.84</c:v>
                </c:pt>
                <c:pt idx="3">
                  <c:v>0.63</c:v>
                </c:pt>
                <c:pt idx="4">
                  <c:v>0.54</c:v>
                </c:pt>
                <c:pt idx="5">
                  <c:v>0.62</c:v>
                </c:pt>
                <c:pt idx="6">
                  <c:v>0.47</c:v>
                </c:pt>
                <c:pt idx="7">
                  <c:v>0.62</c:v>
                </c:pt>
                <c:pt idx="8">
                  <c:v>0.41</c:v>
                </c:pt>
                <c:pt idx="9">
                  <c:v>0.34</c:v>
                </c:pt>
                <c:pt idx="10">
                  <c:v>0.49</c:v>
                </c:pt>
                <c:pt idx="11">
                  <c:v>0.33</c:v>
                </c:pt>
                <c:pt idx="12">
                  <c:v>0.19</c:v>
                </c:pt>
                <c:pt idx="13">
                  <c:v>0.62</c:v>
                </c:pt>
                <c:pt idx="14">
                  <c:v>0.36</c:v>
                </c:pt>
                <c:pt idx="15">
                  <c:v>0.28000000000000003</c:v>
                </c:pt>
                <c:pt idx="16">
                  <c:v>0.08</c:v>
                </c:pt>
                <c:pt idx="17">
                  <c:v>0.17</c:v>
                </c:pt>
                <c:pt idx="18">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CHAMPAGNE NICOLAS BLC/BLC 2002 1CT X 750ML</c:v>
                </c:pt>
                <c:pt idx="10">
                  <c:v>1/2 CHAMP NICOLAS ROSE 1E C BS 1CT X 375ML</c:v>
                </c:pt>
                <c:pt idx="11">
                  <c:v>CHAMPAGNE NICOLAS BIO NAT 2017 1CT X 750ML</c:v>
                </c:pt>
                <c:pt idx="12">
                  <c:v>CHAMPAGNE NICOLAS 1ERE CUV ETU 1CT X 750ML</c:v>
                </c:pt>
                <c:pt idx="13">
                  <c:v>CHAMPAGNE NICOLAS 1ER CRU BS 1CT X 750ML</c:v>
                </c:pt>
                <c:pt idx="14">
                  <c:v>MG CHAMPAGNE NICOLAS 1ERE CUVE 1CT X 1500ML</c:v>
                </c:pt>
                <c:pt idx="15">
                  <c:v>CHAMPAGNE NICOLAS ROSE 1ERE ET 1CT X 750ML</c:v>
                </c:pt>
                <c:pt idx="16">
                  <c:v>CHAMPAGNE NICOLAS BLC DE NOIRS 1CT X 750ML</c:v>
                </c:pt>
                <c:pt idx="17">
                  <c:v>CHAMPAGNE NICOLAS 1ER CRU ETUI 1CT X 750ML</c:v>
                </c:pt>
                <c:pt idx="18">
                  <c:v>CHAMPAGNE NICOLAS ROSE 1E C BS 1CT X 750ML</c:v>
                </c:pt>
              </c:strCache>
            </c:strRef>
          </c:cat>
          <c:val>
            <c:numRef>
              <c:f>Sheet1!$C$2:$C$20</c:f>
              <c:numCache>
                <c:formatCode>General</c:formatCode>
                <c:ptCount val="19"/>
                <c:pt idx="0">
                  <c:v>0.66382878089156905</c:v>
                </c:pt>
                <c:pt idx="1">
                  <c:v>0.75866146387607891</c:v>
                </c:pt>
                <c:pt idx="2">
                  <c:v>0.82185172046825106</c:v>
                </c:pt>
                <c:pt idx="3">
                  <c:v>0.84826770722478406</c:v>
                </c:pt>
                <c:pt idx="4">
                  <c:v>0.87335934728627163</c:v>
                </c:pt>
                <c:pt idx="5">
                  <c:v>0.89252690079224306</c:v>
                </c:pt>
                <c:pt idx="6">
                  <c:v>0.91040558117535764</c:v>
                </c:pt>
                <c:pt idx="7">
                  <c:v>0.9275274920184462</c:v>
                </c:pt>
                <c:pt idx="8">
                  <c:v>0.94139765874423553</c:v>
                </c:pt>
                <c:pt idx="9">
                  <c:v>0.94979307082889908</c:v>
                </c:pt>
                <c:pt idx="10">
                  <c:v>0.95810571124512234</c:v>
                </c:pt>
                <c:pt idx="11">
                  <c:v>0.96573252926569697</c:v>
                </c:pt>
                <c:pt idx="12">
                  <c:v>0.9733593472862716</c:v>
                </c:pt>
                <c:pt idx="13">
                  <c:v>0.98069055220527357</c:v>
                </c:pt>
                <c:pt idx="14">
                  <c:v>0.98785621378739485</c:v>
                </c:pt>
                <c:pt idx="15">
                  <c:v>0.99464349059950319</c:v>
                </c:pt>
                <c:pt idx="16">
                  <c:v>0.9972094123211539</c:v>
                </c:pt>
                <c:pt idx="17">
                  <c:v>0.99868747782901723</c:v>
                </c:pt>
                <c:pt idx="18">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CHAMPAGNE E.NICOLAS BRUT 1CT X 750ML</c:v>
                </c:pt>
                <c:pt idx="1">
                  <c:v>CHAMPAGNE NICOLAS BLC/BLC BS 1CT X 750ML</c:v>
                </c:pt>
                <c:pt idx="2">
                  <c:v>CHAMPAGNE E.NICOLAS ROSE 1CT X 750ML</c:v>
                </c:pt>
                <c:pt idx="3">
                  <c:v>MG CHAMPAGNE NICOLAS BLC/BL BS 1CT X 1500ML</c:v>
                </c:pt>
                <c:pt idx="4">
                  <c:v>CHAMPAGNE NICOLAS 1ERE CUVEE 1CT X 750ML</c:v>
                </c:pt>
                <c:pt idx="5">
                  <c:v>MG CHAMPAGNE E.NICOLAS BRUT 1CT X 1500ML</c:v>
                </c:pt>
                <c:pt idx="6">
                  <c:v>1/2 CHAMP NICOLAS BLC/BLC BS 1CT X 375ML</c:v>
                </c:pt>
                <c:pt idx="7">
                  <c:v>CHAMPAGNE NICOLAS ROSE 1ERE CU 1CT X 750ML</c:v>
                </c:pt>
                <c:pt idx="8">
                  <c:v>1/2 CHAMPAGNE NICOLAS 1ERE CUV 1CT X 375ML</c:v>
                </c:pt>
                <c:pt idx="9">
                  <c:v>CHAMPAGNE NICOLAS BLC/BLC 2002 1CT X 750ML</c:v>
                </c:pt>
                <c:pt idx="10">
                  <c:v>1/2 CHAMP NICOLAS ROSE 1E C BS 1CT X 375ML</c:v>
                </c:pt>
                <c:pt idx="11">
                  <c:v>CHAMPAGNE NICOLAS BIO NAT 2017 1CT X 750ML</c:v>
                </c:pt>
                <c:pt idx="12">
                  <c:v>CHAMPAGNE NICOLAS 1ERE CUV ETU 1CT X 750ML</c:v>
                </c:pt>
                <c:pt idx="13">
                  <c:v>CHAMPAGNE NICOLAS 1ER CRU BS 1CT X 750ML</c:v>
                </c:pt>
                <c:pt idx="14">
                  <c:v>MG CHAMPAGNE NICOLAS 1ERE CUVE 1CT X 1500ML</c:v>
                </c:pt>
                <c:pt idx="15">
                  <c:v>CHAMPAGNE NICOLAS ROSE 1ERE ET 1CT X 750ML</c:v>
                </c:pt>
                <c:pt idx="16">
                  <c:v>CHAMPAGNE NICOLAS BLC DE NOIRS 1CT X 750ML</c:v>
                </c:pt>
                <c:pt idx="17">
                  <c:v>CHAMPAGNE NICOLAS 1ER CRU ETUI 1CT X 750ML</c:v>
                </c:pt>
                <c:pt idx="18">
                  <c:v>CHAMPAGNE NICOLAS ROSE 1E C BS 1CT X 750ML</c:v>
                </c:pt>
              </c:strCache>
            </c:strRef>
          </c:cat>
          <c:val>
            <c:numRef>
              <c:f>Sheet1!$D$2:$D$20</c:f>
              <c:numCache>
                <c:formatCode>General</c:formatCode>
                <c:ptCount val="19"/>
                <c:pt idx="0">
                  <c:v>561.4</c:v>
                </c:pt>
                <c:pt idx="1">
                  <c:v>92.183908045977006</c:v>
                </c:pt>
                <c:pt idx="2">
                  <c:v>63.61904761904762</c:v>
                </c:pt>
                <c:pt idx="3">
                  <c:v>35.460317460317462</c:v>
                </c:pt>
                <c:pt idx="4">
                  <c:v>39.296296296296298</c:v>
                </c:pt>
                <c:pt idx="5">
                  <c:v>26.14516129032258</c:v>
                </c:pt>
                <c:pt idx="6">
                  <c:v>32.170212765957444</c:v>
                </c:pt>
                <c:pt idx="7">
                  <c:v>23.35483870967742</c:v>
                </c:pt>
                <c:pt idx="8">
                  <c:v>28.609756097560975</c:v>
                </c:pt>
                <c:pt idx="9">
                  <c:v>20.882352941176471</c:v>
                </c:pt>
                <c:pt idx="10">
                  <c:v>14.346938775510203</c:v>
                </c:pt>
                <c:pt idx="11">
                  <c:v>19.545454545454547</c:v>
                </c:pt>
                <c:pt idx="12">
                  <c:v>33.94736842105263</c:v>
                </c:pt>
                <c:pt idx="13">
                  <c:v>10</c:v>
                </c:pt>
                <c:pt idx="14">
                  <c:v>16.833333333333332</c:v>
                </c:pt>
                <c:pt idx="15">
                  <c:v>20.499999999999996</c:v>
                </c:pt>
                <c:pt idx="16">
                  <c:v>27.125</c:v>
                </c:pt>
                <c:pt idx="17">
                  <c:v>7.3529411764705879</c:v>
                </c:pt>
                <c:pt idx="18">
                  <c:v>6.5294117647058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BLC/BLC 2002 1CT X 750ML</c:v>
                </c:pt>
                <c:pt idx="12">
                  <c:v>CHAMPAGNE NICOLAS ROSE 1ERE CU 1CT X 750ML</c:v>
                </c:pt>
                <c:pt idx="13">
                  <c:v>CHAMPAGNE NICOLAS BLC DE NOIRS 1CT X 750ML</c:v>
                </c:pt>
                <c:pt idx="14">
                  <c:v>MG CHAMPAGNE NICOLAS 1ERE CUVE 1CT X 1500ML</c:v>
                </c:pt>
                <c:pt idx="15">
                  <c:v>CHAMPAGNE NICOLAS ROSE 1ERE ET 1CT X 750ML</c:v>
                </c:pt>
                <c:pt idx="16">
                  <c:v>CHAMPAGNE NICOLAS 1ER CRU ETUI 1CT X 750ML</c:v>
                </c:pt>
                <c:pt idx="17">
                  <c:v>CHAMPAGNE NICOLAS ROSE 1E C BS 1CT X 750ML</c:v>
                </c:pt>
                <c:pt idx="18">
                  <c:v>CHAMPAGNE NICOLAS 1ERE CUV ETU 1CT X 750ML</c:v>
                </c:pt>
                <c:pt idx="19">
                  <c:v>CHAMPAGNE NICOLAS BLC/BL BS ET 1CT X 750ML</c:v>
                </c:pt>
                <c:pt idx="20">
                  <c:v>MG CHAMPAGNE NICOLAS 1E CRU BS 1CT X 1500ML</c:v>
                </c:pt>
              </c:strCache>
            </c:strRef>
          </c:cat>
          <c:val>
            <c:numRef>
              <c:f>Sheet1!$B$2:$B$22</c:f>
              <c:numCache>
                <c:formatCode>General</c:formatCode>
                <c:ptCount val="21"/>
                <c:pt idx="0">
                  <c:v>1</c:v>
                </c:pt>
                <c:pt idx="1">
                  <c:v>0.55000000000000004</c:v>
                </c:pt>
                <c:pt idx="2">
                  <c:v>0.75</c:v>
                </c:pt>
                <c:pt idx="3">
                  <c:v>0.75</c:v>
                </c:pt>
                <c:pt idx="4">
                  <c:v>0.46</c:v>
                </c:pt>
                <c:pt idx="5">
                  <c:v>0.61</c:v>
                </c:pt>
                <c:pt idx="6">
                  <c:v>0.4</c:v>
                </c:pt>
                <c:pt idx="7">
                  <c:v>0.35</c:v>
                </c:pt>
                <c:pt idx="8">
                  <c:v>0.56000000000000005</c:v>
                </c:pt>
                <c:pt idx="9">
                  <c:v>0.3</c:v>
                </c:pt>
                <c:pt idx="10">
                  <c:v>0.28000000000000003</c:v>
                </c:pt>
                <c:pt idx="11">
                  <c:v>0.11</c:v>
                </c:pt>
                <c:pt idx="12">
                  <c:v>0.36</c:v>
                </c:pt>
                <c:pt idx="13">
                  <c:v>0.2</c:v>
                </c:pt>
                <c:pt idx="14">
                  <c:v>0.21</c:v>
                </c:pt>
                <c:pt idx="15">
                  <c:v>0.18</c:v>
                </c:pt>
                <c:pt idx="16">
                  <c:v>7.0000000000000007E-2</c:v>
                </c:pt>
                <c:pt idx="17">
                  <c:v>0.24</c:v>
                </c:pt>
                <c:pt idx="18">
                  <c:v>0.12</c:v>
                </c:pt>
                <c:pt idx="19">
                  <c:v>0.13</c:v>
                </c:pt>
                <c:pt idx="20">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BLC/BLC 2002 1CT X 750ML</c:v>
                </c:pt>
                <c:pt idx="12">
                  <c:v>CHAMPAGNE NICOLAS ROSE 1ERE CU 1CT X 750ML</c:v>
                </c:pt>
                <c:pt idx="13">
                  <c:v>CHAMPAGNE NICOLAS BLC DE NOIRS 1CT X 750ML</c:v>
                </c:pt>
                <c:pt idx="14">
                  <c:v>MG CHAMPAGNE NICOLAS 1ERE CUVE 1CT X 1500ML</c:v>
                </c:pt>
                <c:pt idx="15">
                  <c:v>CHAMPAGNE NICOLAS ROSE 1ERE ET 1CT X 750ML</c:v>
                </c:pt>
                <c:pt idx="16">
                  <c:v>CHAMPAGNE NICOLAS 1ER CRU ETUI 1CT X 750ML</c:v>
                </c:pt>
                <c:pt idx="17">
                  <c:v>CHAMPAGNE NICOLAS ROSE 1E C BS 1CT X 750ML</c:v>
                </c:pt>
                <c:pt idx="18">
                  <c:v>CHAMPAGNE NICOLAS 1ERE CUV ETU 1CT X 750ML</c:v>
                </c:pt>
                <c:pt idx="19">
                  <c:v>CHAMPAGNE NICOLAS BLC/BL BS ET 1CT X 750ML</c:v>
                </c:pt>
                <c:pt idx="20">
                  <c:v>MG CHAMPAGNE NICOLAS 1E CRU BS 1CT X 1500ML</c:v>
                </c:pt>
              </c:strCache>
            </c:strRef>
          </c:cat>
          <c:val>
            <c:numRef>
              <c:f>Sheet1!$C$2:$C$22</c:f>
              <c:numCache>
                <c:formatCode>General</c:formatCode>
                <c:ptCount val="21"/>
                <c:pt idx="0">
                  <c:v>0.73095969131211425</c:v>
                </c:pt>
                <c:pt idx="1">
                  <c:v>0.79009732313697079</c:v>
                </c:pt>
                <c:pt idx="2">
                  <c:v>0.83392134052927014</c:v>
                </c:pt>
                <c:pt idx="3">
                  <c:v>0.86981838523688748</c:v>
                </c:pt>
                <c:pt idx="4">
                  <c:v>0.898761052946075</c:v>
                </c:pt>
                <c:pt idx="5">
                  <c:v>0.91283508464125207</c:v>
                </c:pt>
                <c:pt idx="6">
                  <c:v>0.92648956525608506</c:v>
                </c:pt>
                <c:pt idx="7">
                  <c:v>0.9369783422646859</c:v>
                </c:pt>
                <c:pt idx="8">
                  <c:v>0.94663437394714933</c:v>
                </c:pt>
                <c:pt idx="9">
                  <c:v>0.95599799124028206</c:v>
                </c:pt>
                <c:pt idx="10">
                  <c:v>0.96406481428507873</c:v>
                </c:pt>
                <c:pt idx="11">
                  <c:v>0.97019280279192188</c:v>
                </c:pt>
                <c:pt idx="12">
                  <c:v>0.9760220200748837</c:v>
                </c:pt>
                <c:pt idx="13">
                  <c:v>0.98134269059379209</c:v>
                </c:pt>
                <c:pt idx="14">
                  <c:v>0.98615481434864716</c:v>
                </c:pt>
                <c:pt idx="15">
                  <c:v>0.99028675680658085</c:v>
                </c:pt>
                <c:pt idx="16">
                  <c:v>0.9930456230015704</c:v>
                </c:pt>
                <c:pt idx="17">
                  <c:v>0.99511795106508794</c:v>
                </c:pt>
                <c:pt idx="18">
                  <c:v>0.99707585610669347</c:v>
                </c:pt>
                <c:pt idx="19">
                  <c:v>0.99855064172244823</c:v>
                </c:pt>
                <c:pt idx="20">
                  <c:v>1.0000000000000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2</c:f>
              <c:strCache>
                <c:ptCount val="2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1ER CRU BS 1CT X 750ML</c:v>
                </c:pt>
                <c:pt idx="9">
                  <c:v>CHAMPAGNE NICOLAS BIO NAT 2017 1CT X 750ML</c:v>
                </c:pt>
                <c:pt idx="10">
                  <c:v>1/2 CHAMP NICOLAS ROSE 1E C BS 1CT X 375ML</c:v>
                </c:pt>
                <c:pt idx="11">
                  <c:v>CHAMPAGNE NICOLAS BLC/BLC 2002 1CT X 750ML</c:v>
                </c:pt>
                <c:pt idx="12">
                  <c:v>CHAMPAGNE NICOLAS ROSE 1ERE CU 1CT X 750ML</c:v>
                </c:pt>
                <c:pt idx="13">
                  <c:v>CHAMPAGNE NICOLAS BLC DE NOIRS 1CT X 750ML</c:v>
                </c:pt>
                <c:pt idx="14">
                  <c:v>MG CHAMPAGNE NICOLAS 1ERE CUVE 1CT X 1500ML</c:v>
                </c:pt>
                <c:pt idx="15">
                  <c:v>CHAMPAGNE NICOLAS ROSE 1ERE ET 1CT X 750ML</c:v>
                </c:pt>
                <c:pt idx="16">
                  <c:v>CHAMPAGNE NICOLAS 1ER CRU ETUI 1CT X 750ML</c:v>
                </c:pt>
                <c:pt idx="17">
                  <c:v>CHAMPAGNE NICOLAS ROSE 1E C BS 1CT X 750ML</c:v>
                </c:pt>
                <c:pt idx="18">
                  <c:v>CHAMPAGNE NICOLAS 1ERE CUV ETU 1CT X 750ML</c:v>
                </c:pt>
                <c:pt idx="19">
                  <c:v>CHAMPAGNE NICOLAS BLC/BL BS ET 1CT X 750ML</c:v>
                </c:pt>
                <c:pt idx="20">
                  <c:v>MG CHAMPAGNE NICOLAS 1E CRU BS 1CT X 1500ML</c:v>
                </c:pt>
              </c:strCache>
            </c:strRef>
          </c:cat>
          <c:val>
            <c:numRef>
              <c:f>Sheet1!$D$2:$D$22</c:f>
              <c:numCache>
                <c:formatCode>General</c:formatCode>
                <c:ptCount val="21"/>
                <c:pt idx="0">
                  <c:v>1149.8800000000001</c:v>
                </c:pt>
                <c:pt idx="1">
                  <c:v>169.14545454545453</c:v>
                </c:pt>
                <c:pt idx="2">
                  <c:v>91.92</c:v>
                </c:pt>
                <c:pt idx="3">
                  <c:v>75.293333333333337</c:v>
                </c:pt>
                <c:pt idx="4">
                  <c:v>98.978260869565219</c:v>
                </c:pt>
                <c:pt idx="5">
                  <c:v>36.295081967213115</c:v>
                </c:pt>
                <c:pt idx="6">
                  <c:v>53.7</c:v>
                </c:pt>
                <c:pt idx="7">
                  <c:v>47.142857142857146</c:v>
                </c:pt>
                <c:pt idx="8">
                  <c:v>27.124999999999996</c:v>
                </c:pt>
                <c:pt idx="9">
                  <c:v>49.1</c:v>
                </c:pt>
                <c:pt idx="10">
                  <c:v>45.321428571428562</c:v>
                </c:pt>
                <c:pt idx="11">
                  <c:v>87.63636363636364</c:v>
                </c:pt>
                <c:pt idx="12">
                  <c:v>25.472222222222221</c:v>
                </c:pt>
                <c:pt idx="13">
                  <c:v>41.85</c:v>
                </c:pt>
                <c:pt idx="14">
                  <c:v>36.047619047619051</c:v>
                </c:pt>
                <c:pt idx="15">
                  <c:v>36.111111111111114</c:v>
                </c:pt>
                <c:pt idx="16">
                  <c:v>61.999999999999993</c:v>
                </c:pt>
                <c:pt idx="17">
                  <c:v>13.583333333333334</c:v>
                </c:pt>
                <c:pt idx="18">
                  <c:v>25.666666666666668</c:v>
                </c:pt>
                <c:pt idx="19">
                  <c:v>17.846153846153847</c:v>
                </c:pt>
                <c:pt idx="20">
                  <c:v>32.57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BLC/BLC 2002 1CT X 750ML</c:v>
                </c:pt>
                <c:pt idx="13">
                  <c:v>CHAMPAGNE NICOLAS ROSE 1ERE CU 1CT X 750ML</c:v>
                </c:pt>
                <c:pt idx="14">
                  <c:v>CHAMPAGNE NICOLAS ROSE 1ERE ET 1CT X 750ML</c:v>
                </c:pt>
                <c:pt idx="15">
                  <c:v>CHAMPAGNE NICOLAS BLC DE NOIRS 1CT X 750ML</c:v>
                </c:pt>
                <c:pt idx="16">
                  <c:v>CHAMPAGNE NICOLAS 1ERE CUV ETU 1CT X 750ML</c:v>
                </c:pt>
                <c:pt idx="17">
                  <c:v>CHAMPAGNE NICOLAS 1ER CRU ETUI 1CT X 750ML</c:v>
                </c:pt>
                <c:pt idx="18">
                  <c:v>CHAMPAGNE NICOLAS BLC/BL BS ET 1CT X 750ML</c:v>
                </c:pt>
                <c:pt idx="19">
                  <c:v>CHAMPAGNE NICOLAS ROSE 1E C BS 1CT X 750ML</c:v>
                </c:pt>
                <c:pt idx="20">
                  <c:v>MG CHAMPAGNE NICOLAS 1E CRU BS 1CT X 1500ML</c:v>
                </c:pt>
                <c:pt idx="21">
                  <c:v>1/2 CHAMPAGNE NICOLAS 1E C BS 1CT X 375ML</c:v>
                </c:pt>
              </c:strCache>
            </c:strRef>
          </c:cat>
          <c:val>
            <c:numRef>
              <c:f>Sheet1!$B$2:$B$23</c:f>
              <c:numCache>
                <c:formatCode>General</c:formatCode>
                <c:ptCount val="22"/>
                <c:pt idx="0">
                  <c:v>1</c:v>
                </c:pt>
                <c:pt idx="1">
                  <c:v>0.65</c:v>
                </c:pt>
                <c:pt idx="2">
                  <c:v>0.71</c:v>
                </c:pt>
                <c:pt idx="3">
                  <c:v>0.87</c:v>
                </c:pt>
                <c:pt idx="4">
                  <c:v>0.4</c:v>
                </c:pt>
                <c:pt idx="5">
                  <c:v>0.45</c:v>
                </c:pt>
                <c:pt idx="6">
                  <c:v>0.35</c:v>
                </c:pt>
                <c:pt idx="7">
                  <c:v>0.43</c:v>
                </c:pt>
                <c:pt idx="8">
                  <c:v>0.28000000000000003</c:v>
                </c:pt>
                <c:pt idx="9">
                  <c:v>0.28000000000000003</c:v>
                </c:pt>
                <c:pt idx="10">
                  <c:v>0.3</c:v>
                </c:pt>
                <c:pt idx="11">
                  <c:v>0.34</c:v>
                </c:pt>
                <c:pt idx="12">
                  <c:v>0.17</c:v>
                </c:pt>
                <c:pt idx="13">
                  <c:v>0.19</c:v>
                </c:pt>
                <c:pt idx="14">
                  <c:v>0.27</c:v>
                </c:pt>
                <c:pt idx="15">
                  <c:v>0.17</c:v>
                </c:pt>
                <c:pt idx="16">
                  <c:v>0.1</c:v>
                </c:pt>
                <c:pt idx="17">
                  <c:v>0.15</c:v>
                </c:pt>
                <c:pt idx="18">
                  <c:v>7.0000000000000007E-2</c:v>
                </c:pt>
                <c:pt idx="19">
                  <c:v>0.12</c:v>
                </c:pt>
                <c:pt idx="20">
                  <c:v>0.11</c:v>
                </c:pt>
                <c:pt idx="21">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BLC/BLC 2002 1CT X 750ML</c:v>
                </c:pt>
                <c:pt idx="13">
                  <c:v>CHAMPAGNE NICOLAS ROSE 1ERE CU 1CT X 750ML</c:v>
                </c:pt>
                <c:pt idx="14">
                  <c:v>CHAMPAGNE NICOLAS ROSE 1ERE ET 1CT X 750ML</c:v>
                </c:pt>
                <c:pt idx="15">
                  <c:v>CHAMPAGNE NICOLAS BLC DE NOIRS 1CT X 750ML</c:v>
                </c:pt>
                <c:pt idx="16">
                  <c:v>CHAMPAGNE NICOLAS 1ERE CUV ETU 1CT X 750ML</c:v>
                </c:pt>
                <c:pt idx="17">
                  <c:v>CHAMPAGNE NICOLAS 1ER CRU ETUI 1CT X 750ML</c:v>
                </c:pt>
                <c:pt idx="18">
                  <c:v>CHAMPAGNE NICOLAS BLC/BL BS ET 1CT X 750ML</c:v>
                </c:pt>
                <c:pt idx="19">
                  <c:v>CHAMPAGNE NICOLAS ROSE 1E C BS 1CT X 750ML</c:v>
                </c:pt>
                <c:pt idx="20">
                  <c:v>MG CHAMPAGNE NICOLAS 1E CRU BS 1CT X 1500ML</c:v>
                </c:pt>
                <c:pt idx="21">
                  <c:v>1/2 CHAMPAGNE NICOLAS 1E C BS 1CT X 375ML</c:v>
                </c:pt>
              </c:strCache>
            </c:strRef>
          </c:cat>
          <c:val>
            <c:numRef>
              <c:f>Sheet1!$C$2:$C$23</c:f>
              <c:numCache>
                <c:formatCode>General</c:formatCode>
                <c:ptCount val="22"/>
                <c:pt idx="0">
                  <c:v>0.68742405648686067</c:v>
                </c:pt>
                <c:pt idx="1">
                  <c:v>0.78091392161722661</c:v>
                </c:pt>
                <c:pt idx="2">
                  <c:v>0.83303006305200733</c:v>
                </c:pt>
                <c:pt idx="3">
                  <c:v>0.8810475217478041</c:v>
                </c:pt>
                <c:pt idx="4">
                  <c:v>0.8981676832770118</c:v>
                </c:pt>
                <c:pt idx="5">
                  <c:v>0.91510044190812434</c:v>
                </c:pt>
                <c:pt idx="6">
                  <c:v>0.92930074537991414</c:v>
                </c:pt>
                <c:pt idx="7">
                  <c:v>0.94334991748227237</c:v>
                </c:pt>
                <c:pt idx="8">
                  <c:v>0.95173468585833554</c:v>
                </c:pt>
                <c:pt idx="9">
                  <c:v>0.95892249378850081</c:v>
                </c:pt>
                <c:pt idx="10">
                  <c:v>0.96533650910717639</c:v>
                </c:pt>
                <c:pt idx="11">
                  <c:v>0.97168402662330211</c:v>
                </c:pt>
                <c:pt idx="12">
                  <c:v>0.97764464783368299</c:v>
                </c:pt>
                <c:pt idx="13">
                  <c:v>0.98339368512685976</c:v>
                </c:pt>
                <c:pt idx="14">
                  <c:v>0.98852006117797842</c:v>
                </c:pt>
                <c:pt idx="15">
                  <c:v>0.99119810904430572</c:v>
                </c:pt>
                <c:pt idx="16">
                  <c:v>0.99364643722909707</c:v>
                </c:pt>
                <c:pt idx="17">
                  <c:v>0.99605244863044762</c:v>
                </c:pt>
                <c:pt idx="18">
                  <c:v>0.99817433305726677</c:v>
                </c:pt>
                <c:pt idx="19">
                  <c:v>0.99941361028660558</c:v>
                </c:pt>
                <c:pt idx="20">
                  <c:v>0.99987304964967749</c:v>
                </c:pt>
                <c:pt idx="2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CHAMPAGNE E.NICOLAS BRUT 1CT X 750ML</c:v>
                </c:pt>
                <c:pt idx="1">
                  <c:v>CHAMPAGNE NICOLAS BLC/BLC BS 1CT X 750ML</c:v>
                </c:pt>
                <c:pt idx="2">
                  <c:v>CHAMPAGNE E.NICOLAS ROSE 1CT X 750ML</c:v>
                </c:pt>
                <c:pt idx="3">
                  <c:v>CHAMPAGNE NICOLAS 1ERE CUVEE 1CT X 750ML</c:v>
                </c:pt>
                <c:pt idx="4">
                  <c:v>MG CHAMPAGNE NICOLAS BLC/BL BS 1CT X 1500ML</c:v>
                </c:pt>
                <c:pt idx="5">
                  <c:v>MG CHAMPAGNE NICOLAS 1ERE CUVE 1CT X 1500ML</c:v>
                </c:pt>
                <c:pt idx="6">
                  <c:v>MG CHAMPAGNE E.NICOLAS BRUT 1CT X 1500ML</c:v>
                </c:pt>
                <c:pt idx="7">
                  <c:v>1/2 CHAMPAGNE NICOLAS 1ERE CUV 1CT X 375ML</c:v>
                </c:pt>
                <c:pt idx="8">
                  <c:v>1/2 CHAMP NICOLAS BLC/BLC BS 1CT X 375ML</c:v>
                </c:pt>
                <c:pt idx="9">
                  <c:v>CHAMPAGNE NICOLAS 1ER CRU BS 1CT X 750ML</c:v>
                </c:pt>
                <c:pt idx="10">
                  <c:v>CHAMPAGNE NICOLAS BIO NAT 2017 1CT X 750ML</c:v>
                </c:pt>
                <c:pt idx="11">
                  <c:v>1/2 CHAMP NICOLAS ROSE 1E C BS 1CT X 375ML</c:v>
                </c:pt>
                <c:pt idx="12">
                  <c:v>CHAMPAGNE NICOLAS BLC/BLC 2002 1CT X 750ML</c:v>
                </c:pt>
                <c:pt idx="13">
                  <c:v>CHAMPAGNE NICOLAS ROSE 1ERE CU 1CT X 750ML</c:v>
                </c:pt>
                <c:pt idx="14">
                  <c:v>CHAMPAGNE NICOLAS ROSE 1ERE ET 1CT X 750ML</c:v>
                </c:pt>
                <c:pt idx="15">
                  <c:v>CHAMPAGNE NICOLAS BLC DE NOIRS 1CT X 750ML</c:v>
                </c:pt>
                <c:pt idx="16">
                  <c:v>CHAMPAGNE NICOLAS 1ERE CUV ETU 1CT X 750ML</c:v>
                </c:pt>
                <c:pt idx="17">
                  <c:v>CHAMPAGNE NICOLAS 1ER CRU ETUI 1CT X 750ML</c:v>
                </c:pt>
                <c:pt idx="18">
                  <c:v>CHAMPAGNE NICOLAS BLC/BL BS ET 1CT X 750ML</c:v>
                </c:pt>
                <c:pt idx="19">
                  <c:v>CHAMPAGNE NICOLAS ROSE 1E C BS 1CT X 750ML</c:v>
                </c:pt>
                <c:pt idx="20">
                  <c:v>MG CHAMPAGNE NICOLAS 1E CRU BS 1CT X 1500ML</c:v>
                </c:pt>
                <c:pt idx="21">
                  <c:v>1/2 CHAMPAGNE NICOLAS 1E C BS 1CT X 375ML</c:v>
                </c:pt>
              </c:strCache>
            </c:strRef>
          </c:cat>
          <c:val>
            <c:numRef>
              <c:f>Sheet1!$D$2:$D$23</c:f>
              <c:numCache>
                <c:formatCode>General</c:formatCode>
                <c:ptCount val="22"/>
                <c:pt idx="0">
                  <c:v>1137.1300000000001</c:v>
                </c:pt>
                <c:pt idx="1">
                  <c:v>237.92307692307693</c:v>
                </c:pt>
                <c:pt idx="2">
                  <c:v>121.4225352112676</c:v>
                </c:pt>
                <c:pt idx="3">
                  <c:v>91.298850574712645</c:v>
                </c:pt>
                <c:pt idx="4">
                  <c:v>70.8</c:v>
                </c:pt>
                <c:pt idx="5">
                  <c:v>62.244444444444447</c:v>
                </c:pt>
                <c:pt idx="6">
                  <c:v>67.114285714285714</c:v>
                </c:pt>
                <c:pt idx="7">
                  <c:v>54.046511627906973</c:v>
                </c:pt>
                <c:pt idx="8">
                  <c:v>49.535714285714278</c:v>
                </c:pt>
                <c:pt idx="9">
                  <c:v>42.464285714285708</c:v>
                </c:pt>
                <c:pt idx="10">
                  <c:v>35.366666666666667</c:v>
                </c:pt>
                <c:pt idx="11">
                  <c:v>30.882352941176471</c:v>
                </c:pt>
                <c:pt idx="12">
                  <c:v>58</c:v>
                </c:pt>
                <c:pt idx="13">
                  <c:v>50.05263157894737</c:v>
                </c:pt>
                <c:pt idx="14">
                  <c:v>31.407407407407408</c:v>
                </c:pt>
                <c:pt idx="15">
                  <c:v>26.058823529411764</c:v>
                </c:pt>
                <c:pt idx="16">
                  <c:v>40.5</c:v>
                </c:pt>
                <c:pt idx="17">
                  <c:v>26.533333333333335</c:v>
                </c:pt>
                <c:pt idx="18">
                  <c:v>50.142857142857139</c:v>
                </c:pt>
                <c:pt idx="19">
                  <c:v>17.083333333333332</c:v>
                </c:pt>
                <c:pt idx="20">
                  <c:v>6.9090909090909092</c:v>
                </c:pt>
                <c:pt idx="21">
                  <c:v>1.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CHAMPAGNE NICOLAS BLC/BLC 2002 1CT X 750ML</c:v>
                </c:pt>
                <c:pt idx="7">
                  <c:v>1/2 CHAMP NICOLAS BLC/BLC BS 1CT X 375ML</c:v>
                </c:pt>
                <c:pt idx="8">
                  <c:v>MG CHAMPAGNE NICOLAS 1ERE CUVE 1CT X 1500ML</c:v>
                </c:pt>
                <c:pt idx="9">
                  <c:v>CHAMPAGNE NICOLAS ROSE 1ERE CU 1CT X 750ML</c:v>
                </c:pt>
                <c:pt idx="10">
                  <c:v>MG CHAMPAGNE E.NICOLAS BRUT 1CT X 1500ML</c:v>
                </c:pt>
                <c:pt idx="11">
                  <c:v>MG CHAMPAGNE NICOLAS BLC/BL BS 1CT X 1500ML</c:v>
                </c:pt>
                <c:pt idx="12">
                  <c:v>1/2 CHAMP NICOLAS ROSE 1E C BS 1CT X 375ML</c:v>
                </c:pt>
                <c:pt idx="13">
                  <c:v>CHAMPAGNE NICOLAS BLC DE NOIRS 1CT X 750ML</c:v>
                </c:pt>
                <c:pt idx="14">
                  <c:v>CHAMPAGNE NICOLAS 1ER CRU ETUI 1CT X 750ML</c:v>
                </c:pt>
                <c:pt idx="15">
                  <c:v>CHAMPAGNE NICOLAS 1ER CRU BS 1CT X 750ML</c:v>
                </c:pt>
                <c:pt idx="16">
                  <c:v>CHAMPAGNE NICOLAS ROSE 1E C BS 1CT X 750ML</c:v>
                </c:pt>
                <c:pt idx="17">
                  <c:v>CHAMPAGNE NICOLAS 1ERE CUV ETU 1CT X 750ML</c:v>
                </c:pt>
                <c:pt idx="18">
                  <c:v>MG CHAMPAGNE NICOLAS 1E CRU BS 1CT X 1500ML</c:v>
                </c:pt>
                <c:pt idx="19">
                  <c:v>MG CHAMPAGNE NICOLAS BRUT 1CT X 1500ML</c:v>
                </c:pt>
              </c:strCache>
            </c:strRef>
          </c:cat>
          <c:val>
            <c:numRef>
              <c:f>Sheet1!$B$2:$B$21</c:f>
              <c:numCache>
                <c:formatCode>General</c:formatCode>
                <c:ptCount val="20"/>
                <c:pt idx="0">
                  <c:v>1</c:v>
                </c:pt>
                <c:pt idx="1">
                  <c:v>0.63</c:v>
                </c:pt>
                <c:pt idx="2">
                  <c:v>0.79</c:v>
                </c:pt>
                <c:pt idx="3">
                  <c:v>0.56000000000000005</c:v>
                </c:pt>
                <c:pt idx="4">
                  <c:v>0.56999999999999995</c:v>
                </c:pt>
                <c:pt idx="5">
                  <c:v>0.23</c:v>
                </c:pt>
                <c:pt idx="6">
                  <c:v>0.25</c:v>
                </c:pt>
                <c:pt idx="7">
                  <c:v>0.26</c:v>
                </c:pt>
                <c:pt idx="8">
                  <c:v>0.15</c:v>
                </c:pt>
                <c:pt idx="9">
                  <c:v>0.28000000000000003</c:v>
                </c:pt>
                <c:pt idx="10">
                  <c:v>0.32</c:v>
                </c:pt>
                <c:pt idx="11">
                  <c:v>0.18</c:v>
                </c:pt>
                <c:pt idx="12">
                  <c:v>0.31</c:v>
                </c:pt>
                <c:pt idx="13">
                  <c:v>0.26</c:v>
                </c:pt>
                <c:pt idx="14">
                  <c:v>0.27</c:v>
                </c:pt>
                <c:pt idx="15">
                  <c:v>0.44</c:v>
                </c:pt>
                <c:pt idx="16">
                  <c:v>0.11</c:v>
                </c:pt>
                <c:pt idx="17">
                  <c:v>0.11</c:v>
                </c:pt>
                <c:pt idx="18">
                  <c:v>0.06</c:v>
                </c:pt>
                <c:pt idx="19">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CHAMPAGNE NICOLAS BLC/BLC 2002 1CT X 750ML</c:v>
                </c:pt>
                <c:pt idx="7">
                  <c:v>1/2 CHAMP NICOLAS BLC/BLC BS 1CT X 375ML</c:v>
                </c:pt>
                <c:pt idx="8">
                  <c:v>MG CHAMPAGNE NICOLAS 1ERE CUVE 1CT X 1500ML</c:v>
                </c:pt>
                <c:pt idx="9">
                  <c:v>CHAMPAGNE NICOLAS ROSE 1ERE CU 1CT X 750ML</c:v>
                </c:pt>
                <c:pt idx="10">
                  <c:v>MG CHAMPAGNE E.NICOLAS BRUT 1CT X 1500ML</c:v>
                </c:pt>
                <c:pt idx="11">
                  <c:v>MG CHAMPAGNE NICOLAS BLC/BL BS 1CT X 1500ML</c:v>
                </c:pt>
                <c:pt idx="12">
                  <c:v>1/2 CHAMP NICOLAS ROSE 1E C BS 1CT X 375ML</c:v>
                </c:pt>
                <c:pt idx="13">
                  <c:v>CHAMPAGNE NICOLAS BLC DE NOIRS 1CT X 750ML</c:v>
                </c:pt>
                <c:pt idx="14">
                  <c:v>CHAMPAGNE NICOLAS 1ER CRU ETUI 1CT X 750ML</c:v>
                </c:pt>
                <c:pt idx="15">
                  <c:v>CHAMPAGNE NICOLAS 1ER CRU BS 1CT X 750ML</c:v>
                </c:pt>
                <c:pt idx="16">
                  <c:v>CHAMPAGNE NICOLAS ROSE 1E C BS 1CT X 750ML</c:v>
                </c:pt>
                <c:pt idx="17">
                  <c:v>CHAMPAGNE NICOLAS 1ERE CUV ETU 1CT X 750ML</c:v>
                </c:pt>
                <c:pt idx="18">
                  <c:v>MG CHAMPAGNE NICOLAS 1E CRU BS 1CT X 1500ML</c:v>
                </c:pt>
                <c:pt idx="19">
                  <c:v>MG CHAMPAGNE NICOLAS BRUT 1CT X 1500ML</c:v>
                </c:pt>
              </c:strCache>
            </c:strRef>
          </c:cat>
          <c:val>
            <c:numRef>
              <c:f>Sheet1!$C$2:$C$21</c:f>
              <c:numCache>
                <c:formatCode>General</c:formatCode>
                <c:ptCount val="20"/>
                <c:pt idx="0">
                  <c:v>0.72942171878507411</c:v>
                </c:pt>
                <c:pt idx="1">
                  <c:v>0.79768791117711046</c:v>
                </c:pt>
                <c:pt idx="2">
                  <c:v>0.85964291264482928</c:v>
                </c:pt>
                <c:pt idx="3">
                  <c:v>0.89391846390275065</c:v>
                </c:pt>
                <c:pt idx="4">
                  <c:v>0.91252395835132005</c:v>
                </c:pt>
                <c:pt idx="5">
                  <c:v>0.9260787733324124</c:v>
                </c:pt>
                <c:pt idx="6">
                  <c:v>0.93719890180097731</c:v>
                </c:pt>
                <c:pt idx="7">
                  <c:v>0.94587571011689953</c:v>
                </c:pt>
                <c:pt idx="8">
                  <c:v>0.95428487558924602</c:v>
                </c:pt>
                <c:pt idx="9">
                  <c:v>0.9625127346191702</c:v>
                </c:pt>
                <c:pt idx="10">
                  <c:v>0.97069742544851767</c:v>
                </c:pt>
                <c:pt idx="11">
                  <c:v>0.97886484899763448</c:v>
                </c:pt>
                <c:pt idx="12">
                  <c:v>0.98459758603422387</c:v>
                </c:pt>
                <c:pt idx="13">
                  <c:v>0.99020945210919842</c:v>
                </c:pt>
                <c:pt idx="14">
                  <c:v>0.99345570079256829</c:v>
                </c:pt>
                <c:pt idx="15">
                  <c:v>0.9962616338300555</c:v>
                </c:pt>
                <c:pt idx="16">
                  <c:v>0.99804016369381665</c:v>
                </c:pt>
                <c:pt idx="17">
                  <c:v>0.9989898641065047</c:v>
                </c:pt>
                <c:pt idx="18">
                  <c:v>0.99964602075527098</c:v>
                </c:pt>
                <c:pt idx="1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IO NAT 2017 1CT X 750ML</c:v>
                </c:pt>
                <c:pt idx="6">
                  <c:v>CHAMPAGNE NICOLAS BLC/BLC 2002 1CT X 750ML</c:v>
                </c:pt>
                <c:pt idx="7">
                  <c:v>1/2 CHAMP NICOLAS BLC/BLC BS 1CT X 375ML</c:v>
                </c:pt>
                <c:pt idx="8">
                  <c:v>MG CHAMPAGNE NICOLAS 1ERE CUVE 1CT X 1500ML</c:v>
                </c:pt>
                <c:pt idx="9">
                  <c:v>CHAMPAGNE NICOLAS ROSE 1ERE CU 1CT X 750ML</c:v>
                </c:pt>
                <c:pt idx="10">
                  <c:v>MG CHAMPAGNE E.NICOLAS BRUT 1CT X 1500ML</c:v>
                </c:pt>
                <c:pt idx="11">
                  <c:v>MG CHAMPAGNE NICOLAS BLC/BL BS 1CT X 1500ML</c:v>
                </c:pt>
                <c:pt idx="12">
                  <c:v>1/2 CHAMP NICOLAS ROSE 1E C BS 1CT X 375ML</c:v>
                </c:pt>
                <c:pt idx="13">
                  <c:v>CHAMPAGNE NICOLAS BLC DE NOIRS 1CT X 750ML</c:v>
                </c:pt>
                <c:pt idx="14">
                  <c:v>CHAMPAGNE NICOLAS 1ER CRU ETUI 1CT X 750ML</c:v>
                </c:pt>
                <c:pt idx="15">
                  <c:v>CHAMPAGNE NICOLAS 1ER CRU BS 1CT X 750ML</c:v>
                </c:pt>
                <c:pt idx="16">
                  <c:v>CHAMPAGNE NICOLAS ROSE 1E C BS 1CT X 750ML</c:v>
                </c:pt>
                <c:pt idx="17">
                  <c:v>CHAMPAGNE NICOLAS 1ERE CUV ETU 1CT X 750ML</c:v>
                </c:pt>
                <c:pt idx="18">
                  <c:v>MG CHAMPAGNE NICOLAS 1E CRU BS 1CT X 1500ML</c:v>
                </c:pt>
                <c:pt idx="19">
                  <c:v>MG CHAMPAGNE NICOLAS BRUT 1CT X 1500ML</c:v>
                </c:pt>
              </c:strCache>
            </c:strRef>
          </c:cat>
          <c:val>
            <c:numRef>
              <c:f>Sheet1!$D$2:$D$21</c:f>
              <c:numCache>
                <c:formatCode>General</c:formatCode>
                <c:ptCount val="20"/>
                <c:pt idx="0">
                  <c:v>844.86</c:v>
                </c:pt>
                <c:pt idx="1">
                  <c:v>125.50793650793651</c:v>
                </c:pt>
                <c:pt idx="2">
                  <c:v>90.835443037974684</c:v>
                </c:pt>
                <c:pt idx="3">
                  <c:v>70.892857142857139</c:v>
                </c:pt>
                <c:pt idx="4">
                  <c:v>37.807017543859651</c:v>
                </c:pt>
                <c:pt idx="5">
                  <c:v>68.260869565217391</c:v>
                </c:pt>
                <c:pt idx="6">
                  <c:v>51.52</c:v>
                </c:pt>
                <c:pt idx="7">
                  <c:v>38.653846153846153</c:v>
                </c:pt>
                <c:pt idx="8">
                  <c:v>64.933333333333337</c:v>
                </c:pt>
                <c:pt idx="9">
                  <c:v>34.035714285714285</c:v>
                </c:pt>
                <c:pt idx="10">
                  <c:v>29.625</c:v>
                </c:pt>
                <c:pt idx="11">
                  <c:v>52.555555555555557</c:v>
                </c:pt>
                <c:pt idx="12">
                  <c:v>21.419354838709676</c:v>
                </c:pt>
                <c:pt idx="13">
                  <c:v>25</c:v>
                </c:pt>
                <c:pt idx="14">
                  <c:v>13.925925925925926</c:v>
                </c:pt>
                <c:pt idx="15">
                  <c:v>7.3863636363636367</c:v>
                </c:pt>
                <c:pt idx="16">
                  <c:v>18.727272727272727</c:v>
                </c:pt>
                <c:pt idx="17">
                  <c:v>10</c:v>
                </c:pt>
                <c:pt idx="18">
                  <c:v>12.666666666666666</c:v>
                </c:pt>
                <c:pt idx="19">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CHAMPAGNE NICOLAS BLC/BLC 2002 1CT X 750ML</c:v>
                </c:pt>
                <c:pt idx="17">
                  <c:v>MG CHAMPAGNE NICOLAS BLC/BL BS 1CT X 1500ML</c:v>
                </c:pt>
                <c:pt idx="18">
                  <c:v>CHAMPAGNE NICOLAS 1ERE CUV ETU 1CT X 750ML</c:v>
                </c:pt>
                <c:pt idx="19">
                  <c:v>CHAMPAGNE NICOLAS BLC DE NOIRS 1CT X 750ML</c:v>
                </c:pt>
              </c:strCache>
            </c:strRef>
          </c:cat>
          <c:val>
            <c:numRef>
              <c:f>Sheet1!$B$2:$B$21</c:f>
              <c:numCache>
                <c:formatCode>General</c:formatCode>
                <c:ptCount val="20"/>
                <c:pt idx="0">
                  <c:v>1</c:v>
                </c:pt>
                <c:pt idx="1">
                  <c:v>0.76</c:v>
                </c:pt>
                <c:pt idx="2">
                  <c:v>0.56000000000000005</c:v>
                </c:pt>
                <c:pt idx="3">
                  <c:v>0.51</c:v>
                </c:pt>
                <c:pt idx="4">
                  <c:v>0.49</c:v>
                </c:pt>
                <c:pt idx="5">
                  <c:v>0.85</c:v>
                </c:pt>
                <c:pt idx="6">
                  <c:v>0.46</c:v>
                </c:pt>
                <c:pt idx="7">
                  <c:v>0.4</c:v>
                </c:pt>
                <c:pt idx="8">
                  <c:v>0.62</c:v>
                </c:pt>
                <c:pt idx="9">
                  <c:v>0.38</c:v>
                </c:pt>
                <c:pt idx="10">
                  <c:v>0.62</c:v>
                </c:pt>
                <c:pt idx="11">
                  <c:v>0.24</c:v>
                </c:pt>
                <c:pt idx="12">
                  <c:v>0.26</c:v>
                </c:pt>
                <c:pt idx="13">
                  <c:v>0.48</c:v>
                </c:pt>
                <c:pt idx="14">
                  <c:v>0.14000000000000001</c:v>
                </c:pt>
                <c:pt idx="15">
                  <c:v>0.11</c:v>
                </c:pt>
                <c:pt idx="16">
                  <c:v>0.1</c:v>
                </c:pt>
                <c:pt idx="17">
                  <c:v>0.35</c:v>
                </c:pt>
                <c:pt idx="18">
                  <c:v>0.66</c:v>
                </c:pt>
                <c:pt idx="19">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CHAMPAGNE NICOLAS BLC/BLC 2002 1CT X 750ML</c:v>
                </c:pt>
                <c:pt idx="17">
                  <c:v>MG CHAMPAGNE NICOLAS BLC/BL BS 1CT X 1500ML</c:v>
                </c:pt>
                <c:pt idx="18">
                  <c:v>CHAMPAGNE NICOLAS 1ERE CUV ETU 1CT X 750ML</c:v>
                </c:pt>
                <c:pt idx="19">
                  <c:v>CHAMPAGNE NICOLAS BLC DE NOIRS 1CT X 750ML</c:v>
                </c:pt>
              </c:strCache>
            </c:strRef>
          </c:cat>
          <c:val>
            <c:numRef>
              <c:f>Sheet1!$C$2:$C$21</c:f>
              <c:numCache>
                <c:formatCode>General</c:formatCode>
                <c:ptCount val="20"/>
                <c:pt idx="0">
                  <c:v>0.75774197779659191</c:v>
                </c:pt>
                <c:pt idx="1">
                  <c:v>0.80189837946125131</c:v>
                </c:pt>
                <c:pt idx="2">
                  <c:v>0.84417071105758335</c:v>
                </c:pt>
                <c:pt idx="3">
                  <c:v>0.87847748059288577</c:v>
                </c:pt>
                <c:pt idx="4">
                  <c:v>0.90100284995409063</c:v>
                </c:pt>
                <c:pt idx="5">
                  <c:v>0.9198197016491575</c:v>
                </c:pt>
                <c:pt idx="6">
                  <c:v>0.93430796198471278</c:v>
                </c:pt>
                <c:pt idx="7">
                  <c:v>0.94245239145729243</c:v>
                </c:pt>
                <c:pt idx="8">
                  <c:v>0.94978595533084509</c:v>
                </c:pt>
                <c:pt idx="9">
                  <c:v>0.95700027426336443</c:v>
                </c:pt>
                <c:pt idx="10">
                  <c:v>0.9638807073609903</c:v>
                </c:pt>
                <c:pt idx="11">
                  <c:v>0.96967601149521243</c:v>
                </c:pt>
                <c:pt idx="12">
                  <c:v>0.97537591967660786</c:v>
                </c:pt>
                <c:pt idx="13">
                  <c:v>0.98092080943465987</c:v>
                </c:pt>
                <c:pt idx="14">
                  <c:v>0.9852970987705848</c:v>
                </c:pt>
                <c:pt idx="15">
                  <c:v>0.98948259620085632</c:v>
                </c:pt>
                <c:pt idx="16">
                  <c:v>0.99305994443185763</c:v>
                </c:pt>
                <c:pt idx="17">
                  <c:v>0.9961364639105188</c:v>
                </c:pt>
                <c:pt idx="18">
                  <c:v>0.99872407913094308</c:v>
                </c:pt>
                <c:pt idx="1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1ERE CUVEE 1CT X 750ML</c:v>
                </c:pt>
                <c:pt idx="2">
                  <c:v>CHAMPAGNE E.NICOLAS ROSE 1CT X 750ML</c:v>
                </c:pt>
                <c:pt idx="3">
                  <c:v>CHAMPAGNE NICOLAS BLC/BLC BS 1CT X 750ML</c:v>
                </c:pt>
                <c:pt idx="4">
                  <c:v>MG CHAMPAGNE E.NICOLAS BRUT 1CT X 1500ML</c:v>
                </c:pt>
                <c:pt idx="5">
                  <c:v>CHAMPAGNE NICOLAS 1ER CRU BS 1CT X 750ML</c:v>
                </c:pt>
                <c:pt idx="6">
                  <c:v>1/2 CHAMPAGNE NICOLAS 1ERE CUV 1CT X 375ML</c:v>
                </c:pt>
                <c:pt idx="7">
                  <c:v>MG CHAMPAGNE NICOLAS 1ERE CUVE 1CT X 1500ML</c:v>
                </c:pt>
                <c:pt idx="8">
                  <c:v>1/2 CHAMP NICOLAS ROSE 1E C BS 1CT X 375ML</c:v>
                </c:pt>
                <c:pt idx="9">
                  <c:v>MG CHAMPAGNE NICOLAS 1E CRU BS 1CT X 1500ML</c:v>
                </c:pt>
                <c:pt idx="10">
                  <c:v>1/2 CHAMP NICOLAS BLC/BLC BS 1CT X 375ML</c:v>
                </c:pt>
                <c:pt idx="11">
                  <c:v>CHAMPAGNE NICOLAS ROSE 1E C BS 1CT X 750ML</c:v>
                </c:pt>
                <c:pt idx="12">
                  <c:v>CHAMPAGNE NICOLAS 1ER CRU ETUI 1CT X 750ML</c:v>
                </c:pt>
                <c:pt idx="13">
                  <c:v>CHAMPAGNE NICOLAS ROSE 1ERE CU 1CT X 750ML</c:v>
                </c:pt>
                <c:pt idx="14">
                  <c:v>CHAMPAGNE NICOLAS BIO NAT 2017 1CT X 750ML</c:v>
                </c:pt>
                <c:pt idx="15">
                  <c:v>CHAMPAGNE NICOLAS BLC/BL BS ET 1CT X 750ML</c:v>
                </c:pt>
                <c:pt idx="16">
                  <c:v>CHAMPAGNE NICOLAS BLC/BLC 2002 1CT X 750ML</c:v>
                </c:pt>
                <c:pt idx="17">
                  <c:v>MG CHAMPAGNE NICOLAS BLC/BL BS 1CT X 1500ML</c:v>
                </c:pt>
                <c:pt idx="18">
                  <c:v>CHAMPAGNE NICOLAS 1ERE CUV ETU 1CT X 750ML</c:v>
                </c:pt>
                <c:pt idx="19">
                  <c:v>CHAMPAGNE NICOLAS BLC DE NOIRS 1CT X 750ML</c:v>
                </c:pt>
              </c:strCache>
            </c:strRef>
          </c:cat>
          <c:val>
            <c:numRef>
              <c:f>Sheet1!$D$2:$D$21</c:f>
              <c:numCache>
                <c:formatCode>General</c:formatCode>
                <c:ptCount val="20"/>
                <c:pt idx="0">
                  <c:v>635.45000000000005</c:v>
                </c:pt>
                <c:pt idx="1">
                  <c:v>48.723684210526315</c:v>
                </c:pt>
                <c:pt idx="2">
                  <c:v>63.303571428571423</c:v>
                </c:pt>
                <c:pt idx="3">
                  <c:v>56.411764705882355</c:v>
                </c:pt>
                <c:pt idx="4">
                  <c:v>38.551020408163268</c:v>
                </c:pt>
                <c:pt idx="5">
                  <c:v>18.564705882352943</c:v>
                </c:pt>
                <c:pt idx="6">
                  <c:v>26.413043478260871</c:v>
                </c:pt>
                <c:pt idx="7">
                  <c:v>17.074999999999999</c:v>
                </c:pt>
                <c:pt idx="8">
                  <c:v>9.9193548387096779</c:v>
                </c:pt>
                <c:pt idx="9">
                  <c:v>15.921052631578947</c:v>
                </c:pt>
                <c:pt idx="10">
                  <c:v>9.306451612903226</c:v>
                </c:pt>
                <c:pt idx="11">
                  <c:v>20.25</c:v>
                </c:pt>
                <c:pt idx="12">
                  <c:v>18.384615384615383</c:v>
                </c:pt>
                <c:pt idx="13">
                  <c:v>9.6875</c:v>
                </c:pt>
                <c:pt idx="14">
                  <c:v>26.214285714285712</c:v>
                </c:pt>
                <c:pt idx="15">
                  <c:v>31.90909090909091</c:v>
                </c:pt>
                <c:pt idx="16">
                  <c:v>30</c:v>
                </c:pt>
                <c:pt idx="17">
                  <c:v>7.371428571428571</c:v>
                </c:pt>
                <c:pt idx="18">
                  <c:v>3.2878787878787881</c:v>
                </c:pt>
                <c:pt idx="19">
                  <c:v>15.2857142857142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B$2:$B$21</c:f>
              <c:numCache>
                <c:formatCode>General</c:formatCode>
                <c:ptCount val="20"/>
                <c:pt idx="0">
                  <c:v>1</c:v>
                </c:pt>
                <c:pt idx="1">
                  <c:v>0.69</c:v>
                </c:pt>
                <c:pt idx="2">
                  <c:v>0.69</c:v>
                </c:pt>
                <c:pt idx="3">
                  <c:v>0.6</c:v>
                </c:pt>
                <c:pt idx="4">
                  <c:v>0.63</c:v>
                </c:pt>
                <c:pt idx="5">
                  <c:v>0.49</c:v>
                </c:pt>
                <c:pt idx="6">
                  <c:v>0.35</c:v>
                </c:pt>
                <c:pt idx="7">
                  <c:v>0.34</c:v>
                </c:pt>
                <c:pt idx="8">
                  <c:v>0.41</c:v>
                </c:pt>
                <c:pt idx="9">
                  <c:v>0.51</c:v>
                </c:pt>
                <c:pt idx="10">
                  <c:v>0.25</c:v>
                </c:pt>
                <c:pt idx="11">
                  <c:v>0.48</c:v>
                </c:pt>
                <c:pt idx="12">
                  <c:v>0.39</c:v>
                </c:pt>
                <c:pt idx="13">
                  <c:v>0.44</c:v>
                </c:pt>
                <c:pt idx="14">
                  <c:v>0.46</c:v>
                </c:pt>
                <c:pt idx="15">
                  <c:v>0.11</c:v>
                </c:pt>
                <c:pt idx="16">
                  <c:v>0.28000000000000003</c:v>
                </c:pt>
                <c:pt idx="17">
                  <c:v>0.28000000000000003</c:v>
                </c:pt>
                <c:pt idx="18">
                  <c:v>0.09</c:v>
                </c:pt>
                <c:pt idx="19">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C$2:$C$21</c:f>
              <c:numCache>
                <c:formatCode>General</c:formatCode>
                <c:ptCount val="20"/>
                <c:pt idx="0">
                  <c:v>0.7044608662818922</c:v>
                </c:pt>
                <c:pt idx="1">
                  <c:v>0.77817933365697534</c:v>
                </c:pt>
                <c:pt idx="2">
                  <c:v>0.83167017278889543</c:v>
                </c:pt>
                <c:pt idx="3">
                  <c:v>0.87471456569034645</c:v>
                </c:pt>
                <c:pt idx="4">
                  <c:v>0.8951579553014366</c:v>
                </c:pt>
                <c:pt idx="5">
                  <c:v>0.91107035618605825</c:v>
                </c:pt>
                <c:pt idx="6">
                  <c:v>0.92653325422083177</c:v>
                </c:pt>
                <c:pt idx="7">
                  <c:v>0.93879569196468704</c:v>
                </c:pt>
                <c:pt idx="8">
                  <c:v>0.94956578024704674</c:v>
                </c:pt>
                <c:pt idx="9">
                  <c:v>0.95904130032184398</c:v>
                </c:pt>
                <c:pt idx="10">
                  <c:v>0.96817519823075671</c:v>
                </c:pt>
                <c:pt idx="11">
                  <c:v>0.97538522394231975</c:v>
                </c:pt>
                <c:pt idx="12">
                  <c:v>0.98203786612007116</c:v>
                </c:pt>
                <c:pt idx="13">
                  <c:v>0.98779150259812643</c:v>
                </c:pt>
                <c:pt idx="14">
                  <c:v>0.99221461064063143</c:v>
                </c:pt>
                <c:pt idx="15">
                  <c:v>0.99494758796770766</c:v>
                </c:pt>
                <c:pt idx="16">
                  <c:v>0.99760864483880818</c:v>
                </c:pt>
                <c:pt idx="17">
                  <c:v>0.99888523293237674</c:v>
                </c:pt>
                <c:pt idx="18">
                  <c:v>0.99962241760612758</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MG CHAMPAGNE E.NICOLAS BRUT 1CT X 1500ML</c:v>
                </c:pt>
                <c:pt idx="5">
                  <c:v>1/2 CHAMPAGNE NICOLAS 1ERE CUV 1CT X 375ML</c:v>
                </c:pt>
                <c:pt idx="6">
                  <c:v>MG CHAMPAGNE NICOLAS BLC/BL BS 1CT X 1500ML</c:v>
                </c:pt>
                <c:pt idx="7">
                  <c:v>MG CHAMPAGNE NICOLAS 1ERE CUVE 1CT X 1500ML</c:v>
                </c:pt>
                <c:pt idx="8">
                  <c:v>1/2 CHAMP NICOLAS BLC/BLC BS 1CT X 375ML</c:v>
                </c:pt>
                <c:pt idx="9">
                  <c:v>CHAMPAGNE NICOLAS ROSE 1ERE CU 1CT X 750ML</c:v>
                </c:pt>
                <c:pt idx="10">
                  <c:v>CHAMPAGNE NICOLAS BIO NAT 2017 1CT X 750ML</c:v>
                </c:pt>
                <c:pt idx="11">
                  <c:v>CHAMPAGNE NICOLAS 1ER CRU BS 1CT X 750ML</c:v>
                </c:pt>
                <c:pt idx="12">
                  <c:v>1/2 CHAMP NICOLAS ROSE 1E C BS 1CT X 375ML</c:v>
                </c:pt>
                <c:pt idx="13">
                  <c:v>CHAMPAGNE NICOLAS 1ERE CUV ETU 1CT X 750ML</c:v>
                </c:pt>
                <c:pt idx="14">
                  <c:v>CHAMPAGNE NICOLAS 1ER CRU ETUI 1CT X 750ML</c:v>
                </c:pt>
                <c:pt idx="15">
                  <c:v>MG CHAMPAGNE NICOLAS 1E CRU BS 1CT X 1500ML</c:v>
                </c:pt>
                <c:pt idx="16">
                  <c:v>CHAMPAGNE NICOLAS BLC DE NOIRS 1CT X 750ML</c:v>
                </c:pt>
                <c:pt idx="17">
                  <c:v>CHAMPAGNE NICOLAS ROSE 1ERE ET 1CT X 750ML</c:v>
                </c:pt>
                <c:pt idx="18">
                  <c:v>CHAMPAGNE NICOLAS ROSE 1E C BS 1CT X 750ML</c:v>
                </c:pt>
                <c:pt idx="19">
                  <c:v>1/2 CHAMPAGNE NICOLAS 1E C BS 1CT X 375ML</c:v>
                </c:pt>
              </c:strCache>
            </c:strRef>
          </c:cat>
          <c:val>
            <c:numRef>
              <c:f>Sheet1!$D$2:$D$21</c:f>
              <c:numCache>
                <c:formatCode>General</c:formatCode>
                <c:ptCount val="20"/>
                <c:pt idx="0">
                  <c:v>391.8</c:v>
                </c:pt>
                <c:pt idx="1">
                  <c:v>59.420289855072461</c:v>
                </c:pt>
                <c:pt idx="2">
                  <c:v>43.115942028985508</c:v>
                </c:pt>
                <c:pt idx="3">
                  <c:v>39.9</c:v>
                </c:pt>
                <c:pt idx="4">
                  <c:v>18.047619047619047</c:v>
                </c:pt>
                <c:pt idx="5">
                  <c:v>18.061224489795919</c:v>
                </c:pt>
                <c:pt idx="6">
                  <c:v>24.571428571428573</c:v>
                </c:pt>
                <c:pt idx="7">
                  <c:v>20.058823529411764</c:v>
                </c:pt>
                <c:pt idx="8">
                  <c:v>14.609756097560975</c:v>
                </c:pt>
                <c:pt idx="9">
                  <c:v>10.333333333333334</c:v>
                </c:pt>
                <c:pt idx="10">
                  <c:v>20.32</c:v>
                </c:pt>
                <c:pt idx="11">
                  <c:v>8.3541666666666661</c:v>
                </c:pt>
                <c:pt idx="12">
                  <c:v>9.4871794871794872</c:v>
                </c:pt>
                <c:pt idx="13">
                  <c:v>7.2727272727272725</c:v>
                </c:pt>
                <c:pt idx="14">
                  <c:v>5.3478260869565215</c:v>
                </c:pt>
                <c:pt idx="15">
                  <c:v>13.818181818181818</c:v>
                </c:pt>
                <c:pt idx="16">
                  <c:v>5.2857142857142847</c:v>
                </c:pt>
                <c:pt idx="17">
                  <c:v>2.5357142857142856</c:v>
                </c:pt>
                <c:pt idx="18">
                  <c:v>4.5555555555555554</c:v>
                </c:pt>
                <c:pt idx="19">
                  <c:v>1.61538461538461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BLC/BLC 2002 1CT X 750ML</c:v>
                </c:pt>
                <c:pt idx="14">
                  <c:v>CHAMPAGNE NICOLAS ROSE 1ERE ET 1CT X 750ML</c:v>
                </c:pt>
                <c:pt idx="15">
                  <c:v>MG CHAMPAGNE NICOLAS BLC/BL BS 1CT X 1500ML</c:v>
                </c:pt>
                <c:pt idx="16">
                  <c:v>CHAMPAGNE NICOLAS 1ERE CUV ETU 1CT X 750ML</c:v>
                </c:pt>
                <c:pt idx="17">
                  <c:v>CHAMPAGNE NICOLAS ROSE 1E C BS 1CT X 750ML</c:v>
                </c:pt>
              </c:strCache>
            </c:strRef>
          </c:cat>
          <c:val>
            <c:numRef>
              <c:f>Sheet1!$B$2:$B$19</c:f>
              <c:numCache>
                <c:formatCode>General</c:formatCode>
                <c:ptCount val="18"/>
                <c:pt idx="0">
                  <c:v>1</c:v>
                </c:pt>
                <c:pt idx="1">
                  <c:v>0.8</c:v>
                </c:pt>
                <c:pt idx="2">
                  <c:v>0.56000000000000005</c:v>
                </c:pt>
                <c:pt idx="3">
                  <c:v>0.73</c:v>
                </c:pt>
                <c:pt idx="4">
                  <c:v>0.64</c:v>
                </c:pt>
                <c:pt idx="5">
                  <c:v>0.52</c:v>
                </c:pt>
                <c:pt idx="6">
                  <c:v>0.3</c:v>
                </c:pt>
                <c:pt idx="7">
                  <c:v>0.53</c:v>
                </c:pt>
                <c:pt idx="8">
                  <c:v>0.51</c:v>
                </c:pt>
                <c:pt idx="9">
                  <c:v>0.64</c:v>
                </c:pt>
                <c:pt idx="10">
                  <c:v>0.63</c:v>
                </c:pt>
                <c:pt idx="11">
                  <c:v>0.62</c:v>
                </c:pt>
                <c:pt idx="12">
                  <c:v>0.34</c:v>
                </c:pt>
                <c:pt idx="13">
                  <c:v>0.44</c:v>
                </c:pt>
                <c:pt idx="14">
                  <c:v>0.38</c:v>
                </c:pt>
                <c:pt idx="15">
                  <c:v>0.11</c:v>
                </c:pt>
                <c:pt idx="16">
                  <c:v>0.11</c:v>
                </c:pt>
                <c:pt idx="17">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BLC/BLC 2002 1CT X 750ML</c:v>
                </c:pt>
                <c:pt idx="14">
                  <c:v>CHAMPAGNE NICOLAS ROSE 1ERE ET 1CT X 750ML</c:v>
                </c:pt>
                <c:pt idx="15">
                  <c:v>MG CHAMPAGNE NICOLAS BLC/BL BS 1CT X 1500ML</c:v>
                </c:pt>
                <c:pt idx="16">
                  <c:v>CHAMPAGNE NICOLAS 1ERE CUV ETU 1CT X 750ML</c:v>
                </c:pt>
                <c:pt idx="17">
                  <c:v>CHAMPAGNE NICOLAS ROSE 1E C BS 1CT X 750ML</c:v>
                </c:pt>
              </c:strCache>
            </c:strRef>
          </c:cat>
          <c:val>
            <c:numRef>
              <c:f>Sheet1!$C$2:$C$19</c:f>
              <c:numCache>
                <c:formatCode>General</c:formatCode>
                <c:ptCount val="18"/>
                <c:pt idx="0">
                  <c:v>0.66096005370929845</c:v>
                </c:pt>
                <c:pt idx="1">
                  <c:v>0.75156092648539774</c:v>
                </c:pt>
                <c:pt idx="2">
                  <c:v>0.78811681772406839</c:v>
                </c:pt>
                <c:pt idx="3">
                  <c:v>0.82406847935548833</c:v>
                </c:pt>
                <c:pt idx="4">
                  <c:v>0.85062101376300758</c:v>
                </c:pt>
                <c:pt idx="5">
                  <c:v>0.87650218194024831</c:v>
                </c:pt>
                <c:pt idx="6">
                  <c:v>0.8968110104061765</c:v>
                </c:pt>
                <c:pt idx="7">
                  <c:v>0.91362873447465587</c:v>
                </c:pt>
                <c:pt idx="8">
                  <c:v>0.93037932192010731</c:v>
                </c:pt>
                <c:pt idx="9">
                  <c:v>0.94642497482376631</c:v>
                </c:pt>
                <c:pt idx="10">
                  <c:v>0.96126216851292379</c:v>
                </c:pt>
                <c:pt idx="11">
                  <c:v>0.97314535078885533</c:v>
                </c:pt>
                <c:pt idx="12">
                  <c:v>0.98086606243705943</c:v>
                </c:pt>
                <c:pt idx="13">
                  <c:v>0.98811681772406845</c:v>
                </c:pt>
                <c:pt idx="14">
                  <c:v>0.99227928835179591</c:v>
                </c:pt>
                <c:pt idx="15">
                  <c:v>0.99516616314199391</c:v>
                </c:pt>
                <c:pt idx="16">
                  <c:v>0.99761664988251086</c:v>
                </c:pt>
                <c:pt idx="1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9</c:f>
              <c:strCache>
                <c:ptCount val="18"/>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BLC DE NOIRS 1CT X 750ML</c:v>
                </c:pt>
                <c:pt idx="6">
                  <c:v>MG CHAMPAGNE NICOLAS 1ERE CUVE 1CT X 1500ML</c:v>
                </c:pt>
                <c:pt idx="7">
                  <c:v>CHAMPAGNE NICOLAS 1ER CRU BS 1CT X 750ML</c:v>
                </c:pt>
                <c:pt idx="8">
                  <c:v>MG CHAMPAGNE E.NICOLAS BRUT 1CT X 1500ML</c:v>
                </c:pt>
                <c:pt idx="9">
                  <c:v>1/2 CHAMP NICOLAS BLC/BLC BS 1CT X 375ML</c:v>
                </c:pt>
                <c:pt idx="10">
                  <c:v>1/2 CHAMP NICOLAS ROSE 1E C BS 1CT X 375ML</c:v>
                </c:pt>
                <c:pt idx="11">
                  <c:v>CHAMPAGNE NICOLAS ROSE 1ERE CU 1CT X 750ML</c:v>
                </c:pt>
                <c:pt idx="12">
                  <c:v>CHAMPAGNE NICOLAS BIO NAT 2017 1CT X 750ML</c:v>
                </c:pt>
                <c:pt idx="13">
                  <c:v>CHAMPAGNE NICOLAS BLC/BLC 2002 1CT X 750ML</c:v>
                </c:pt>
                <c:pt idx="14">
                  <c:v>CHAMPAGNE NICOLAS ROSE 1ERE ET 1CT X 750ML</c:v>
                </c:pt>
                <c:pt idx="15">
                  <c:v>MG CHAMPAGNE NICOLAS BLC/BL BS 1CT X 1500ML</c:v>
                </c:pt>
                <c:pt idx="16">
                  <c:v>CHAMPAGNE NICOLAS 1ERE CUV ETU 1CT X 750ML</c:v>
                </c:pt>
                <c:pt idx="17">
                  <c:v>CHAMPAGNE NICOLAS ROSE 1E C BS 1CT X 750ML</c:v>
                </c:pt>
              </c:strCache>
            </c:strRef>
          </c:cat>
          <c:val>
            <c:numRef>
              <c:f>Sheet1!$D$2:$D$19</c:f>
              <c:numCache>
                <c:formatCode>General</c:formatCode>
                <c:ptCount val="18"/>
                <c:pt idx="0">
                  <c:v>196.9</c:v>
                </c:pt>
                <c:pt idx="1">
                  <c:v>33.737499999999997</c:v>
                </c:pt>
                <c:pt idx="2">
                  <c:v>19.446428571428569</c:v>
                </c:pt>
                <c:pt idx="3">
                  <c:v>14.671232876712329</c:v>
                </c:pt>
                <c:pt idx="4">
                  <c:v>12.359375</c:v>
                </c:pt>
                <c:pt idx="5">
                  <c:v>14.826923076923077</c:v>
                </c:pt>
                <c:pt idx="6">
                  <c:v>20.166666666666668</c:v>
                </c:pt>
                <c:pt idx="7">
                  <c:v>9.4528301886792452</c:v>
                </c:pt>
                <c:pt idx="8">
                  <c:v>9.7843137254901968</c:v>
                </c:pt>
                <c:pt idx="9">
                  <c:v>7.46875</c:v>
                </c:pt>
                <c:pt idx="10">
                  <c:v>7.0158730158730158</c:v>
                </c:pt>
                <c:pt idx="11">
                  <c:v>5.709677419354839</c:v>
                </c:pt>
                <c:pt idx="12">
                  <c:v>6.7647058823529411</c:v>
                </c:pt>
                <c:pt idx="13">
                  <c:v>4.9090909090909092</c:v>
                </c:pt>
                <c:pt idx="14">
                  <c:v>3.263157894736842</c:v>
                </c:pt>
                <c:pt idx="15">
                  <c:v>7.8181818181818183</c:v>
                </c:pt>
                <c:pt idx="16">
                  <c:v>6.6363636363636367</c:v>
                </c:pt>
                <c:pt idx="17">
                  <c:v>4.4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CHAMPAGNE NICOLAS BLC/BLC 2002 1CT X 750ML</c:v>
                </c:pt>
                <c:pt idx="18">
                  <c:v>MG CHAMPAGNE NICOLAS 1E CRU BS 1CT X 1500ML</c:v>
                </c:pt>
                <c:pt idx="19">
                  <c:v>CHAMPAGNE NICOLAS BLC DE NOIRS 1CT X 750ML</c:v>
                </c:pt>
              </c:strCache>
            </c:strRef>
          </c:cat>
          <c:val>
            <c:numRef>
              <c:f>Sheet1!$B$2:$B$21</c:f>
              <c:numCache>
                <c:formatCode>General</c:formatCode>
                <c:ptCount val="20"/>
                <c:pt idx="0">
                  <c:v>1</c:v>
                </c:pt>
                <c:pt idx="1">
                  <c:v>0.62</c:v>
                </c:pt>
                <c:pt idx="2">
                  <c:v>0.61</c:v>
                </c:pt>
                <c:pt idx="3">
                  <c:v>0.59</c:v>
                </c:pt>
                <c:pt idx="4">
                  <c:v>0.56999999999999995</c:v>
                </c:pt>
                <c:pt idx="5">
                  <c:v>0.59</c:v>
                </c:pt>
                <c:pt idx="6">
                  <c:v>0.59</c:v>
                </c:pt>
                <c:pt idx="7">
                  <c:v>0.44</c:v>
                </c:pt>
                <c:pt idx="8">
                  <c:v>0.27</c:v>
                </c:pt>
                <c:pt idx="9">
                  <c:v>0.42</c:v>
                </c:pt>
                <c:pt idx="10">
                  <c:v>0.18</c:v>
                </c:pt>
                <c:pt idx="11">
                  <c:v>0.43</c:v>
                </c:pt>
                <c:pt idx="12">
                  <c:v>0.5</c:v>
                </c:pt>
                <c:pt idx="13">
                  <c:v>0.32</c:v>
                </c:pt>
                <c:pt idx="14">
                  <c:v>0.26</c:v>
                </c:pt>
                <c:pt idx="15">
                  <c:v>0.33</c:v>
                </c:pt>
                <c:pt idx="16">
                  <c:v>0.18</c:v>
                </c:pt>
                <c:pt idx="17">
                  <c:v>0.15</c:v>
                </c:pt>
                <c:pt idx="18">
                  <c:v>0.2</c:v>
                </c:pt>
                <c:pt idx="19">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CHAMPAGNE NICOLAS BLC/BLC 2002 1CT X 750ML</c:v>
                </c:pt>
                <c:pt idx="18">
                  <c:v>MG CHAMPAGNE NICOLAS 1E CRU BS 1CT X 1500ML</c:v>
                </c:pt>
                <c:pt idx="19">
                  <c:v>CHAMPAGNE NICOLAS BLC DE NOIRS 1CT X 750ML</c:v>
                </c:pt>
              </c:strCache>
            </c:strRef>
          </c:cat>
          <c:val>
            <c:numRef>
              <c:f>Sheet1!$C$2:$C$21</c:f>
              <c:numCache>
                <c:formatCode>General</c:formatCode>
                <c:ptCount val="20"/>
                <c:pt idx="0">
                  <c:v>0.60326050644751783</c:v>
                </c:pt>
                <c:pt idx="1">
                  <c:v>0.70000668136567112</c:v>
                </c:pt>
                <c:pt idx="2">
                  <c:v>0.76080710897307413</c:v>
                </c:pt>
                <c:pt idx="3">
                  <c:v>0.80303334001469906</c:v>
                </c:pt>
                <c:pt idx="4">
                  <c:v>0.8310950758335004</c:v>
                </c:pt>
                <c:pt idx="5">
                  <c:v>0.85842186142847599</c:v>
                </c:pt>
                <c:pt idx="6">
                  <c:v>0.88461281485935728</c:v>
                </c:pt>
                <c:pt idx="7">
                  <c:v>0.90228502705953095</c:v>
                </c:pt>
                <c:pt idx="8">
                  <c:v>0.91948954366272462</c:v>
                </c:pt>
                <c:pt idx="9">
                  <c:v>0.93435558228101823</c:v>
                </c:pt>
                <c:pt idx="10">
                  <c:v>0.94671610877263312</c:v>
                </c:pt>
                <c:pt idx="11">
                  <c:v>0.95904322843589229</c:v>
                </c:pt>
                <c:pt idx="12">
                  <c:v>0.96702746041290844</c:v>
                </c:pt>
                <c:pt idx="13">
                  <c:v>0.97467762410636738</c:v>
                </c:pt>
                <c:pt idx="14">
                  <c:v>0.98209394000133632</c:v>
                </c:pt>
                <c:pt idx="15">
                  <c:v>0.98874189884412378</c:v>
                </c:pt>
                <c:pt idx="16">
                  <c:v>0.99265049776174252</c:v>
                </c:pt>
                <c:pt idx="17">
                  <c:v>0.9962584352241598</c:v>
                </c:pt>
                <c:pt idx="18">
                  <c:v>0.99876394735083851</c:v>
                </c:pt>
                <c:pt idx="1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1</c:f>
              <c:strCache>
                <c:ptCount val="20"/>
                <c:pt idx="0">
                  <c:v>CHAMPAGNE E.NICOLAS BRUT 1CT X 750ML</c:v>
                </c:pt>
                <c:pt idx="1">
                  <c:v>CHAMPAGNE NICOLAS 1ERE CUVEE 1CT X 750ML</c:v>
                </c:pt>
                <c:pt idx="2">
                  <c:v>CHAMPAGNE E.NICOLAS ROSE 1CT X 750ML</c:v>
                </c:pt>
                <c:pt idx="3">
                  <c:v>MG CHAMPAGNE E.NICOLAS BRUT 1CT X 1500ML</c:v>
                </c:pt>
                <c:pt idx="4">
                  <c:v>1/2 CHAMPAGNE NICOLAS 1ERE CUV 1CT X 375ML</c:v>
                </c:pt>
                <c:pt idx="5">
                  <c:v>CHAMPAGNE NICOLAS BLC/BLC BS 1CT X 750ML</c:v>
                </c:pt>
                <c:pt idx="6">
                  <c:v>CHAMPAGNE NICOLAS BIO NAT 2017 1CT X 750ML</c:v>
                </c:pt>
                <c:pt idx="7">
                  <c:v>MG CHAMPAGNE NICOLAS 1ERE CUVE 1CT X 1500ML</c:v>
                </c:pt>
                <c:pt idx="8">
                  <c:v>MG CHAMPAGNE NICOLAS BLC/BL BS 1CT X 1500ML</c:v>
                </c:pt>
                <c:pt idx="9">
                  <c:v>1/2 CHAMP NICOLAS ROSE 1E C BS 1CT X 375ML</c:v>
                </c:pt>
                <c:pt idx="10">
                  <c:v>CHAMPAGNE NICOLAS ROSE 1ERE ET 1CT X 750ML</c:v>
                </c:pt>
                <c:pt idx="11">
                  <c:v>CHAMPAGNE NICOLAS ROSE 1ERE CU 1CT X 750ML</c:v>
                </c:pt>
                <c:pt idx="12">
                  <c:v>1/2 CHAMP NICOLAS BLC/BLC BS 1CT X 375ML</c:v>
                </c:pt>
                <c:pt idx="13">
                  <c:v>CHAMPAGNE NICOLAS 1ER CRU BS 1CT X 750ML</c:v>
                </c:pt>
                <c:pt idx="14">
                  <c:v>CHAMPAGNE NICOLAS ROSE 1E C BS 1CT X 750ML</c:v>
                </c:pt>
                <c:pt idx="15">
                  <c:v>CHAMPAGNE NICOLAS 1ERE CUV ETU 1CT X 750ML</c:v>
                </c:pt>
                <c:pt idx="16">
                  <c:v>CHAMPAGNE NICOLAS BLC/BL BS ET 1CT X 750ML</c:v>
                </c:pt>
                <c:pt idx="17">
                  <c:v>CHAMPAGNE NICOLAS BLC/BLC 2002 1CT X 750ML</c:v>
                </c:pt>
                <c:pt idx="18">
                  <c:v>MG CHAMPAGNE NICOLAS 1E CRU BS 1CT X 1500ML</c:v>
                </c:pt>
                <c:pt idx="19">
                  <c:v>CHAMPAGNE NICOLAS BLC DE NOIRS 1CT X 750ML</c:v>
                </c:pt>
              </c:strCache>
            </c:strRef>
          </c:cat>
          <c:val>
            <c:numRef>
              <c:f>Sheet1!$D$2:$D$21</c:f>
              <c:numCache>
                <c:formatCode>General</c:formatCode>
                <c:ptCount val="20"/>
                <c:pt idx="0">
                  <c:v>180.58</c:v>
                </c:pt>
                <c:pt idx="1">
                  <c:v>46.70967741935484</c:v>
                </c:pt>
                <c:pt idx="2">
                  <c:v>29.83606557377049</c:v>
                </c:pt>
                <c:pt idx="3">
                  <c:v>21.423728813559322</c:v>
                </c:pt>
                <c:pt idx="4">
                  <c:v>14.736842105263159</c:v>
                </c:pt>
                <c:pt idx="5">
                  <c:v>13.864406779661017</c:v>
                </c:pt>
                <c:pt idx="6">
                  <c:v>13.288135593220339</c:v>
                </c:pt>
                <c:pt idx="7">
                  <c:v>12.022727272727273</c:v>
                </c:pt>
                <c:pt idx="8">
                  <c:v>19.074074074074073</c:v>
                </c:pt>
                <c:pt idx="9">
                  <c:v>10.595238095238095</c:v>
                </c:pt>
                <c:pt idx="10">
                  <c:v>20.555555555555557</c:v>
                </c:pt>
                <c:pt idx="11">
                  <c:v>8.5813953488372086</c:v>
                </c:pt>
                <c:pt idx="12">
                  <c:v>4.78</c:v>
                </c:pt>
                <c:pt idx="13">
                  <c:v>7.15625</c:v>
                </c:pt>
                <c:pt idx="14">
                  <c:v>8.5384615384615383</c:v>
                </c:pt>
                <c:pt idx="15">
                  <c:v>6.0303030303030303</c:v>
                </c:pt>
                <c:pt idx="16">
                  <c:v>6.5</c:v>
                </c:pt>
                <c:pt idx="17">
                  <c:v>7.2</c:v>
                </c:pt>
                <c:pt idx="18">
                  <c:v>3.75</c:v>
                </c:pt>
                <c:pt idx="19">
                  <c:v>2.17647058823529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B$2:$B$6</c:f>
              <c:numCache>
                <c:formatCode>General</c:formatCode>
                <c:ptCount val="5"/>
                <c:pt idx="0">
                  <c:v>0.73</c:v>
                </c:pt>
                <c:pt idx="1">
                  <c:v>0.38</c:v>
                </c:pt>
                <c:pt idx="2">
                  <c:v>0.16</c:v>
                </c:pt>
                <c:pt idx="3">
                  <c:v>0.21</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C$2:$C$6</c:f>
              <c:numCache>
                <c:formatCode>General</c:formatCode>
                <c:ptCount val="5"/>
                <c:pt idx="0">
                  <c:v>0.63391136801541426</c:v>
                </c:pt>
                <c:pt idx="1">
                  <c:v>0.78772364437104325</c:v>
                </c:pt>
                <c:pt idx="2">
                  <c:v>0.90597302504816957</c:v>
                </c:pt>
                <c:pt idx="3">
                  <c:v>0.97434627030002752</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MG CHAMPAGNE NICOLAS BLC/BL BS 1CT X 1500ML</c:v>
                </c:pt>
                <c:pt idx="3">
                  <c:v>CHAMPAGNE NICOLAS BLC/BLC 2002 1CT X 750ML</c:v>
                </c:pt>
                <c:pt idx="4">
                  <c:v>CHAMPAGNE NICOLAS BLC/BL BS ET 1CT X 750ML</c:v>
                </c:pt>
              </c:strCache>
            </c:strRef>
          </c:cat>
          <c:val>
            <c:numRef>
              <c:f>Sheet1!$D$2:$D$6</c:f>
              <c:numCache>
                <c:formatCode>General</c:formatCode>
                <c:ptCount val="5"/>
                <c:pt idx="0">
                  <c:v>157.73972602739727</c:v>
                </c:pt>
                <c:pt idx="1">
                  <c:v>73.526315789473685</c:v>
                </c:pt>
                <c:pt idx="2">
                  <c:v>134.25</c:v>
                </c:pt>
                <c:pt idx="3">
                  <c:v>59.142857142857146</c:v>
                </c:pt>
                <c:pt idx="4">
                  <c:v>58.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B$2:$B$4</c:f>
              <c:numCache>
                <c:formatCode>General</c:formatCode>
                <c:ptCount val="3"/>
                <c:pt idx="0">
                  <c:v>0.40656087162482235</c:v>
                </c:pt>
                <c:pt idx="1">
                  <c:v>0.37328280435812411</c:v>
                </c:pt>
                <c:pt idx="2">
                  <c:v>0.2201563240170535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C$2:$C$4</c:f>
              <c:numCache>
                <c:formatCode>General</c:formatCode>
                <c:ptCount val="3"/>
                <c:pt idx="0">
                  <c:v>0.24850299401197604</c:v>
                </c:pt>
                <c:pt idx="1">
                  <c:v>0.23053892215568864</c:v>
                </c:pt>
                <c:pt idx="2">
                  <c:v>0.5209580838323354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D$2:$D$4</c:f>
              <c:numCache>
                <c:formatCode>General</c:formatCode>
                <c:ptCount val="3"/>
                <c:pt idx="0">
                  <c:v>61.123194915150755</c:v>
                </c:pt>
                <c:pt idx="1">
                  <c:v>61.759855922672422</c:v>
                </c:pt>
                <c:pt idx="2">
                  <c:v>236.630987621314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C 2002 1CT X 750ML</c:v>
                </c:pt>
              </c:strCache>
            </c:strRef>
          </c:cat>
          <c:val>
            <c:numRef>
              <c:f>Sheet1!$B$2:$B$5</c:f>
              <c:numCache>
                <c:formatCode>General</c:formatCode>
                <c:ptCount val="4"/>
                <c:pt idx="0">
                  <c:v>0.63</c:v>
                </c:pt>
                <c:pt idx="1">
                  <c:v>0.31</c:v>
                </c:pt>
                <c:pt idx="2">
                  <c:v>0.27</c:v>
                </c:pt>
                <c:pt idx="3">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C 2002 1CT X 750ML</c:v>
                </c:pt>
              </c:strCache>
            </c:strRef>
          </c:cat>
          <c:val>
            <c:numRef>
              <c:f>Sheet1!$C$2:$C$5</c:f>
              <c:numCache>
                <c:formatCode>General</c:formatCode>
                <c:ptCount val="4"/>
                <c:pt idx="0">
                  <c:v>0.79257547306081177</c:v>
                </c:pt>
                <c:pt idx="1">
                  <c:v>0.91040733785930961</c:v>
                </c:pt>
                <c:pt idx="2">
                  <c:v>0.96825798064422941</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C 2002 1CT X 750ML</c:v>
                </c:pt>
              </c:strCache>
            </c:strRef>
          </c:cat>
          <c:val>
            <c:numRef>
              <c:f>Sheet1!$D$2:$D$5</c:f>
              <c:numCache>
                <c:formatCode>General</c:formatCode>
                <c:ptCount val="4"/>
                <c:pt idx="0">
                  <c:v>348.38095238095241</c:v>
                </c:pt>
                <c:pt idx="1">
                  <c:v>105.25806451612904</c:v>
                </c:pt>
                <c:pt idx="2">
                  <c:v>59.333333333333336</c:v>
                </c:pt>
                <c:pt idx="3">
                  <c:v>43.9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CHAMPAGNE NICOLAS BLC/BLC 2002 1CT X 750ML</c:v>
                </c:pt>
                <c:pt idx="3">
                  <c:v>MG CHAMPAGNE NICOLAS BLC/BL BS 1CT X 1500ML</c:v>
                </c:pt>
                <c:pt idx="4">
                  <c:v>CHAMPAGNE NICOLAS BLC/BL BS ET 1CT X 750ML</c:v>
                </c:pt>
              </c:strCache>
            </c:strRef>
          </c:cat>
          <c:val>
            <c:numRef>
              <c:f>Sheet1!$B$2:$B$6</c:f>
              <c:numCache>
                <c:formatCode>General</c:formatCode>
                <c:ptCount val="5"/>
                <c:pt idx="0">
                  <c:v>0.67</c:v>
                </c:pt>
                <c:pt idx="1">
                  <c:v>0.38</c:v>
                </c:pt>
                <c:pt idx="2">
                  <c:v>0.22</c:v>
                </c:pt>
                <c:pt idx="3">
                  <c:v>0.15</c:v>
                </c:pt>
                <c:pt idx="4">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CHAMPAGNE NICOLAS BLC/BLC 2002 1CT X 750ML</c:v>
                </c:pt>
                <c:pt idx="3">
                  <c:v>MG CHAMPAGNE NICOLAS BLC/BL BS 1CT X 1500ML</c:v>
                </c:pt>
                <c:pt idx="4">
                  <c:v>CHAMPAGNE NICOLAS BLC/BL BS ET 1CT X 750ML</c:v>
                </c:pt>
              </c:strCache>
            </c:strRef>
          </c:cat>
          <c:val>
            <c:numRef>
              <c:f>Sheet1!$C$2:$C$6</c:f>
              <c:numCache>
                <c:formatCode>General</c:formatCode>
                <c:ptCount val="5"/>
                <c:pt idx="0">
                  <c:v>0.76702508960573479</c:v>
                </c:pt>
                <c:pt idx="1">
                  <c:v>0.86893344957861085</c:v>
                </c:pt>
                <c:pt idx="2">
                  <c:v>0.94265232974910396</c:v>
                </c:pt>
                <c:pt idx="3">
                  <c:v>0.99244405696018601</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CHAMPAGNE NICOLAS BLC/BLC 2002 1CT X 750ML</c:v>
                </c:pt>
                <c:pt idx="3">
                  <c:v>MG CHAMPAGNE NICOLAS BLC/BL BS 1CT X 1500ML</c:v>
                </c:pt>
                <c:pt idx="4">
                  <c:v>CHAMPAGNE NICOLAS BLC/BL BS ET 1CT X 750ML</c:v>
                </c:pt>
              </c:strCache>
            </c:strRef>
          </c:cat>
          <c:val>
            <c:numRef>
              <c:f>Sheet1!$D$2:$D$6</c:f>
              <c:numCache>
                <c:formatCode>General</c:formatCode>
                <c:ptCount val="5"/>
                <c:pt idx="0">
                  <c:v>118.17910447761194</c:v>
                </c:pt>
                <c:pt idx="1">
                  <c:v>27.684210526315791</c:v>
                </c:pt>
                <c:pt idx="2">
                  <c:v>34.590909090909093</c:v>
                </c:pt>
                <c:pt idx="3">
                  <c:v>34.266666666666666</c:v>
                </c:pt>
                <c:pt idx="4">
                  <c:v>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MG CHAMPAGNE NICOLAS BLC/BL BS 1CT X 1500ML</c:v>
                </c:pt>
                <c:pt idx="2">
                  <c:v>1/2 CHAMP NICOLAS BLC/BLC BS 1CT X 375ML</c:v>
                </c:pt>
                <c:pt idx="3">
                  <c:v>CHAMPAGNE NICOLAS BLC/BLC 2002 1CT X 750ML</c:v>
                </c:pt>
              </c:strCache>
            </c:strRef>
          </c:cat>
          <c:val>
            <c:numRef>
              <c:f>Sheet1!$B$2:$B$5</c:f>
              <c:numCache>
                <c:formatCode>General</c:formatCode>
                <c:ptCount val="4"/>
                <c:pt idx="0">
                  <c:v>0.87</c:v>
                </c:pt>
                <c:pt idx="1">
                  <c:v>0.63</c:v>
                </c:pt>
                <c:pt idx="2">
                  <c:v>0.47</c:v>
                </c:pt>
                <c:pt idx="3">
                  <c:v>0.3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MG CHAMPAGNE NICOLAS BLC/BL BS 1CT X 1500ML</c:v>
                </c:pt>
                <c:pt idx="2">
                  <c:v>1/2 CHAMP NICOLAS BLC/BLC BS 1CT X 375ML</c:v>
                </c:pt>
                <c:pt idx="3">
                  <c:v>CHAMPAGNE NICOLAS BLC/BLC 2002 1CT X 750ML</c:v>
                </c:pt>
              </c:strCache>
            </c:strRef>
          </c:cat>
          <c:val>
            <c:numRef>
              <c:f>Sheet1!$C$2:$C$5</c:f>
              <c:numCache>
                <c:formatCode>General</c:formatCode>
                <c:ptCount val="4"/>
                <c:pt idx="0">
                  <c:v>0.64283424174414883</c:v>
                </c:pt>
                <c:pt idx="1">
                  <c:v>0.82189804424495039</c:v>
                </c:pt>
                <c:pt idx="2">
                  <c:v>0.9430907342096827</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MG CHAMPAGNE NICOLAS BLC/BL BS 1CT X 1500ML</c:v>
                </c:pt>
                <c:pt idx="2">
                  <c:v>1/2 CHAMP NICOLAS BLC/BLC BS 1CT X 375ML</c:v>
                </c:pt>
                <c:pt idx="3">
                  <c:v>CHAMPAGNE NICOLAS BLC/BLC 2002 1CT X 750ML</c:v>
                </c:pt>
              </c:strCache>
            </c:strRef>
          </c:cat>
          <c:val>
            <c:numRef>
              <c:f>Sheet1!$D$2:$D$5</c:f>
              <c:numCache>
                <c:formatCode>General</c:formatCode>
                <c:ptCount val="4"/>
                <c:pt idx="0">
                  <c:v>92.183908045977006</c:v>
                </c:pt>
                <c:pt idx="1">
                  <c:v>35.460317460317462</c:v>
                </c:pt>
                <c:pt idx="2">
                  <c:v>32.170212765957444</c:v>
                </c:pt>
                <c:pt idx="3">
                  <c:v>20.8823529411764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55000000000000004</c:v>
                </c:pt>
                <c:pt idx="1">
                  <c:v>0.4</c:v>
                </c:pt>
                <c:pt idx="2">
                  <c:v>0.35</c:v>
                </c:pt>
                <c:pt idx="3">
                  <c:v>0.11</c:v>
                </c:pt>
                <c:pt idx="4">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65069595019934257</c:v>
                </c:pt>
                <c:pt idx="1">
                  <c:v>0.80093725956494377</c:v>
                </c:pt>
                <c:pt idx="2">
                  <c:v>0.91634608659159267</c:v>
                </c:pt>
                <c:pt idx="3">
                  <c:v>0.9837728194726166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169.14545454545453</c:v>
                </c:pt>
                <c:pt idx="1">
                  <c:v>53.7</c:v>
                </c:pt>
                <c:pt idx="2">
                  <c:v>47.142857142857146</c:v>
                </c:pt>
                <c:pt idx="3">
                  <c:v>87.63636363636364</c:v>
                </c:pt>
                <c:pt idx="4">
                  <c:v>17.84615384615384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B$2:$B$6</c:f>
              <c:numCache>
                <c:formatCode>General</c:formatCode>
                <c:ptCount val="5"/>
                <c:pt idx="0">
                  <c:v>0.65</c:v>
                </c:pt>
                <c:pt idx="1">
                  <c:v>0.4</c:v>
                </c:pt>
                <c:pt idx="2">
                  <c:v>0.28000000000000003</c:v>
                </c:pt>
                <c:pt idx="3">
                  <c:v>0.17</c:v>
                </c:pt>
                <c:pt idx="4">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C$2:$C$6</c:f>
              <c:numCache>
                <c:formatCode>General</c:formatCode>
                <c:ptCount val="5"/>
                <c:pt idx="0">
                  <c:v>0.73569287855002141</c:v>
                </c:pt>
                <c:pt idx="1">
                  <c:v>0.87041529898672754</c:v>
                </c:pt>
                <c:pt idx="2">
                  <c:v>0.93639693639693633</c:v>
                </c:pt>
                <c:pt idx="3">
                  <c:v>0.98330241187384038</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C 2002 1CT X 750ML</c:v>
                </c:pt>
                <c:pt idx="4">
                  <c:v>CHAMPAGNE NICOLAS BLC/BL BS ET 1CT X 750ML</c:v>
                </c:pt>
              </c:strCache>
            </c:strRef>
          </c:cat>
          <c:val>
            <c:numRef>
              <c:f>Sheet1!$D$2:$D$6</c:f>
              <c:numCache>
                <c:formatCode>General</c:formatCode>
                <c:ptCount val="5"/>
                <c:pt idx="0">
                  <c:v>237.92307692307693</c:v>
                </c:pt>
                <c:pt idx="1">
                  <c:v>70.8</c:v>
                </c:pt>
                <c:pt idx="2">
                  <c:v>49.535714285714278</c:v>
                </c:pt>
                <c:pt idx="3">
                  <c:v>58</c:v>
                </c:pt>
                <c:pt idx="4">
                  <c:v>50.1428571428571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CHAMPAGNE NICOLAS BLC/BLC 2002 1CT X 750ML</c:v>
                </c:pt>
                <c:pt idx="2">
                  <c:v>1/2 CHAMP NICOLAS BLC/BLC BS 1CT X 375ML</c:v>
                </c:pt>
                <c:pt idx="3">
                  <c:v>MG CHAMPAGNE NICOLAS BLC/BL BS 1CT X 1500ML</c:v>
                </c:pt>
              </c:strCache>
            </c:strRef>
          </c:cat>
          <c:val>
            <c:numRef>
              <c:f>Sheet1!$B$2:$B$5</c:f>
              <c:numCache>
                <c:formatCode>General</c:formatCode>
                <c:ptCount val="4"/>
                <c:pt idx="0">
                  <c:v>0.63</c:v>
                </c:pt>
                <c:pt idx="1">
                  <c:v>0.25</c:v>
                </c:pt>
                <c:pt idx="2">
                  <c:v>0.26</c:v>
                </c:pt>
                <c:pt idx="3">
                  <c:v>0.1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CHAMPAGNE NICOLAS BLC/BLC 2002 1CT X 750ML</c:v>
                </c:pt>
                <c:pt idx="2">
                  <c:v>1/2 CHAMP NICOLAS BLC/BLC BS 1CT X 375ML</c:v>
                </c:pt>
                <c:pt idx="3">
                  <c:v>MG CHAMPAGNE NICOLAS BLC/BL BS 1CT X 1500ML</c:v>
                </c:pt>
              </c:strCache>
            </c:strRef>
          </c:cat>
          <c:val>
            <c:numRef>
              <c:f>Sheet1!$C$2:$C$5</c:f>
              <c:numCache>
                <c:formatCode>General</c:formatCode>
                <c:ptCount val="4"/>
                <c:pt idx="0">
                  <c:v>0.70940247622465458</c:v>
                </c:pt>
                <c:pt idx="1">
                  <c:v>0.82495962677193613</c:v>
                </c:pt>
                <c:pt idx="2">
                  <c:v>0.9151265027812668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CHAMPAGNE NICOLAS BLC/BLC 2002 1CT X 750ML</c:v>
                </c:pt>
                <c:pt idx="2">
                  <c:v>1/2 CHAMP NICOLAS BLC/BLC BS 1CT X 375ML</c:v>
                </c:pt>
                <c:pt idx="3">
                  <c:v>MG CHAMPAGNE NICOLAS BLC/BL BS 1CT X 1500ML</c:v>
                </c:pt>
              </c:strCache>
            </c:strRef>
          </c:cat>
          <c:val>
            <c:numRef>
              <c:f>Sheet1!$D$2:$D$5</c:f>
              <c:numCache>
                <c:formatCode>General</c:formatCode>
                <c:ptCount val="4"/>
                <c:pt idx="0">
                  <c:v>125.50793650793651</c:v>
                </c:pt>
                <c:pt idx="1">
                  <c:v>51.52</c:v>
                </c:pt>
                <c:pt idx="2">
                  <c:v>38.653846153846153</c:v>
                </c:pt>
                <c:pt idx="3">
                  <c:v>52.5555555555555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1/2 CHAMP NICOLAS BLC/BLC BS 1CT X 375ML</c:v>
                </c:pt>
                <c:pt idx="2">
                  <c:v>CHAMPAGNE NICOLAS BLC/BL BS ET 1CT X 750ML</c:v>
                </c:pt>
                <c:pt idx="3">
                  <c:v>CHAMPAGNE NICOLAS BLC/BLC 2002 1CT X 750ML</c:v>
                </c:pt>
                <c:pt idx="4">
                  <c:v>MG CHAMPAGNE NICOLAS BLC/BL BS 1CT X 1500ML</c:v>
                </c:pt>
              </c:strCache>
            </c:strRef>
          </c:cat>
          <c:val>
            <c:numRef>
              <c:f>Sheet1!$B$2:$B$6</c:f>
              <c:numCache>
                <c:formatCode>General</c:formatCode>
                <c:ptCount val="5"/>
                <c:pt idx="0">
                  <c:v>0.51</c:v>
                </c:pt>
                <c:pt idx="1">
                  <c:v>0.62</c:v>
                </c:pt>
                <c:pt idx="2">
                  <c:v>0.11</c:v>
                </c:pt>
                <c:pt idx="3">
                  <c:v>0.1</c:v>
                </c:pt>
                <c:pt idx="4">
                  <c:v>0.3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1/2 CHAMP NICOLAS BLC/BLC BS 1CT X 375ML</c:v>
                </c:pt>
                <c:pt idx="2">
                  <c:v>CHAMPAGNE NICOLAS BLC/BL BS ET 1CT X 750ML</c:v>
                </c:pt>
                <c:pt idx="3">
                  <c:v>CHAMPAGNE NICOLAS BLC/BLC 2002 1CT X 750ML</c:v>
                </c:pt>
                <c:pt idx="4">
                  <c:v>MG CHAMPAGNE NICOLAS BLC/BL BS 1CT X 1500ML</c:v>
                </c:pt>
              </c:strCache>
            </c:strRef>
          </c:cat>
          <c:val>
            <c:numRef>
              <c:f>Sheet1!$C$2:$C$6</c:f>
              <c:numCache>
                <c:formatCode>General</c:formatCode>
                <c:ptCount val="5"/>
                <c:pt idx="0">
                  <c:v>0.65940866376346552</c:v>
                </c:pt>
                <c:pt idx="1">
                  <c:v>0.79165711666284666</c:v>
                </c:pt>
                <c:pt idx="2">
                  <c:v>0.87210634884253957</c:v>
                </c:pt>
                <c:pt idx="3">
                  <c:v>0.9408663763465505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1/2 CHAMP NICOLAS BLC/BLC BS 1CT X 375ML</c:v>
                </c:pt>
                <c:pt idx="2">
                  <c:v>CHAMPAGNE NICOLAS BLC/BL BS ET 1CT X 750ML</c:v>
                </c:pt>
                <c:pt idx="3">
                  <c:v>CHAMPAGNE NICOLAS BLC/BLC 2002 1CT X 750ML</c:v>
                </c:pt>
                <c:pt idx="4">
                  <c:v>MG CHAMPAGNE NICOLAS BLC/BL BS 1CT X 1500ML</c:v>
                </c:pt>
              </c:strCache>
            </c:strRef>
          </c:cat>
          <c:val>
            <c:numRef>
              <c:f>Sheet1!$D$2:$D$6</c:f>
              <c:numCache>
                <c:formatCode>General</c:formatCode>
                <c:ptCount val="5"/>
                <c:pt idx="0">
                  <c:v>56.411764705882355</c:v>
                </c:pt>
                <c:pt idx="1">
                  <c:v>9.306451612903226</c:v>
                </c:pt>
                <c:pt idx="2">
                  <c:v>31.90909090909091</c:v>
                </c:pt>
                <c:pt idx="3">
                  <c:v>30</c:v>
                </c:pt>
                <c:pt idx="4">
                  <c:v>7.3714285714285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B$2:$B$4</c:f>
              <c:numCache>
                <c:formatCode>General</c:formatCode>
                <c:ptCount val="3"/>
                <c:pt idx="0">
                  <c:v>0.69</c:v>
                </c:pt>
                <c:pt idx="1">
                  <c:v>0.35</c:v>
                </c:pt>
                <c:pt idx="2">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BLC/BLC BS 1CT X 750ML</c:v>
                </c:pt>
                <c:pt idx="1">
                  <c:v>MG CHAMPAGNE NICOLAS BLC/BL BS 1CT X 1500ML</c:v>
                </c:pt>
                <c:pt idx="2">
                  <c:v>1/2 CHAMP NICOLAS BLC/BLC BS 1CT X 375ML</c:v>
                </c:pt>
              </c:strCache>
            </c:strRef>
          </c:cat>
          <c:val>
            <c:numRef>
              <c:f>Sheet1!$C$2:$C$4</c:f>
              <c:numCache>
                <c:formatCode>General</c:formatCode>
                <c:ptCount val="3"/>
                <c:pt idx="0">
                  <c:v>0.73754272351142292</c:v>
                </c:pt>
                <c:pt idx="1">
                  <c:v>0.8922468069796726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BLC/BLC BS 1CT X 750ML</c:v>
                </c:pt>
                <c:pt idx="1">
                  <c:v>MG CHAMPAGNE NICOLAS BLC/BL BS 1CT X 1500ML</c:v>
                </c:pt>
                <c:pt idx="2">
                  <c:v>1/2 CHAMP NICOLAS BLC/BLC BS 1CT X 375ML</c:v>
                </c:pt>
              </c:strCache>
            </c:strRef>
          </c:cat>
          <c:val>
            <c:numRef>
              <c:f>Sheet1!$D$2:$D$4</c:f>
              <c:numCache>
                <c:formatCode>General</c:formatCode>
                <c:ptCount val="3"/>
                <c:pt idx="0">
                  <c:v>59.420289855072461</c:v>
                </c:pt>
                <c:pt idx="1">
                  <c:v>24.571428571428573</c:v>
                </c:pt>
                <c:pt idx="2">
                  <c:v>14.6097560975609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NICOLAS BLC/BLC BS 1CT X 750ML</c:v>
                </c:pt>
                <c:pt idx="1">
                  <c:v>1/2 CHAMP NICOLAS BLC/BLC BS 1CT X 375ML</c:v>
                </c:pt>
                <c:pt idx="2">
                  <c:v>CHAMPAGNE NICOLAS BLC/BLC 2002 1CT X 750ML</c:v>
                </c:pt>
                <c:pt idx="3">
                  <c:v>MG CHAMPAGNE NICOLAS BLC/BL BS 1CT X 1500ML</c:v>
                </c:pt>
              </c:strCache>
            </c:strRef>
          </c:cat>
          <c:val>
            <c:numRef>
              <c:f>Sheet1!$B$2:$B$5</c:f>
              <c:numCache>
                <c:formatCode>General</c:formatCode>
                <c:ptCount val="4"/>
                <c:pt idx="0">
                  <c:v>0.8</c:v>
                </c:pt>
                <c:pt idx="1">
                  <c:v>0.64</c:v>
                </c:pt>
                <c:pt idx="2">
                  <c:v>0.44</c:v>
                </c:pt>
                <c:pt idx="3">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NICOLAS BLC/BLC BS 1CT X 750ML</c:v>
                </c:pt>
                <c:pt idx="1">
                  <c:v>1/2 CHAMP NICOLAS BLC/BLC BS 1CT X 375ML</c:v>
                </c:pt>
                <c:pt idx="2">
                  <c:v>CHAMPAGNE NICOLAS BLC/BLC 2002 1CT X 750ML</c:v>
                </c:pt>
                <c:pt idx="3">
                  <c:v>MG CHAMPAGNE NICOLAS BLC/BL BS 1CT X 1500ML</c:v>
                </c:pt>
              </c:strCache>
            </c:strRef>
          </c:cat>
          <c:val>
            <c:numRef>
              <c:f>Sheet1!$C$2:$C$5</c:f>
              <c:numCache>
                <c:formatCode>General</c:formatCode>
                <c:ptCount val="4"/>
                <c:pt idx="0">
                  <c:v>0.77579764300086229</c:v>
                </c:pt>
                <c:pt idx="1">
                  <c:v>0.91319344639264155</c:v>
                </c:pt>
                <c:pt idx="2">
                  <c:v>0.97528025294624887</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NICOLAS BLC/BLC BS 1CT X 750ML</c:v>
                </c:pt>
                <c:pt idx="1">
                  <c:v>1/2 CHAMP NICOLAS BLC/BLC BS 1CT X 375ML</c:v>
                </c:pt>
                <c:pt idx="2">
                  <c:v>CHAMPAGNE NICOLAS BLC/BLC 2002 1CT X 750ML</c:v>
                </c:pt>
                <c:pt idx="3">
                  <c:v>MG CHAMPAGNE NICOLAS BLC/BL BS 1CT X 1500ML</c:v>
                </c:pt>
              </c:strCache>
            </c:strRef>
          </c:cat>
          <c:val>
            <c:numRef>
              <c:f>Sheet1!$D$2:$D$5</c:f>
              <c:numCache>
                <c:formatCode>General</c:formatCode>
                <c:ptCount val="4"/>
                <c:pt idx="0">
                  <c:v>33.737499999999997</c:v>
                </c:pt>
                <c:pt idx="1">
                  <c:v>7.46875</c:v>
                </c:pt>
                <c:pt idx="2">
                  <c:v>4.9090909090909092</c:v>
                </c:pt>
                <c:pt idx="3">
                  <c:v>7.81818181818181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NICOLAS BLC/BLC BS 1CT X 750ML</c:v>
                </c:pt>
                <c:pt idx="1">
                  <c:v>MG CHAMPAGNE NICOLAS BLC/BL BS 1CT X 1500ML</c:v>
                </c:pt>
                <c:pt idx="2">
                  <c:v>1/2 CHAMP NICOLAS BLC/BLC BS 1CT X 375ML</c:v>
                </c:pt>
                <c:pt idx="3">
                  <c:v>CHAMPAGNE NICOLAS BLC/BL BS ET 1CT X 750ML</c:v>
                </c:pt>
                <c:pt idx="4">
                  <c:v>CHAMPAGNE NICOLAS BLC/BLC 2002 1CT X 750ML</c:v>
                </c:pt>
              </c:strCache>
            </c:strRef>
          </c:cat>
          <c:val>
            <c:numRef>
              <c:f>Sheet1!$B$2:$B$6</c:f>
              <c:numCache>
                <c:formatCode>General</c:formatCode>
                <c:ptCount val="5"/>
                <c:pt idx="0">
                  <c:v>0.59</c:v>
                </c:pt>
                <c:pt idx="1">
                  <c:v>0.27</c:v>
                </c:pt>
                <c:pt idx="2">
                  <c:v>0.5</c:v>
                </c:pt>
                <c:pt idx="3">
                  <c:v>0.18</c:v>
                </c:pt>
                <c:pt idx="4">
                  <c:v>0.1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NICOLAS BLC/BLC BS 1CT X 750ML</c:v>
                </c:pt>
                <c:pt idx="1">
                  <c:v>MG CHAMPAGNE NICOLAS BLC/BL BS 1CT X 1500ML</c:v>
                </c:pt>
                <c:pt idx="2">
                  <c:v>1/2 CHAMP NICOLAS BLC/BLC BS 1CT X 375ML</c:v>
                </c:pt>
                <c:pt idx="3">
                  <c:v>CHAMPAGNE NICOLAS BLC/BL BS ET 1CT X 750ML</c:v>
                </c:pt>
                <c:pt idx="4">
                  <c:v>CHAMPAGNE NICOLAS BLC/BLC 2002 1CT X 750ML</c:v>
                </c:pt>
              </c:strCache>
            </c:strRef>
          </c:cat>
          <c:val>
            <c:numRef>
              <c:f>Sheet1!$C$2:$C$6</c:f>
              <c:numCache>
                <c:formatCode>General</c:formatCode>
                <c:ptCount val="5"/>
                <c:pt idx="0">
                  <c:v>0.45520311630495269</c:v>
                </c:pt>
                <c:pt idx="1">
                  <c:v>0.74179187534780189</c:v>
                </c:pt>
                <c:pt idx="2">
                  <c:v>0.87479131886477468</c:v>
                </c:pt>
                <c:pt idx="3">
                  <c:v>0.9398998330550918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NICOLAS BLC/BLC BS 1CT X 750ML</c:v>
                </c:pt>
                <c:pt idx="1">
                  <c:v>MG CHAMPAGNE NICOLAS BLC/BL BS 1CT X 1500ML</c:v>
                </c:pt>
                <c:pt idx="2">
                  <c:v>1/2 CHAMP NICOLAS BLC/BLC BS 1CT X 375ML</c:v>
                </c:pt>
                <c:pt idx="3">
                  <c:v>CHAMPAGNE NICOLAS BLC/BL BS ET 1CT X 750ML</c:v>
                </c:pt>
                <c:pt idx="4">
                  <c:v>CHAMPAGNE NICOLAS BLC/BLC 2002 1CT X 750ML</c:v>
                </c:pt>
              </c:strCache>
            </c:strRef>
          </c:cat>
          <c:val>
            <c:numRef>
              <c:f>Sheet1!$D$2:$D$6</c:f>
              <c:numCache>
                <c:formatCode>General</c:formatCode>
                <c:ptCount val="5"/>
                <c:pt idx="0">
                  <c:v>13.864406779661017</c:v>
                </c:pt>
                <c:pt idx="1">
                  <c:v>19.074074074074073</c:v>
                </c:pt>
                <c:pt idx="2">
                  <c:v>4.78</c:v>
                </c:pt>
                <c:pt idx="3">
                  <c:v>6.5</c:v>
                </c:pt>
                <c:pt idx="4">
                  <c:v>7.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B$2:$B$4</c:f>
              <c:numCache>
                <c:formatCode>General</c:formatCode>
                <c:ptCount val="3"/>
                <c:pt idx="0">
                  <c:v>0.37696969696969695</c:v>
                </c:pt>
                <c:pt idx="1">
                  <c:v>0.3646060606060606</c:v>
                </c:pt>
                <c:pt idx="2">
                  <c:v>0.258424242424242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C$2:$C$4</c:f>
              <c:numCache>
                <c:formatCode>General</c:formatCode>
                <c:ptCount val="3"/>
                <c:pt idx="0">
                  <c:v>0.2735562310030395</c:v>
                </c:pt>
                <c:pt idx="1">
                  <c:v>0.18844984802431611</c:v>
                </c:pt>
                <c:pt idx="2">
                  <c:v>0.537993920972644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D$2:$D$4</c:f>
              <c:numCache>
                <c:formatCode>General</c:formatCode>
                <c:ptCount val="3"/>
                <c:pt idx="0">
                  <c:v>72.567167388266114</c:v>
                </c:pt>
                <c:pt idx="1">
                  <c:v>51.685879195498927</c:v>
                </c:pt>
                <c:pt idx="2">
                  <c:v>208.18245065780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0.99</c:v>
                </c:pt>
                <c:pt idx="1">
                  <c:v>0.75</c:v>
                </c:pt>
                <c:pt idx="2">
                  <c:v>0.49</c:v>
                </c:pt>
                <c:pt idx="3">
                  <c:v>0.48</c:v>
                </c:pt>
                <c:pt idx="4">
                  <c:v>0.23</c:v>
                </c:pt>
                <c:pt idx="5">
                  <c:v>0.32</c:v>
                </c:pt>
                <c:pt idx="6">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88215712964417214</c:v>
                </c:pt>
                <c:pt idx="1">
                  <c:v>0.93294417395249807</c:v>
                </c:pt>
                <c:pt idx="2">
                  <c:v>0.95601451930963466</c:v>
                </c:pt>
                <c:pt idx="3">
                  <c:v>0.9770954400293177</c:v>
                </c:pt>
                <c:pt idx="4">
                  <c:v>0.98795002006875721</c:v>
                </c:pt>
                <c:pt idx="5">
                  <c:v>0.99589026752526033</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2042.4343434343434</c:v>
                </c:pt>
                <c:pt idx="1">
                  <c:v>155.21333333333334</c:v>
                </c:pt>
                <c:pt idx="2">
                  <c:v>107.91836734693878</c:v>
                </c:pt>
                <c:pt idx="3">
                  <c:v>100.66666666666667</c:v>
                </c:pt>
                <c:pt idx="4">
                  <c:v>108.17391304347827</c:v>
                </c:pt>
                <c:pt idx="5">
                  <c:v>56.875</c:v>
                </c:pt>
                <c:pt idx="6">
                  <c:v>5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1</c:v>
                </c:pt>
                <c:pt idx="1">
                  <c:v>0.52</c:v>
                </c:pt>
                <c:pt idx="2">
                  <c:v>0.49</c:v>
                </c:pt>
                <c:pt idx="3">
                  <c:v>0.37</c:v>
                </c:pt>
                <c:pt idx="4">
                  <c:v>0.32</c:v>
                </c:pt>
                <c:pt idx="5">
                  <c:v>0.43</c:v>
                </c:pt>
                <c:pt idx="6">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8712973150622294</c:v>
                </c:pt>
                <c:pt idx="1">
                  <c:v>0.92559145316243474</c:v>
                </c:pt>
                <c:pt idx="2">
                  <c:v>0.96664904333909674</c:v>
                </c:pt>
                <c:pt idx="3">
                  <c:v>0.98121924848415576</c:v>
                </c:pt>
                <c:pt idx="4">
                  <c:v>0.99130741275262091</c:v>
                </c:pt>
                <c:pt idx="5">
                  <c:v>0.99852821399482738</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1829.28</c:v>
                </c:pt>
                <c:pt idx="1">
                  <c:v>219.21153846153845</c:v>
                </c:pt>
                <c:pt idx="2">
                  <c:v>175.91836734693877</c:v>
                </c:pt>
                <c:pt idx="3">
                  <c:v>82.675675675675677</c:v>
                </c:pt>
                <c:pt idx="4">
                  <c:v>66.1875</c:v>
                </c:pt>
                <c:pt idx="5">
                  <c:v>35.255813953488371</c:v>
                </c:pt>
                <c:pt idx="6">
                  <c:v>28.0909090909090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MG CHAMPAGNE NICOLAS 1ERE CUVE 1CT X 1500ML</c:v>
                </c:pt>
                <c:pt idx="5">
                  <c:v>CHAMPAGNE NICOLAS BIO NAT 2017 1CT X 750ML</c:v>
                </c:pt>
                <c:pt idx="6">
                  <c:v>CHAMPAGNE NICOLAS 1ERE CUV ETU 1CT X 750ML</c:v>
                </c:pt>
                <c:pt idx="7">
                  <c:v>MG CHAMPAGNE NICOLAS BRUT 1CT X 1500ML</c:v>
                </c:pt>
              </c:strCache>
            </c:strRef>
          </c:cat>
          <c:val>
            <c:numRef>
              <c:f>Sheet1!$B$2:$B$9</c:f>
              <c:numCache>
                <c:formatCode>General</c:formatCode>
                <c:ptCount val="8"/>
                <c:pt idx="0">
                  <c:v>1</c:v>
                </c:pt>
                <c:pt idx="1">
                  <c:v>0.9</c:v>
                </c:pt>
                <c:pt idx="2">
                  <c:v>0.61</c:v>
                </c:pt>
                <c:pt idx="3">
                  <c:v>0.34</c:v>
                </c:pt>
                <c:pt idx="4">
                  <c:v>0.3</c:v>
                </c:pt>
                <c:pt idx="5">
                  <c:v>0.28000000000000003</c:v>
                </c:pt>
                <c:pt idx="6">
                  <c:v>0.12</c:v>
                </c:pt>
                <c:pt idx="7">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MG CHAMPAGNE NICOLAS 1ERE CUVE 1CT X 1500ML</c:v>
                </c:pt>
                <c:pt idx="5">
                  <c:v>CHAMPAGNE NICOLAS BIO NAT 2017 1CT X 750ML</c:v>
                </c:pt>
                <c:pt idx="6">
                  <c:v>CHAMPAGNE NICOLAS 1ERE CUV ETU 1CT X 750ML</c:v>
                </c:pt>
                <c:pt idx="7">
                  <c:v>MG CHAMPAGNE NICOLAS BRUT 1CT X 1500ML</c:v>
                </c:pt>
              </c:strCache>
            </c:strRef>
          </c:cat>
          <c:val>
            <c:numRef>
              <c:f>Sheet1!$C$2:$C$9</c:f>
              <c:numCache>
                <c:formatCode>General</c:formatCode>
                <c:ptCount val="8"/>
                <c:pt idx="0">
                  <c:v>0.88624380299309646</c:v>
                </c:pt>
                <c:pt idx="1">
                  <c:v>0.94234351109669656</c:v>
                </c:pt>
                <c:pt idx="2">
                  <c:v>0.96809526015845815</c:v>
                </c:pt>
                <c:pt idx="3">
                  <c:v>0.98150396145114216</c:v>
                </c:pt>
                <c:pt idx="4">
                  <c:v>0.99050178381133303</c:v>
                </c:pt>
                <c:pt idx="5">
                  <c:v>0.99731269981003567</c:v>
                </c:pt>
                <c:pt idx="6">
                  <c:v>0.99962007135245334</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MG CHAMPAGNE E.NICOLAS BRUT 1CT X 1500ML</c:v>
                </c:pt>
                <c:pt idx="4">
                  <c:v>MG CHAMPAGNE NICOLAS 1ERE CUVE 1CT X 1500ML</c:v>
                </c:pt>
                <c:pt idx="5">
                  <c:v>CHAMPAGNE NICOLAS BIO NAT 2017 1CT X 750ML</c:v>
                </c:pt>
                <c:pt idx="6">
                  <c:v>CHAMPAGNE NICOLAS 1ERE CUV ETU 1CT X 750ML</c:v>
                </c:pt>
                <c:pt idx="7">
                  <c:v>MG CHAMPAGNE NICOLAS BRUT 1CT X 1500ML</c:v>
                </c:pt>
              </c:strCache>
            </c:strRef>
          </c:cat>
          <c:val>
            <c:numRef>
              <c:f>Sheet1!$D$2:$D$9</c:f>
              <c:numCache>
                <c:formatCode>General</c:formatCode>
                <c:ptCount val="8"/>
                <c:pt idx="0">
                  <c:v>956.39</c:v>
                </c:pt>
                <c:pt idx="1">
                  <c:v>67.266666666666666</c:v>
                </c:pt>
                <c:pt idx="2">
                  <c:v>45.557377049180324</c:v>
                </c:pt>
                <c:pt idx="3">
                  <c:v>42.558823529411768</c:v>
                </c:pt>
                <c:pt idx="4">
                  <c:v>32.366666666666667</c:v>
                </c:pt>
                <c:pt idx="5">
                  <c:v>26.249999999999996</c:v>
                </c:pt>
                <c:pt idx="6">
                  <c:v>20.75</c:v>
                </c:pt>
                <c:pt idx="7">
                  <c:v>5.8571428571428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1ERE CUV ETU 1CT X 750ML</c:v>
                </c:pt>
                <c:pt idx="6">
                  <c:v>MG CHAMPAGNE NICOLAS 1ERE CUVE 1CT X 1500ML</c:v>
                </c:pt>
              </c:strCache>
            </c:strRef>
          </c:cat>
          <c:val>
            <c:numRef>
              <c:f>Sheet1!$B$2:$B$8</c:f>
              <c:numCache>
                <c:formatCode>General</c:formatCode>
                <c:ptCount val="7"/>
                <c:pt idx="0">
                  <c:v>1</c:v>
                </c:pt>
                <c:pt idx="1">
                  <c:v>0.54</c:v>
                </c:pt>
                <c:pt idx="2">
                  <c:v>0.62</c:v>
                </c:pt>
                <c:pt idx="3">
                  <c:v>0.41</c:v>
                </c:pt>
                <c:pt idx="4">
                  <c:v>0.33</c:v>
                </c:pt>
                <c:pt idx="5">
                  <c:v>0.19</c:v>
                </c:pt>
                <c:pt idx="6">
                  <c:v>0.3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1ERE CUV ETU 1CT X 750ML</c:v>
                </c:pt>
                <c:pt idx="6">
                  <c:v>MG CHAMPAGNE NICOLAS 1ERE CUVE 1CT X 1500ML</c:v>
                </c:pt>
              </c:strCache>
            </c:strRef>
          </c:cat>
          <c:val>
            <c:numRef>
              <c:f>Sheet1!$C$2:$C$8</c:f>
              <c:numCache>
                <c:formatCode>General</c:formatCode>
                <c:ptCount val="7"/>
                <c:pt idx="0">
                  <c:v>0.891790570593468</c:v>
                </c:pt>
                <c:pt idx="1">
                  <c:v>0.92549879273096958</c:v>
                </c:pt>
                <c:pt idx="2">
                  <c:v>0.9512485703393061</c:v>
                </c:pt>
                <c:pt idx="3">
                  <c:v>0.96988181471597401</c:v>
                </c:pt>
                <c:pt idx="4">
                  <c:v>0.98012771635531826</c:v>
                </c:pt>
                <c:pt idx="5">
                  <c:v>0.9903736179946625</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1ERE CUV ETU 1CT X 750ML</c:v>
                </c:pt>
                <c:pt idx="6">
                  <c:v>MG CHAMPAGNE NICOLAS 1ERE CUVE 1CT X 1500ML</c:v>
                </c:pt>
              </c:strCache>
            </c:strRef>
          </c:cat>
          <c:val>
            <c:numRef>
              <c:f>Sheet1!$D$2:$D$8</c:f>
              <c:numCache>
                <c:formatCode>General</c:formatCode>
                <c:ptCount val="7"/>
                <c:pt idx="0">
                  <c:v>561.4</c:v>
                </c:pt>
                <c:pt idx="1">
                  <c:v>39.296296296296298</c:v>
                </c:pt>
                <c:pt idx="2">
                  <c:v>26.14516129032258</c:v>
                </c:pt>
                <c:pt idx="3">
                  <c:v>28.609756097560975</c:v>
                </c:pt>
                <c:pt idx="4">
                  <c:v>19.545454545454547</c:v>
                </c:pt>
                <c:pt idx="5">
                  <c:v>33.94736842105263</c:v>
                </c:pt>
                <c:pt idx="6">
                  <c:v>16.8333333333333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1</c:v>
                </c:pt>
                <c:pt idx="1">
                  <c:v>0.75</c:v>
                </c:pt>
                <c:pt idx="2">
                  <c:v>0.46</c:v>
                </c:pt>
                <c:pt idx="3">
                  <c:v>0.61</c:v>
                </c:pt>
                <c:pt idx="4">
                  <c:v>0.3</c:v>
                </c:pt>
                <c:pt idx="5">
                  <c:v>0.21</c:v>
                </c:pt>
                <c:pt idx="6">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8849315068493151</c:v>
                </c:pt>
                <c:pt idx="1">
                  <c:v>0.92839002616592281</c:v>
                </c:pt>
                <c:pt idx="2">
                  <c:v>0.96342927505002318</c:v>
                </c:pt>
                <c:pt idx="3">
                  <c:v>0.98046790826535335</c:v>
                </c:pt>
                <c:pt idx="4">
                  <c:v>0.99180390949669084</c:v>
                </c:pt>
                <c:pt idx="5">
                  <c:v>0.99762967523472379</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1149.8800000000001</c:v>
                </c:pt>
                <c:pt idx="1">
                  <c:v>75.293333333333337</c:v>
                </c:pt>
                <c:pt idx="2">
                  <c:v>98.978260869565219</c:v>
                </c:pt>
                <c:pt idx="3">
                  <c:v>36.295081967213115</c:v>
                </c:pt>
                <c:pt idx="4">
                  <c:v>49.1</c:v>
                </c:pt>
                <c:pt idx="5">
                  <c:v>36.047619047619051</c:v>
                </c:pt>
                <c:pt idx="6">
                  <c:v>25.6666666666666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NICOLAS 1ERE CUVE 1CT X 1500ML</c:v>
                </c:pt>
                <c:pt idx="3">
                  <c:v>MG CHAMPAGNE E.NICOLAS BRUT 1CT X 1500ML</c:v>
                </c:pt>
                <c:pt idx="4">
                  <c:v>1/2 CHAMPAGNE NICOLAS 1ERE CUV 1CT X 375ML</c:v>
                </c:pt>
                <c:pt idx="5">
                  <c:v>CHAMPAGNE NICOLAS BIO NAT 2017 1CT X 750ML</c:v>
                </c:pt>
                <c:pt idx="6">
                  <c:v>CHAMPAGNE NICOLAS 1ERE CUV ETU 1CT X 750ML</c:v>
                </c:pt>
                <c:pt idx="7">
                  <c:v>1/2 CHAMPAGNE NICOLAS 1E C BS 1CT X 375ML</c:v>
                </c:pt>
              </c:strCache>
            </c:strRef>
          </c:cat>
          <c:val>
            <c:numRef>
              <c:f>Sheet1!$B$2:$B$9</c:f>
              <c:numCache>
                <c:formatCode>General</c:formatCode>
                <c:ptCount val="8"/>
                <c:pt idx="0">
                  <c:v>1</c:v>
                </c:pt>
                <c:pt idx="1">
                  <c:v>0.87</c:v>
                </c:pt>
                <c:pt idx="2">
                  <c:v>0.45</c:v>
                </c:pt>
                <c:pt idx="3">
                  <c:v>0.35</c:v>
                </c:pt>
                <c:pt idx="4">
                  <c:v>0.43</c:v>
                </c:pt>
                <c:pt idx="5">
                  <c:v>0.3</c:v>
                </c:pt>
                <c:pt idx="6">
                  <c:v>0.1</c:v>
                </c:pt>
                <c:pt idx="7">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NICOLAS 1ERE CUVE 1CT X 1500ML</c:v>
                </c:pt>
                <c:pt idx="3">
                  <c:v>MG CHAMPAGNE E.NICOLAS BRUT 1CT X 1500ML</c:v>
                </c:pt>
                <c:pt idx="4">
                  <c:v>1/2 CHAMPAGNE NICOLAS 1ERE CUV 1CT X 375ML</c:v>
                </c:pt>
                <c:pt idx="5">
                  <c:v>CHAMPAGNE NICOLAS BIO NAT 2017 1CT X 750ML</c:v>
                </c:pt>
                <c:pt idx="6">
                  <c:v>CHAMPAGNE NICOLAS 1ERE CUV ETU 1CT X 750ML</c:v>
                </c:pt>
                <c:pt idx="7">
                  <c:v>1/2 CHAMPAGNE NICOLAS 1E C BS 1CT X 375ML</c:v>
                </c:pt>
              </c:strCache>
            </c:strRef>
          </c:cat>
          <c:val>
            <c:numRef>
              <c:f>Sheet1!$C$2:$C$9</c:f>
              <c:numCache>
                <c:formatCode>General</c:formatCode>
                <c:ptCount val="8"/>
                <c:pt idx="0">
                  <c:v>0.8705834615708522</c:v>
                </c:pt>
                <c:pt idx="1">
                  <c:v>0.93139484140655504</c:v>
                </c:pt>
                <c:pt idx="2">
                  <c:v>0.95283921694725804</c:v>
                </c:pt>
                <c:pt idx="3">
                  <c:v>0.97082309347175333</c:v>
                </c:pt>
                <c:pt idx="4">
                  <c:v>0.98861557071437867</c:v>
                </c:pt>
                <c:pt idx="5">
                  <c:v>0.99673855623693697</c:v>
                </c:pt>
                <c:pt idx="6">
                  <c:v>0.99983922460322927</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NICOLAS 1ERE CUVE 1CT X 1500ML</c:v>
                </c:pt>
                <c:pt idx="3">
                  <c:v>MG CHAMPAGNE E.NICOLAS BRUT 1CT X 1500ML</c:v>
                </c:pt>
                <c:pt idx="4">
                  <c:v>1/2 CHAMPAGNE NICOLAS 1ERE CUV 1CT X 375ML</c:v>
                </c:pt>
                <c:pt idx="5">
                  <c:v>CHAMPAGNE NICOLAS BIO NAT 2017 1CT X 750ML</c:v>
                </c:pt>
                <c:pt idx="6">
                  <c:v>CHAMPAGNE NICOLAS 1ERE CUV ETU 1CT X 750ML</c:v>
                </c:pt>
                <c:pt idx="7">
                  <c:v>1/2 CHAMPAGNE NICOLAS 1E C BS 1CT X 375ML</c:v>
                </c:pt>
              </c:strCache>
            </c:strRef>
          </c:cat>
          <c:val>
            <c:numRef>
              <c:f>Sheet1!$D$2:$D$9</c:f>
              <c:numCache>
                <c:formatCode>General</c:formatCode>
                <c:ptCount val="8"/>
                <c:pt idx="0">
                  <c:v>1137.1300000000001</c:v>
                </c:pt>
                <c:pt idx="1">
                  <c:v>91.298850574712645</c:v>
                </c:pt>
                <c:pt idx="2">
                  <c:v>62.244444444444447</c:v>
                </c:pt>
                <c:pt idx="3">
                  <c:v>67.114285714285714</c:v>
                </c:pt>
                <c:pt idx="4">
                  <c:v>54.046511627906973</c:v>
                </c:pt>
                <c:pt idx="5">
                  <c:v>35.366666666666667</c:v>
                </c:pt>
                <c:pt idx="6">
                  <c:v>40.5</c:v>
                </c:pt>
                <c:pt idx="7">
                  <c:v>1.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1/2 CHAMPAGNE NICOLAS 1ERE CUV 1CT X 375ML</c:v>
                </c:pt>
                <c:pt idx="3">
                  <c:v>CHAMPAGNE NICOLAS BIO NAT 2017 1CT X 750ML</c:v>
                </c:pt>
                <c:pt idx="4">
                  <c:v>MG CHAMPAGNE NICOLAS 1ERE CUVE 1CT X 1500ML</c:v>
                </c:pt>
                <c:pt idx="5">
                  <c:v>MG CHAMPAGNE E.NICOLAS BRUT 1CT X 1500ML</c:v>
                </c:pt>
                <c:pt idx="6">
                  <c:v>CHAMPAGNE NICOLAS 1ERE CUV ETU 1CT X 750ML</c:v>
                </c:pt>
                <c:pt idx="7">
                  <c:v>MG CHAMPAGNE NICOLAS BRUT 1CT X 1500ML</c:v>
                </c:pt>
              </c:strCache>
            </c:strRef>
          </c:cat>
          <c:val>
            <c:numRef>
              <c:f>Sheet1!$B$2:$B$9</c:f>
              <c:numCache>
                <c:formatCode>General</c:formatCode>
                <c:ptCount val="8"/>
                <c:pt idx="0">
                  <c:v>1</c:v>
                </c:pt>
                <c:pt idx="1">
                  <c:v>0.79</c:v>
                </c:pt>
                <c:pt idx="2">
                  <c:v>0.56999999999999995</c:v>
                </c:pt>
                <c:pt idx="3">
                  <c:v>0.23</c:v>
                </c:pt>
                <c:pt idx="4">
                  <c:v>0.15</c:v>
                </c:pt>
                <c:pt idx="5">
                  <c:v>0.32</c:v>
                </c:pt>
                <c:pt idx="6">
                  <c:v>0.11</c:v>
                </c:pt>
                <c:pt idx="7">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1/2 CHAMPAGNE NICOLAS 1ERE CUV 1CT X 375ML</c:v>
                </c:pt>
                <c:pt idx="3">
                  <c:v>CHAMPAGNE NICOLAS BIO NAT 2017 1CT X 750ML</c:v>
                </c:pt>
                <c:pt idx="4">
                  <c:v>MG CHAMPAGNE NICOLAS 1ERE CUVE 1CT X 1500ML</c:v>
                </c:pt>
                <c:pt idx="5">
                  <c:v>MG CHAMPAGNE E.NICOLAS BRUT 1CT X 1500ML</c:v>
                </c:pt>
                <c:pt idx="6">
                  <c:v>CHAMPAGNE NICOLAS 1ERE CUV ETU 1CT X 750ML</c:v>
                </c:pt>
                <c:pt idx="7">
                  <c:v>MG CHAMPAGNE NICOLAS BRUT 1CT X 1500ML</c:v>
                </c:pt>
              </c:strCache>
            </c:strRef>
          </c:cat>
          <c:val>
            <c:numRef>
              <c:f>Sheet1!$C$2:$C$9</c:f>
              <c:numCache>
                <c:formatCode>General</c:formatCode>
                <c:ptCount val="8"/>
                <c:pt idx="0">
                  <c:v>0.86687871947465622</c:v>
                </c:pt>
                <c:pt idx="1">
                  <c:v>0.94050892673917497</c:v>
                </c:pt>
                <c:pt idx="2">
                  <c:v>0.9626205622819618</c:v>
                </c:pt>
                <c:pt idx="3">
                  <c:v>0.97872973527601059</c:v>
                </c:pt>
                <c:pt idx="4">
                  <c:v>0.98872357890416573</c:v>
                </c:pt>
                <c:pt idx="5">
                  <c:v>0.99845064641904369</c:v>
                </c:pt>
                <c:pt idx="6">
                  <c:v>0.99957931459060123</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1/2 CHAMPAGNE NICOLAS 1ERE CUV 1CT X 375ML</c:v>
                </c:pt>
                <c:pt idx="3">
                  <c:v>CHAMPAGNE NICOLAS BIO NAT 2017 1CT X 750ML</c:v>
                </c:pt>
                <c:pt idx="4">
                  <c:v>MG CHAMPAGNE NICOLAS 1ERE CUVE 1CT X 1500ML</c:v>
                </c:pt>
                <c:pt idx="5">
                  <c:v>MG CHAMPAGNE E.NICOLAS BRUT 1CT X 1500ML</c:v>
                </c:pt>
                <c:pt idx="6">
                  <c:v>CHAMPAGNE NICOLAS 1ERE CUV ETU 1CT X 750ML</c:v>
                </c:pt>
                <c:pt idx="7">
                  <c:v>MG CHAMPAGNE NICOLAS BRUT 1CT X 1500ML</c:v>
                </c:pt>
              </c:strCache>
            </c:strRef>
          </c:cat>
          <c:val>
            <c:numRef>
              <c:f>Sheet1!$D$2:$D$9</c:f>
              <c:numCache>
                <c:formatCode>General</c:formatCode>
                <c:ptCount val="8"/>
                <c:pt idx="0">
                  <c:v>844.86</c:v>
                </c:pt>
                <c:pt idx="1">
                  <c:v>90.835443037974684</c:v>
                </c:pt>
                <c:pt idx="2">
                  <c:v>37.807017543859651</c:v>
                </c:pt>
                <c:pt idx="3">
                  <c:v>68.260869565217391</c:v>
                </c:pt>
                <c:pt idx="4">
                  <c:v>64.933333333333337</c:v>
                </c:pt>
                <c:pt idx="5">
                  <c:v>29.625</c:v>
                </c:pt>
                <c:pt idx="6">
                  <c:v>10</c:v>
                </c:pt>
                <c:pt idx="7">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strCache>
            </c:strRef>
          </c:cat>
          <c:val>
            <c:numRef>
              <c:f>Sheet1!$B$2:$B$8</c:f>
              <c:numCache>
                <c:formatCode>General</c:formatCode>
                <c:ptCount val="7"/>
                <c:pt idx="0">
                  <c:v>1</c:v>
                </c:pt>
                <c:pt idx="1">
                  <c:v>0.76</c:v>
                </c:pt>
                <c:pt idx="2">
                  <c:v>0.49</c:v>
                </c:pt>
                <c:pt idx="3">
                  <c:v>0.46</c:v>
                </c:pt>
                <c:pt idx="4">
                  <c:v>0.4</c:v>
                </c:pt>
                <c:pt idx="5">
                  <c:v>0.14000000000000001</c:v>
                </c:pt>
                <c:pt idx="6">
                  <c:v>0.6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strCache>
            </c:strRef>
          </c:cat>
          <c:val>
            <c:numRef>
              <c:f>Sheet1!$C$2:$C$8</c:f>
              <c:numCache>
                <c:formatCode>General</c:formatCode>
                <c:ptCount val="7"/>
                <c:pt idx="0">
                  <c:v>0.88726455270249516</c:v>
                </c:pt>
                <c:pt idx="1">
                  <c:v>0.93896870942068444</c:v>
                </c:pt>
                <c:pt idx="2">
                  <c:v>0.96534439185132437</c:v>
                </c:pt>
                <c:pt idx="3">
                  <c:v>0.98230916376939081</c:v>
                </c:pt>
                <c:pt idx="4">
                  <c:v>0.99184573925913511</c:v>
                </c:pt>
                <c:pt idx="5">
                  <c:v>0.996970077772658</c:v>
                </c:pt>
                <c:pt idx="6">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strCache>
            </c:strRef>
          </c:cat>
          <c:val>
            <c:numRef>
              <c:f>Sheet1!$D$2:$D$8</c:f>
              <c:numCache>
                <c:formatCode>General</c:formatCode>
                <c:ptCount val="7"/>
                <c:pt idx="0">
                  <c:v>635.45000000000005</c:v>
                </c:pt>
                <c:pt idx="1">
                  <c:v>48.723684210526315</c:v>
                </c:pt>
                <c:pt idx="2">
                  <c:v>38.551020408163268</c:v>
                </c:pt>
                <c:pt idx="3">
                  <c:v>26.413043478260871</c:v>
                </c:pt>
                <c:pt idx="4">
                  <c:v>17.074999999999999</c:v>
                </c:pt>
                <c:pt idx="5">
                  <c:v>26.214285714285712</c:v>
                </c:pt>
                <c:pt idx="6">
                  <c:v>3.287878787878788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strCache>
            </c:strRef>
          </c:cat>
          <c:val>
            <c:numRef>
              <c:f>Sheet1!$B$2:$B$9</c:f>
              <c:numCache>
                <c:formatCode>General</c:formatCode>
                <c:ptCount val="8"/>
                <c:pt idx="0">
                  <c:v>1</c:v>
                </c:pt>
                <c:pt idx="1">
                  <c:v>0.69</c:v>
                </c:pt>
                <c:pt idx="2">
                  <c:v>0.63</c:v>
                </c:pt>
                <c:pt idx="3">
                  <c:v>0.49</c:v>
                </c:pt>
                <c:pt idx="4">
                  <c:v>0.34</c:v>
                </c:pt>
                <c:pt idx="5">
                  <c:v>0.25</c:v>
                </c:pt>
                <c:pt idx="6">
                  <c:v>0.44</c:v>
                </c:pt>
                <c:pt idx="7">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strCache>
            </c:strRef>
          </c:cat>
          <c:val>
            <c:numRef>
              <c:f>Sheet1!$C$2:$C$9</c:f>
              <c:numCache>
                <c:formatCode>General</c:formatCode>
                <c:ptCount val="8"/>
                <c:pt idx="0">
                  <c:v>0.8571803622998162</c:v>
                </c:pt>
                <c:pt idx="1">
                  <c:v>0.92226743677255618</c:v>
                </c:pt>
                <c:pt idx="2">
                  <c:v>0.94714273212566724</c:v>
                </c:pt>
                <c:pt idx="3">
                  <c:v>0.96650476940579322</c:v>
                </c:pt>
                <c:pt idx="4">
                  <c:v>0.98142557101601458</c:v>
                </c:pt>
                <c:pt idx="5">
                  <c:v>0.99253959919488921</c:v>
                </c:pt>
                <c:pt idx="6">
                  <c:v>0.99954056182725115</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1ERE CUV ETU 1CT X 750ML</c:v>
                </c:pt>
                <c:pt idx="7">
                  <c:v>1/2 CHAMPAGNE NICOLAS 1E C BS 1CT X 375ML</c:v>
                </c:pt>
              </c:strCache>
            </c:strRef>
          </c:cat>
          <c:val>
            <c:numRef>
              <c:f>Sheet1!$D$2:$D$9</c:f>
              <c:numCache>
                <c:formatCode>General</c:formatCode>
                <c:ptCount val="8"/>
                <c:pt idx="0">
                  <c:v>391.8</c:v>
                </c:pt>
                <c:pt idx="1">
                  <c:v>43.115942028985508</c:v>
                </c:pt>
                <c:pt idx="2">
                  <c:v>18.047619047619047</c:v>
                </c:pt>
                <c:pt idx="3">
                  <c:v>18.061224489795919</c:v>
                </c:pt>
                <c:pt idx="4">
                  <c:v>20.058823529411764</c:v>
                </c:pt>
                <c:pt idx="5">
                  <c:v>20.32</c:v>
                </c:pt>
                <c:pt idx="6">
                  <c:v>7.2727272727272725</c:v>
                </c:pt>
                <c:pt idx="7">
                  <c:v>1.61538461538461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1/2 CHAMPAGNE NICOLAS 1ERE CUV 1CT X 375ML</c:v>
                </c:pt>
                <c:pt idx="3">
                  <c:v>MG CHAMPAGNE NICOLAS 1ERE CUVE 1CT X 1500ML</c:v>
                </c:pt>
                <c:pt idx="4">
                  <c:v>MG CHAMPAGNE E.NICOLAS BRUT 1CT X 1500ML</c:v>
                </c:pt>
                <c:pt idx="5">
                  <c:v>CHAMPAGNE NICOLAS BIO NAT 2017 1CT X 750ML</c:v>
                </c:pt>
                <c:pt idx="6">
                  <c:v>CHAMPAGNE NICOLAS 1ERE CUV ETU 1CT X 750ML</c:v>
                </c:pt>
              </c:strCache>
            </c:strRef>
          </c:cat>
          <c:val>
            <c:numRef>
              <c:f>Sheet1!$B$2:$B$8</c:f>
              <c:numCache>
                <c:formatCode>General</c:formatCode>
                <c:ptCount val="7"/>
                <c:pt idx="0">
                  <c:v>1</c:v>
                </c:pt>
                <c:pt idx="1">
                  <c:v>0.56000000000000005</c:v>
                </c:pt>
                <c:pt idx="2">
                  <c:v>0.64</c:v>
                </c:pt>
                <c:pt idx="3">
                  <c:v>0.3</c:v>
                </c:pt>
                <c:pt idx="4">
                  <c:v>0.51</c:v>
                </c:pt>
                <c:pt idx="5">
                  <c:v>0.34</c:v>
                </c:pt>
                <c:pt idx="6">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1/2 CHAMPAGNE NICOLAS 1ERE CUV 1CT X 375ML</c:v>
                </c:pt>
                <c:pt idx="3">
                  <c:v>MG CHAMPAGNE NICOLAS 1ERE CUVE 1CT X 1500ML</c:v>
                </c:pt>
                <c:pt idx="4">
                  <c:v>MG CHAMPAGNE E.NICOLAS BRUT 1CT X 1500ML</c:v>
                </c:pt>
                <c:pt idx="5">
                  <c:v>CHAMPAGNE NICOLAS BIO NAT 2017 1CT X 750ML</c:v>
                </c:pt>
                <c:pt idx="6">
                  <c:v>CHAMPAGNE NICOLAS 1ERE CUV ETU 1CT X 750ML</c:v>
                </c:pt>
              </c:strCache>
            </c:strRef>
          </c:cat>
          <c:val>
            <c:numRef>
              <c:f>Sheet1!$C$2:$C$8</c:f>
              <c:numCache>
                <c:formatCode>General</c:formatCode>
                <c:ptCount val="7"/>
                <c:pt idx="0">
                  <c:v>0.85694390042216129</c:v>
                </c:pt>
                <c:pt idx="1">
                  <c:v>0.90433912173042608</c:v>
                </c:pt>
                <c:pt idx="2">
                  <c:v>0.93876485180833003</c:v>
                </c:pt>
                <c:pt idx="3">
                  <c:v>0.96509553031292161</c:v>
                </c:pt>
                <c:pt idx="4">
                  <c:v>0.9868128998563781</c:v>
                </c:pt>
                <c:pt idx="5">
                  <c:v>0.99682290986638811</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1/2 CHAMPAGNE NICOLAS 1ERE CUV 1CT X 375ML</c:v>
                </c:pt>
                <c:pt idx="3">
                  <c:v>MG CHAMPAGNE NICOLAS 1ERE CUVE 1CT X 1500ML</c:v>
                </c:pt>
                <c:pt idx="4">
                  <c:v>MG CHAMPAGNE E.NICOLAS BRUT 1CT X 1500ML</c:v>
                </c:pt>
                <c:pt idx="5">
                  <c:v>CHAMPAGNE NICOLAS BIO NAT 2017 1CT X 750ML</c:v>
                </c:pt>
                <c:pt idx="6">
                  <c:v>CHAMPAGNE NICOLAS 1ERE CUV ETU 1CT X 750ML</c:v>
                </c:pt>
              </c:strCache>
            </c:strRef>
          </c:cat>
          <c:val>
            <c:numRef>
              <c:f>Sheet1!$D$2:$D$8</c:f>
              <c:numCache>
                <c:formatCode>General</c:formatCode>
                <c:ptCount val="7"/>
                <c:pt idx="0">
                  <c:v>196.9</c:v>
                </c:pt>
                <c:pt idx="1">
                  <c:v>19.446428571428569</c:v>
                </c:pt>
                <c:pt idx="2">
                  <c:v>12.359375</c:v>
                </c:pt>
                <c:pt idx="3">
                  <c:v>20.166666666666668</c:v>
                </c:pt>
                <c:pt idx="4">
                  <c:v>9.7843137254901968</c:v>
                </c:pt>
                <c:pt idx="5">
                  <c:v>6.7647058823529411</c:v>
                </c:pt>
                <c:pt idx="6">
                  <c:v>6.63636363636363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B$2:$B$4</c:f>
              <c:numCache>
                <c:formatCode>General</c:formatCode>
                <c:ptCount val="3"/>
                <c:pt idx="0">
                  <c:v>0.57122943964315587</c:v>
                </c:pt>
                <c:pt idx="1">
                  <c:v>0.22776693615834959</c:v>
                </c:pt>
                <c:pt idx="2">
                  <c:v>0.2010036241984945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C$2:$C$4</c:f>
              <c:numCache>
                <c:formatCode>General</c:formatCode>
                <c:ptCount val="3"/>
                <c:pt idx="0">
                  <c:v>0.29411764705882348</c:v>
                </c:pt>
                <c:pt idx="1">
                  <c:v>0.17647058823529407</c:v>
                </c:pt>
                <c:pt idx="2">
                  <c:v>0.529411764705882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yre's</c:v>
                </c:pt>
                <c:pt idx="1">
                  <c:v>De Chanceny</c:v>
                </c:pt>
                <c:pt idx="2">
                  <c:v>Others</c:v>
                </c:pt>
              </c:strCache>
            </c:strRef>
          </c:cat>
          <c:val>
            <c:numRef>
              <c:f>Sheet1!$D$2:$D$4</c:f>
              <c:numCache>
                <c:formatCode>General</c:formatCode>
                <c:ptCount val="3"/>
                <c:pt idx="0">
                  <c:v>51.488530990727178</c:v>
                </c:pt>
                <c:pt idx="1">
                  <c:v>77.478580171358615</c:v>
                </c:pt>
                <c:pt idx="2">
                  <c:v>263.3841886269070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B$2:$B$8</c:f>
              <c:numCache>
                <c:formatCode>General</c:formatCode>
                <c:ptCount val="7"/>
                <c:pt idx="0">
                  <c:v>1</c:v>
                </c:pt>
                <c:pt idx="1">
                  <c:v>0.62</c:v>
                </c:pt>
                <c:pt idx="2">
                  <c:v>0.59</c:v>
                </c:pt>
                <c:pt idx="3">
                  <c:v>0.56999999999999995</c:v>
                </c:pt>
                <c:pt idx="4">
                  <c:v>0.59</c:v>
                </c:pt>
                <c:pt idx="5">
                  <c:v>0.44</c:v>
                </c:pt>
                <c:pt idx="6">
                  <c:v>0.3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C$2:$C$8</c:f>
              <c:numCache>
                <c:formatCode>General</c:formatCode>
                <c:ptCount val="7"/>
                <c:pt idx="0">
                  <c:v>0.73496133496133498</c:v>
                </c:pt>
                <c:pt idx="1">
                  <c:v>0.85282865282865283</c:v>
                </c:pt>
                <c:pt idx="2">
                  <c:v>0.90427350427350428</c:v>
                </c:pt>
                <c:pt idx="3">
                  <c:v>0.93846153846153846</c:v>
                </c:pt>
                <c:pt idx="4">
                  <c:v>0.97037037037037033</c:v>
                </c:pt>
                <c:pt idx="5">
                  <c:v>0.99190069190069186</c:v>
                </c:pt>
                <c:pt idx="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strCache>
            </c:strRef>
          </c:cat>
          <c:val>
            <c:numRef>
              <c:f>Sheet1!$D$2:$D$8</c:f>
              <c:numCache>
                <c:formatCode>General</c:formatCode>
                <c:ptCount val="7"/>
                <c:pt idx="0">
                  <c:v>180.58</c:v>
                </c:pt>
                <c:pt idx="1">
                  <c:v>46.70967741935484</c:v>
                </c:pt>
                <c:pt idx="2">
                  <c:v>21.423728813559322</c:v>
                </c:pt>
                <c:pt idx="3">
                  <c:v>14.736842105263159</c:v>
                </c:pt>
                <c:pt idx="4">
                  <c:v>13.288135593220339</c:v>
                </c:pt>
                <c:pt idx="5">
                  <c:v>12.022727272727273</c:v>
                </c:pt>
                <c:pt idx="6">
                  <c:v>6.03030303030303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1</c:v>
                </c:pt>
                <c:pt idx="1">
                  <c:v>0.3</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6182902584493044</c:v>
                </c:pt>
                <c:pt idx="1">
                  <c:v>0.8493041749502983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67.285714285714292</c:v>
                </c:pt>
                <c:pt idx="1">
                  <c:v>24.1</c:v>
                </c:pt>
                <c:pt idx="2">
                  <c:v>63.1666666666666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3</c:v>
                </c:pt>
                <c:pt idx="1">
                  <c:v>0.22</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6390193009911327</c:v>
                </c:pt>
                <c:pt idx="1">
                  <c:v>0.96035472091810115</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72.066666666666663</c:v>
                </c:pt>
                <c:pt idx="1">
                  <c:v>69.090909090909093</c:v>
                </c:pt>
                <c:pt idx="2">
                  <c:v>3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65</c:v>
                </c:pt>
                <c:pt idx="1">
                  <c:v>0.3</c:v>
                </c:pt>
                <c:pt idx="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1533505154639179</c:v>
                </c:pt>
                <c:pt idx="1">
                  <c:v>0.951675257731958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14.692307692307692</c:v>
                </c:pt>
                <c:pt idx="1">
                  <c:v>17.399999999999999</c:v>
                </c:pt>
                <c:pt idx="2">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HAMPAGNE NICOLAS 1ER CRU BS 1CT X 750ML</c:v>
                </c:pt>
                <c:pt idx="1">
                  <c:v>CHAMPAGNE NICOLAS 1ER CRU ETUI 1CT X 750ML</c:v>
                </c:pt>
              </c:strCache>
            </c:strRef>
          </c:cat>
          <c:val>
            <c:numRef>
              <c:f>Sheet1!$B$2:$B$3</c:f>
              <c:numCache>
                <c:formatCode>General</c:formatCode>
                <c:ptCount val="2"/>
                <c:pt idx="0">
                  <c:v>0.62</c:v>
                </c:pt>
                <c:pt idx="1">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HAMPAGNE NICOLAS 1ER CRU BS 1CT X 750ML</c:v>
                </c:pt>
                <c:pt idx="1">
                  <c:v>CHAMPAGNE NICOLAS 1ER CRU ETUI 1CT X 750ML</c:v>
                </c:pt>
              </c:strCache>
            </c:strRef>
          </c:cat>
          <c:val>
            <c:numRef>
              <c:f>Sheet1!$C$2:$C$3</c:f>
              <c:numCache>
                <c:formatCode>General</c:formatCode>
                <c:ptCount val="2"/>
                <c:pt idx="0">
                  <c:v>0.83221476510067116</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HAMPAGNE NICOLAS 1ER CRU BS 1CT X 750ML</c:v>
                </c:pt>
                <c:pt idx="1">
                  <c:v>CHAMPAGNE NICOLAS 1ER CRU ETUI 1CT X 750ML</c:v>
                </c:pt>
              </c:strCache>
            </c:strRef>
          </c:cat>
          <c:val>
            <c:numRef>
              <c:f>Sheet1!$D$2:$D$3</c:f>
              <c:numCache>
                <c:formatCode>General</c:formatCode>
                <c:ptCount val="2"/>
                <c:pt idx="0">
                  <c:v>10</c:v>
                </c:pt>
                <c:pt idx="1">
                  <c:v>7.352941176470587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56000000000000005</c:v>
                </c:pt>
                <c:pt idx="1">
                  <c:v>7.0000000000000007E-2</c:v>
                </c:pt>
                <c:pt idx="2">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69646950939935803</c:v>
                </c:pt>
                <c:pt idx="1">
                  <c:v>0.89546079779917465</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27.124999999999996</c:v>
                </c:pt>
                <c:pt idx="1">
                  <c:v>61.999999999999993</c:v>
                </c:pt>
                <c:pt idx="2">
                  <c:v>32.57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28000000000000003</c:v>
                </c:pt>
                <c:pt idx="1">
                  <c:v>0.15</c:v>
                </c:pt>
                <c:pt idx="2">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71497294046903193</c:v>
                </c:pt>
                <c:pt idx="1">
                  <c:v>0.9542994588093807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42.464285714285708</c:v>
                </c:pt>
                <c:pt idx="1">
                  <c:v>26.533333333333335</c:v>
                </c:pt>
                <c:pt idx="2">
                  <c:v>6.90909090909090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B$2:$B$4</c:f>
              <c:numCache>
                <c:formatCode>General</c:formatCode>
                <c:ptCount val="3"/>
                <c:pt idx="0">
                  <c:v>0.27</c:v>
                </c:pt>
                <c:pt idx="1">
                  <c:v>0.44</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ETUI 1CT X 750ML</c:v>
                </c:pt>
                <c:pt idx="1">
                  <c:v>CHAMPAGNE NICOLAS 1ER CRU BS 1CT X 750ML</c:v>
                </c:pt>
                <c:pt idx="2">
                  <c:v>MG CHAMPAGNE NICOLAS 1E CRU BS 1CT X 1500ML</c:v>
                </c:pt>
              </c:strCache>
            </c:strRef>
          </c:cat>
          <c:val>
            <c:numRef>
              <c:f>Sheet1!$C$2:$C$4</c:f>
              <c:numCache>
                <c:formatCode>General</c:formatCode>
                <c:ptCount val="3"/>
                <c:pt idx="0">
                  <c:v>0.48391248391248398</c:v>
                </c:pt>
                <c:pt idx="1">
                  <c:v>0.90218790218790224</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ETUI 1CT X 750ML</c:v>
                </c:pt>
                <c:pt idx="1">
                  <c:v>CHAMPAGNE NICOLAS 1ER CRU BS 1CT X 750ML</c:v>
                </c:pt>
                <c:pt idx="2">
                  <c:v>MG CHAMPAGNE NICOLAS 1E CRU BS 1CT X 1500ML</c:v>
                </c:pt>
              </c:strCache>
            </c:strRef>
          </c:cat>
          <c:val>
            <c:numRef>
              <c:f>Sheet1!$D$2:$D$4</c:f>
              <c:numCache>
                <c:formatCode>General</c:formatCode>
                <c:ptCount val="3"/>
                <c:pt idx="0">
                  <c:v>13.925925925925926</c:v>
                </c:pt>
                <c:pt idx="1">
                  <c:v>7.3863636363636367</c:v>
                </c:pt>
                <c:pt idx="2">
                  <c:v>12.6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B$2:$B$4</c:f>
              <c:numCache>
                <c:formatCode>General</c:formatCode>
                <c:ptCount val="3"/>
                <c:pt idx="0">
                  <c:v>0.85</c:v>
                </c:pt>
                <c:pt idx="1">
                  <c:v>0.38</c:v>
                </c:pt>
                <c:pt idx="2">
                  <c:v>0.2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MG CHAMPAGNE NICOLAS 1E CRU BS 1CT X 1500ML</c:v>
                </c:pt>
                <c:pt idx="2">
                  <c:v>CHAMPAGNE NICOLAS 1ER CRU ETUI 1CT X 750ML</c:v>
                </c:pt>
              </c:strCache>
            </c:strRef>
          </c:cat>
          <c:val>
            <c:numRef>
              <c:f>Sheet1!$C$2:$C$4</c:f>
              <c:numCache>
                <c:formatCode>General</c:formatCode>
                <c:ptCount val="3"/>
                <c:pt idx="0">
                  <c:v>0.59301014656144302</c:v>
                </c:pt>
                <c:pt idx="1">
                  <c:v>0.82036828260052608</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MG CHAMPAGNE NICOLAS 1E CRU BS 1CT X 1500ML</c:v>
                </c:pt>
                <c:pt idx="2">
                  <c:v>CHAMPAGNE NICOLAS 1ER CRU ETUI 1CT X 750ML</c:v>
                </c:pt>
              </c:strCache>
            </c:strRef>
          </c:cat>
          <c:val>
            <c:numRef>
              <c:f>Sheet1!$D$2:$D$4</c:f>
              <c:numCache>
                <c:formatCode>General</c:formatCode>
                <c:ptCount val="3"/>
                <c:pt idx="0">
                  <c:v>18.564705882352943</c:v>
                </c:pt>
                <c:pt idx="1">
                  <c:v>15.921052631578947</c:v>
                </c:pt>
                <c:pt idx="2">
                  <c:v>18.3846153846153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B$2:$B$4</c:f>
              <c:numCache>
                <c:formatCode>General</c:formatCode>
                <c:ptCount val="3"/>
                <c:pt idx="0">
                  <c:v>0.48</c:v>
                </c:pt>
                <c:pt idx="1">
                  <c:v>0.46</c:v>
                </c:pt>
                <c:pt idx="2">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CHAMPAGNE NICOLAS 1ER CRU BS 1CT X 750ML</c:v>
                </c:pt>
                <c:pt idx="1">
                  <c:v>CHAMPAGNE NICOLAS 1ER CRU ETUI 1CT X 750ML</c:v>
                </c:pt>
                <c:pt idx="2">
                  <c:v>MG CHAMPAGNE NICOLAS 1E CRU BS 1CT X 1500ML</c:v>
                </c:pt>
              </c:strCache>
            </c:strRef>
          </c:cat>
          <c:val>
            <c:numRef>
              <c:f>Sheet1!$C$2:$C$4</c:f>
              <c:numCache>
                <c:formatCode>General</c:formatCode>
                <c:ptCount val="3"/>
                <c:pt idx="0">
                  <c:v>0.50187734668335426</c:v>
                </c:pt>
                <c:pt idx="1">
                  <c:v>0.80976220275344191</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CHAMPAGNE NICOLAS 1ER CRU BS 1CT X 750ML</c:v>
                </c:pt>
                <c:pt idx="1">
                  <c:v>CHAMPAGNE NICOLAS 1ER CRU ETUI 1CT X 750ML</c:v>
                </c:pt>
                <c:pt idx="2">
                  <c:v>MG CHAMPAGNE NICOLAS 1E CRU BS 1CT X 1500ML</c:v>
                </c:pt>
              </c:strCache>
            </c:strRef>
          </c:cat>
          <c:val>
            <c:numRef>
              <c:f>Sheet1!$D$2:$D$4</c:f>
              <c:numCache>
                <c:formatCode>General</c:formatCode>
                <c:ptCount val="3"/>
                <c:pt idx="0">
                  <c:v>8.3541666666666661</c:v>
                </c:pt>
                <c:pt idx="1">
                  <c:v>5.3478260869565215</c:v>
                </c:pt>
                <c:pt idx="2">
                  <c:v>13.81818181818181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Delamotte</c:v>
                </c:pt>
                <c:pt idx="5">
                  <c:v>Henriot</c:v>
                </c:pt>
                <c:pt idx="6">
                  <c:v>De Bligny</c:v>
                </c:pt>
                <c:pt idx="7">
                  <c:v>Ayala</c:v>
                </c:pt>
                <c:pt idx="8">
                  <c:v>Taittinger</c:v>
                </c:pt>
                <c:pt idx="9">
                  <c:v>Others</c:v>
                </c:pt>
              </c:strCache>
            </c:strRef>
          </c:cat>
          <c:val>
            <c:numRef>
              <c:f>Sheet1!$B$2:$B$11</c:f>
              <c:numCache>
                <c:formatCode>General</c:formatCode>
                <c:ptCount val="10"/>
                <c:pt idx="0">
                  <c:v>0.62628868501130097</c:v>
                </c:pt>
                <c:pt idx="1">
                  <c:v>6.049358959724211E-2</c:v>
                </c:pt>
                <c:pt idx="2">
                  <c:v>5.924444980773684E-2</c:v>
                </c:pt>
                <c:pt idx="3">
                  <c:v>4.592137920687777E-2</c:v>
                </c:pt>
                <c:pt idx="4">
                  <c:v>3.7764463766792447E-2</c:v>
                </c:pt>
                <c:pt idx="5">
                  <c:v>3.211235082890046E-2</c:v>
                </c:pt>
                <c:pt idx="6">
                  <c:v>2.5501368183137592E-2</c:v>
                </c:pt>
                <c:pt idx="7">
                  <c:v>2.4020664620643097E-2</c:v>
                </c:pt>
                <c:pt idx="8">
                  <c:v>2.1385403654793859E-2</c:v>
                </c:pt>
                <c:pt idx="9">
                  <c:v>6.726764532257485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Delamotte</c:v>
                </c:pt>
                <c:pt idx="5">
                  <c:v>Henriot</c:v>
                </c:pt>
                <c:pt idx="6">
                  <c:v>De Bligny</c:v>
                </c:pt>
                <c:pt idx="7">
                  <c:v>Ayala</c:v>
                </c:pt>
                <c:pt idx="8">
                  <c:v>Taittinger</c:v>
                </c:pt>
                <c:pt idx="9">
                  <c:v>Others</c:v>
                </c:pt>
              </c:strCache>
            </c:strRef>
          </c:cat>
          <c:val>
            <c:numRef>
              <c:f>Sheet1!$C$2:$C$11</c:f>
              <c:numCache>
                <c:formatCode>General</c:formatCode>
                <c:ptCount val="10"/>
                <c:pt idx="0">
                  <c:v>0.2276234567901235</c:v>
                </c:pt>
                <c:pt idx="1">
                  <c:v>6.3271604938271608E-2</c:v>
                </c:pt>
                <c:pt idx="2">
                  <c:v>0.12037037037037038</c:v>
                </c:pt>
                <c:pt idx="3">
                  <c:v>4.3981481481481483E-2</c:v>
                </c:pt>
                <c:pt idx="4">
                  <c:v>6.1728395061728406E-2</c:v>
                </c:pt>
                <c:pt idx="5">
                  <c:v>6.558641975308642E-2</c:v>
                </c:pt>
                <c:pt idx="6">
                  <c:v>4.8611111111111112E-2</c:v>
                </c:pt>
                <c:pt idx="7">
                  <c:v>4.8611111111111112E-2</c:v>
                </c:pt>
                <c:pt idx="8">
                  <c:v>4.5524691358024692E-2</c:v>
                </c:pt>
                <c:pt idx="9">
                  <c:v>0.2746913580246913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Delamotte</c:v>
                </c:pt>
                <c:pt idx="5">
                  <c:v>Henriot</c:v>
                </c:pt>
                <c:pt idx="6">
                  <c:v>De Bligny</c:v>
                </c:pt>
                <c:pt idx="7">
                  <c:v>Ayala</c:v>
                </c:pt>
                <c:pt idx="8">
                  <c:v>Taittinger</c:v>
                </c:pt>
                <c:pt idx="9">
                  <c:v>Others</c:v>
                </c:pt>
              </c:strCache>
            </c:strRef>
          </c:cat>
          <c:val>
            <c:numRef>
              <c:f>Sheet1!$D$2:$D$11</c:f>
              <c:numCache>
                <c:formatCode>General</c:formatCode>
                <c:ptCount val="10"/>
                <c:pt idx="0">
                  <c:v>36.344813859445054</c:v>
                </c:pt>
                <c:pt idx="1">
                  <c:v>104.59224747535258</c:v>
                </c:pt>
                <c:pt idx="2">
                  <c:v>203.17577555535169</c:v>
                </c:pt>
                <c:pt idx="3">
                  <c:v>95.775610926978118</c:v>
                </c:pt>
                <c:pt idx="4">
                  <c:v>163.45629966552906</c:v>
                </c:pt>
                <c:pt idx="5">
                  <c:v>204.24048087460474</c:v>
                </c:pt>
                <c:pt idx="6">
                  <c:v>190.6215806226997</c:v>
                </c:pt>
                <c:pt idx="7">
                  <c:v>202.37204872897334</c:v>
                </c:pt>
                <c:pt idx="8">
                  <c:v>212.87740036564449</c:v>
                </c:pt>
                <c:pt idx="9">
                  <c:v>408.355839880284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HAMPAGNE NICOLAS 1ER CRU BS 1CT X 750ML</c:v>
                </c:pt>
              </c:strCache>
            </c:strRef>
          </c:cat>
          <c:val>
            <c:numRef>
              <c:f>Sheet1!$B$2:$B$2</c:f>
              <c:numCache>
                <c:formatCode>General</c:formatCode>
                <c:ptCount val="1"/>
                <c:pt idx="0">
                  <c:v>0.5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HAMPAGNE NICOLAS 1ER CRU BS 1CT X 750ML</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HAMPAGNE NICOLAS 1ER CRU BS 1CT X 750ML</c:v>
                </c:pt>
              </c:strCache>
            </c:strRef>
          </c:cat>
          <c:val>
            <c:numRef>
              <c:f>Sheet1!$D$2:$D$2</c:f>
              <c:numCache>
                <c:formatCode>General</c:formatCode>
                <c:ptCount val="1"/>
                <c:pt idx="0">
                  <c:v>9.452830188679245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HAMPAGNE NICOLAS 1ER CRU BS 1CT X 750ML</c:v>
                </c:pt>
                <c:pt idx="1">
                  <c:v>MG CHAMPAGNE NICOLAS 1E CRU BS 1CT X 1500ML</c:v>
                </c:pt>
              </c:strCache>
            </c:strRef>
          </c:cat>
          <c:val>
            <c:numRef>
              <c:f>Sheet1!$B$2:$B$3</c:f>
              <c:numCache>
                <c:formatCode>General</c:formatCode>
                <c:ptCount val="2"/>
                <c:pt idx="0">
                  <c:v>0.32</c:v>
                </c:pt>
                <c:pt idx="1">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HAMPAGNE NICOLAS 1ER CRU BS 1CT X 750ML</c:v>
                </c:pt>
                <c:pt idx="1">
                  <c:v>MG CHAMPAGNE NICOLAS 1E CRU BS 1CT X 1500ML</c:v>
                </c:pt>
              </c:strCache>
            </c:strRef>
          </c:cat>
          <c:val>
            <c:numRef>
              <c:f>Sheet1!$C$2:$C$3</c:f>
              <c:numCache>
                <c:formatCode>General</c:formatCode>
                <c:ptCount val="2"/>
                <c:pt idx="0">
                  <c:v>0.75328947368421051</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HAMPAGNE NICOLAS 1ER CRU BS 1CT X 750ML</c:v>
                </c:pt>
                <c:pt idx="1">
                  <c:v>MG CHAMPAGNE NICOLAS 1E CRU BS 1CT X 1500ML</c:v>
                </c:pt>
              </c:strCache>
            </c:strRef>
          </c:cat>
          <c:val>
            <c:numRef>
              <c:f>Sheet1!$D$2:$D$3</c:f>
              <c:numCache>
                <c:formatCode>General</c:formatCode>
                <c:ptCount val="2"/>
                <c:pt idx="0">
                  <c:v>7.15625</c:v>
                </c:pt>
                <c:pt idx="1">
                  <c:v>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B$2:$B$6</c:f>
              <c:numCache>
                <c:formatCode>General</c:formatCode>
                <c:ptCount val="5"/>
                <c:pt idx="0">
                  <c:v>0.83</c:v>
                </c:pt>
                <c:pt idx="1">
                  <c:v>0.43</c:v>
                </c:pt>
                <c:pt idx="2">
                  <c:v>0.41</c:v>
                </c:pt>
                <c:pt idx="3">
                  <c:v>0.15</c:v>
                </c:pt>
                <c:pt idx="4">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C$2:$C$6</c:f>
              <c:numCache>
                <c:formatCode>General</c:formatCode>
                <c:ptCount val="5"/>
                <c:pt idx="0">
                  <c:v>0.77169394981269568</c:v>
                </c:pt>
                <c:pt idx="1">
                  <c:v>0.88022784420382827</c:v>
                </c:pt>
                <c:pt idx="2">
                  <c:v>0.96546415559090681</c:v>
                </c:pt>
                <c:pt idx="3">
                  <c:v>0.98999332888592395</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 C BS 1CT X 750ML</c:v>
                </c:pt>
                <c:pt idx="4">
                  <c:v>CHAMPAGNE NICOLAS ROSE 1ERE ET 1CT X 750ML</c:v>
                </c:pt>
              </c:strCache>
            </c:strRef>
          </c:cat>
          <c:val>
            <c:numRef>
              <c:f>Sheet1!$D$2:$D$6</c:f>
              <c:numCache>
                <c:formatCode>General</c:formatCode>
                <c:ptCount val="5"/>
                <c:pt idx="0">
                  <c:v>181.18072289156626</c:v>
                </c:pt>
                <c:pt idx="1">
                  <c:v>49.186046511627907</c:v>
                </c:pt>
                <c:pt idx="2">
                  <c:v>40.512195121951223</c:v>
                </c:pt>
                <c:pt idx="3">
                  <c:v>31.866666666666667</c:v>
                </c:pt>
                <c:pt idx="4">
                  <c:v>16.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CHAMPAGNE NICOLAS ROSE 1ERE ET 1CT X 750ML</c:v>
                </c:pt>
                <c:pt idx="3">
                  <c:v>1/2 CHAMP NICOLAS ROSE 1E C BS 1CT X 375ML</c:v>
                </c:pt>
                <c:pt idx="4">
                  <c:v>CHAMPAGNE NICOLAS ROSE 1E C BS 1CT X 750ML</c:v>
                </c:pt>
              </c:strCache>
            </c:strRef>
          </c:cat>
          <c:val>
            <c:numRef>
              <c:f>Sheet1!$B$2:$B$6</c:f>
              <c:numCache>
                <c:formatCode>General</c:formatCode>
                <c:ptCount val="5"/>
                <c:pt idx="0">
                  <c:v>0.64</c:v>
                </c:pt>
                <c:pt idx="1">
                  <c:v>0.41</c:v>
                </c:pt>
                <c:pt idx="2">
                  <c:v>0.2</c:v>
                </c:pt>
                <c:pt idx="3">
                  <c:v>0.28000000000000003</c:v>
                </c:pt>
                <c:pt idx="4">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CHAMPAGNE NICOLAS ROSE 1ERE ET 1CT X 750ML</c:v>
                </c:pt>
                <c:pt idx="3">
                  <c:v>1/2 CHAMP NICOLAS ROSE 1E C BS 1CT X 375ML</c:v>
                </c:pt>
                <c:pt idx="4">
                  <c:v>CHAMPAGNE NICOLAS ROSE 1E C BS 1CT X 750ML</c:v>
                </c:pt>
              </c:strCache>
            </c:strRef>
          </c:cat>
          <c:val>
            <c:numRef>
              <c:f>Sheet1!$C$2:$C$6</c:f>
              <c:numCache>
                <c:formatCode>General</c:formatCode>
                <c:ptCount val="5"/>
                <c:pt idx="0">
                  <c:v>0.71054550275071249</c:v>
                </c:pt>
                <c:pt idx="1">
                  <c:v>0.86630874262610191</c:v>
                </c:pt>
                <c:pt idx="2">
                  <c:v>0.93179558560349962</c:v>
                </c:pt>
                <c:pt idx="3">
                  <c:v>0.98170610459335839</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CHAMPAGNE NICOLAS ROSE 1ERE ET 1CT X 750ML</c:v>
                </c:pt>
                <c:pt idx="3">
                  <c:v>1/2 CHAMP NICOLAS ROSE 1E C BS 1CT X 375ML</c:v>
                </c:pt>
                <c:pt idx="4">
                  <c:v>CHAMPAGNE NICOLAS ROSE 1E C BS 1CT X 750ML</c:v>
                </c:pt>
              </c:strCache>
            </c:strRef>
          </c:cat>
          <c:val>
            <c:numRef>
              <c:f>Sheet1!$D$2:$D$6</c:f>
              <c:numCache>
                <c:formatCode>General</c:formatCode>
                <c:ptCount val="5"/>
                <c:pt idx="0">
                  <c:v>167.5</c:v>
                </c:pt>
                <c:pt idx="1">
                  <c:v>57.31707317073171</c:v>
                </c:pt>
                <c:pt idx="2">
                  <c:v>49.4</c:v>
                </c:pt>
                <c:pt idx="3">
                  <c:v>26.892857142857139</c:v>
                </c:pt>
                <c:pt idx="4">
                  <c:v>3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8</c:v>
                </c:pt>
                <c:pt idx="1">
                  <c:v>0.52</c:v>
                </c:pt>
                <c:pt idx="2">
                  <c:v>0.35</c:v>
                </c:pt>
                <c:pt idx="3">
                  <c:v>0.22</c:v>
                </c:pt>
                <c:pt idx="4">
                  <c:v>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3368875691726267</c:v>
                </c:pt>
                <c:pt idx="1">
                  <c:v>0.89175327304629493</c:v>
                </c:pt>
                <c:pt idx="2">
                  <c:v>0.95707922796598721</c:v>
                </c:pt>
                <c:pt idx="3">
                  <c:v>0.98893237953839919</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69.044117647058826</c:v>
                </c:pt>
                <c:pt idx="1">
                  <c:v>36.769230769230766</c:v>
                </c:pt>
                <c:pt idx="2">
                  <c:v>13.828571428571429</c:v>
                </c:pt>
                <c:pt idx="3">
                  <c:v>10.727272727272727</c:v>
                </c:pt>
                <c:pt idx="4">
                  <c:v>4.09999999999999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84</c:v>
                </c:pt>
                <c:pt idx="1">
                  <c:v>0.62</c:v>
                </c:pt>
                <c:pt idx="2">
                  <c:v>0.49</c:v>
                </c:pt>
                <c:pt idx="3">
                  <c:v>0.28000000000000003</c:v>
                </c:pt>
                <c:pt idx="4">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65330073349633255</c:v>
                </c:pt>
                <c:pt idx="1">
                  <c:v>0.83031784841075806</c:v>
                </c:pt>
                <c:pt idx="2">
                  <c:v>0.91625916870415658</c:v>
                </c:pt>
                <c:pt idx="3">
                  <c:v>0.98643031784841084</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63.61904761904762</c:v>
                </c:pt>
                <c:pt idx="1">
                  <c:v>23.35483870967742</c:v>
                </c:pt>
                <c:pt idx="2">
                  <c:v>14.346938775510203</c:v>
                </c:pt>
                <c:pt idx="3">
                  <c:v>20.499999999999996</c:v>
                </c:pt>
                <c:pt idx="4">
                  <c:v>6.52941176470588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5</c:v>
                </c:pt>
                <c:pt idx="1">
                  <c:v>0.28000000000000003</c:v>
                </c:pt>
                <c:pt idx="2">
                  <c:v>0.36</c:v>
                </c:pt>
                <c:pt idx="3">
                  <c:v>0.18</c:v>
                </c:pt>
                <c:pt idx="4">
                  <c:v>0.2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68556085918854415</c:v>
                </c:pt>
                <c:pt idx="1">
                  <c:v>0.81175417661097848</c:v>
                </c:pt>
                <c:pt idx="2">
                  <c:v>0.90294351630867142</c:v>
                </c:pt>
                <c:pt idx="3">
                  <c:v>0.967581543357199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91.92</c:v>
                </c:pt>
                <c:pt idx="1">
                  <c:v>45.321428571428562</c:v>
                </c:pt>
                <c:pt idx="2">
                  <c:v>25.472222222222221</c:v>
                </c:pt>
                <c:pt idx="3">
                  <c:v>36.111111111111114</c:v>
                </c:pt>
                <c:pt idx="4">
                  <c:v>13.58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1</c:v>
                </c:pt>
                <c:pt idx="1">
                  <c:v>0.34</c:v>
                </c:pt>
                <c:pt idx="2">
                  <c:v>0.19</c:v>
                </c:pt>
                <c:pt idx="3">
                  <c:v>0.27</c:v>
                </c:pt>
                <c:pt idx="4">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73841541755888662</c:v>
                </c:pt>
                <c:pt idx="1">
                  <c:v>0.82835117773019284</c:v>
                </c:pt>
                <c:pt idx="2">
                  <c:v>0.90980728051391879</c:v>
                </c:pt>
                <c:pt idx="3">
                  <c:v>0.98244111349036423</c:v>
                </c:pt>
                <c:pt idx="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21.4225352112676</c:v>
                </c:pt>
                <c:pt idx="1">
                  <c:v>30.882352941176471</c:v>
                </c:pt>
                <c:pt idx="2">
                  <c:v>50.05263157894737</c:v>
                </c:pt>
                <c:pt idx="3">
                  <c:v>31.407407407407408</c:v>
                </c:pt>
                <c:pt idx="4">
                  <c:v>17.0833333333333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E.NICOLAS ROSE 1CT X 750ML</c:v>
                </c:pt>
                <c:pt idx="1">
                  <c:v>CHAMPAGNE NICOLAS ROSE 1ERE CU 1CT X 750ML</c:v>
                </c:pt>
                <c:pt idx="2">
                  <c:v>1/2 CHAMP NICOLAS ROSE 1E C BS 1CT X 375ML</c:v>
                </c:pt>
                <c:pt idx="3">
                  <c:v>CHAMPAGNE NICOLAS ROSE 1E C BS 1CT X 750ML</c:v>
                </c:pt>
              </c:strCache>
            </c:strRef>
          </c:cat>
          <c:val>
            <c:numRef>
              <c:f>Sheet1!$B$2:$B$5</c:f>
              <c:numCache>
                <c:formatCode>General</c:formatCode>
                <c:ptCount val="4"/>
                <c:pt idx="0">
                  <c:v>0.56000000000000005</c:v>
                </c:pt>
                <c:pt idx="1">
                  <c:v>0.28000000000000003</c:v>
                </c:pt>
                <c:pt idx="2">
                  <c:v>0.31</c:v>
                </c:pt>
                <c:pt idx="3">
                  <c:v>0.1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E.NICOLAS ROSE 1CT X 750ML</c:v>
                </c:pt>
                <c:pt idx="1">
                  <c:v>CHAMPAGNE NICOLAS ROSE 1ERE CU 1CT X 750ML</c:v>
                </c:pt>
                <c:pt idx="2">
                  <c:v>1/2 CHAMP NICOLAS ROSE 1E C BS 1CT X 375ML</c:v>
                </c:pt>
                <c:pt idx="3">
                  <c:v>CHAMPAGNE NICOLAS ROSE 1E C BS 1CT X 750ML</c:v>
                </c:pt>
              </c:strCache>
            </c:strRef>
          </c:cat>
          <c:val>
            <c:numRef>
              <c:f>Sheet1!$C$2:$C$5</c:f>
              <c:numCache>
                <c:formatCode>General</c:formatCode>
                <c:ptCount val="4"/>
                <c:pt idx="0">
                  <c:v>0.68530985672363198</c:v>
                </c:pt>
                <c:pt idx="1">
                  <c:v>0.84981874676333513</c:v>
                </c:pt>
                <c:pt idx="2">
                  <c:v>0.96443984118764037</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E.NICOLAS ROSE 1CT X 750ML</c:v>
                </c:pt>
                <c:pt idx="1">
                  <c:v>CHAMPAGNE NICOLAS ROSE 1ERE CU 1CT X 750ML</c:v>
                </c:pt>
                <c:pt idx="2">
                  <c:v>1/2 CHAMP NICOLAS ROSE 1E C BS 1CT X 375ML</c:v>
                </c:pt>
                <c:pt idx="3">
                  <c:v>CHAMPAGNE NICOLAS ROSE 1E C BS 1CT X 750ML</c:v>
                </c:pt>
              </c:strCache>
            </c:strRef>
          </c:cat>
          <c:val>
            <c:numRef>
              <c:f>Sheet1!$D$2:$D$5</c:f>
              <c:numCache>
                <c:formatCode>General</c:formatCode>
                <c:ptCount val="4"/>
                <c:pt idx="0">
                  <c:v>70.892857142857139</c:v>
                </c:pt>
                <c:pt idx="1">
                  <c:v>34.035714285714285</c:v>
                </c:pt>
                <c:pt idx="2">
                  <c:v>21.419354838709676</c:v>
                </c:pt>
                <c:pt idx="3">
                  <c:v>18.7272727272727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CHAMPAGNE E.NICOLAS ROSE 1CT X 750ML</c:v>
                </c:pt>
                <c:pt idx="1">
                  <c:v>1/2 CHAMP NICOLAS ROSE 1E C BS 1CT X 375ML</c:v>
                </c:pt>
                <c:pt idx="2">
                  <c:v>CHAMPAGNE NICOLAS ROSE 1E C BS 1CT X 750ML</c:v>
                </c:pt>
                <c:pt idx="3">
                  <c:v>CHAMPAGNE NICOLAS ROSE 1ERE CU 1CT X 750ML</c:v>
                </c:pt>
              </c:strCache>
            </c:strRef>
          </c:cat>
          <c:val>
            <c:numRef>
              <c:f>Sheet1!$B$2:$B$5</c:f>
              <c:numCache>
                <c:formatCode>General</c:formatCode>
                <c:ptCount val="4"/>
                <c:pt idx="0">
                  <c:v>0.56000000000000005</c:v>
                </c:pt>
                <c:pt idx="1">
                  <c:v>0.62</c:v>
                </c:pt>
                <c:pt idx="2">
                  <c:v>0.24</c:v>
                </c:pt>
                <c:pt idx="3">
                  <c:v>0.4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CHAMPAGNE E.NICOLAS ROSE 1CT X 750ML</c:v>
                </c:pt>
                <c:pt idx="1">
                  <c:v>1/2 CHAMP NICOLAS ROSE 1E C BS 1CT X 375ML</c:v>
                </c:pt>
                <c:pt idx="2">
                  <c:v>CHAMPAGNE NICOLAS ROSE 1E C BS 1CT X 750ML</c:v>
                </c:pt>
                <c:pt idx="3">
                  <c:v>CHAMPAGNE NICOLAS ROSE 1ERE CU 1CT X 750ML</c:v>
                </c:pt>
              </c:strCache>
            </c:strRef>
          </c:cat>
          <c:val>
            <c:numRef>
              <c:f>Sheet1!$C$2:$C$5</c:f>
              <c:numCache>
                <c:formatCode>General</c:formatCode>
                <c:ptCount val="4"/>
                <c:pt idx="0">
                  <c:v>0.69360203482684413</c:v>
                </c:pt>
                <c:pt idx="1">
                  <c:v>0.813930737624731</c:v>
                </c:pt>
                <c:pt idx="2">
                  <c:v>0.90901976129915874</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CHAMPAGNE E.NICOLAS ROSE 1CT X 750ML</c:v>
                </c:pt>
                <c:pt idx="1">
                  <c:v>1/2 CHAMP NICOLAS ROSE 1E C BS 1CT X 375ML</c:v>
                </c:pt>
                <c:pt idx="2">
                  <c:v>CHAMPAGNE NICOLAS ROSE 1E C BS 1CT X 750ML</c:v>
                </c:pt>
                <c:pt idx="3">
                  <c:v>CHAMPAGNE NICOLAS ROSE 1ERE CU 1CT X 750ML</c:v>
                </c:pt>
              </c:strCache>
            </c:strRef>
          </c:cat>
          <c:val>
            <c:numRef>
              <c:f>Sheet1!$D$2:$D$5</c:f>
              <c:numCache>
                <c:formatCode>General</c:formatCode>
                <c:ptCount val="4"/>
                <c:pt idx="0">
                  <c:v>63.303571428571423</c:v>
                </c:pt>
                <c:pt idx="1">
                  <c:v>9.9193548387096779</c:v>
                </c:pt>
                <c:pt idx="2">
                  <c:v>20.25</c:v>
                </c:pt>
                <c:pt idx="3">
                  <c:v>9.6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Besserat De Bellefon</c:v>
                </c:pt>
                <c:pt idx="3">
                  <c:v>Malard</c:v>
                </c:pt>
                <c:pt idx="4">
                  <c:v>De Bligny</c:v>
                </c:pt>
                <c:pt idx="5">
                  <c:v>Ayala</c:v>
                </c:pt>
                <c:pt idx="6">
                  <c:v>Delamotte</c:v>
                </c:pt>
                <c:pt idx="7">
                  <c:v>Henriot</c:v>
                </c:pt>
                <c:pt idx="8">
                  <c:v>De Venoge</c:v>
                </c:pt>
                <c:pt idx="9">
                  <c:v>Others</c:v>
                </c:pt>
              </c:strCache>
            </c:strRef>
          </c:cat>
          <c:val>
            <c:numRef>
              <c:f>Sheet1!$B$2:$B$11</c:f>
              <c:numCache>
                <c:formatCode>General</c:formatCode>
                <c:ptCount val="10"/>
                <c:pt idx="0">
                  <c:v>0.70757253847420287</c:v>
                </c:pt>
                <c:pt idx="1">
                  <c:v>7.2367303526115936E-2</c:v>
                </c:pt>
                <c:pt idx="2">
                  <c:v>5.7129193354919131E-2</c:v>
                </c:pt>
                <c:pt idx="3">
                  <c:v>3.6139225785882467E-2</c:v>
                </c:pt>
                <c:pt idx="4">
                  <c:v>2.0969061226836425E-2</c:v>
                </c:pt>
                <c:pt idx="5">
                  <c:v>2.0297444983653854E-2</c:v>
                </c:pt>
                <c:pt idx="6">
                  <c:v>1.6662354733587868E-2</c:v>
                </c:pt>
                <c:pt idx="7">
                  <c:v>1.6644061684162662E-2</c:v>
                </c:pt>
                <c:pt idx="8">
                  <c:v>1.577906177562791E-2</c:v>
                </c:pt>
                <c:pt idx="9">
                  <c:v>3.64397544550108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Besserat De Bellefon</c:v>
                </c:pt>
                <c:pt idx="3">
                  <c:v>Malard</c:v>
                </c:pt>
                <c:pt idx="4">
                  <c:v>De Bligny</c:v>
                </c:pt>
                <c:pt idx="5">
                  <c:v>Ayala</c:v>
                </c:pt>
                <c:pt idx="6">
                  <c:v>Delamotte</c:v>
                </c:pt>
                <c:pt idx="7">
                  <c:v>Henriot</c:v>
                </c:pt>
                <c:pt idx="8">
                  <c:v>De Venoge</c:v>
                </c:pt>
                <c:pt idx="9">
                  <c:v>Others</c:v>
                </c:pt>
              </c:strCache>
            </c:strRef>
          </c:cat>
          <c:val>
            <c:numRef>
              <c:f>Sheet1!$C$2:$C$11</c:f>
              <c:numCache>
                <c:formatCode>General</c:formatCode>
                <c:ptCount val="10"/>
                <c:pt idx="0">
                  <c:v>0.27246093750000006</c:v>
                </c:pt>
                <c:pt idx="1">
                  <c:v>0.1376953125</c:v>
                </c:pt>
                <c:pt idx="2">
                  <c:v>0.11425781250000003</c:v>
                </c:pt>
                <c:pt idx="3">
                  <c:v>6.73828125E-2</c:v>
                </c:pt>
                <c:pt idx="4">
                  <c:v>3.5156250000000007E-2</c:v>
                </c:pt>
                <c:pt idx="5">
                  <c:v>3.5156250000000007E-2</c:v>
                </c:pt>
                <c:pt idx="6">
                  <c:v>4.4921875E-2</c:v>
                </c:pt>
                <c:pt idx="7">
                  <c:v>4.4921875000000007E-2</c:v>
                </c:pt>
                <c:pt idx="8">
                  <c:v>4.2968750000000007E-2</c:v>
                </c:pt>
                <c:pt idx="9">
                  <c:v>0.2050781250000000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Besserat De Bellefon</c:v>
                </c:pt>
                <c:pt idx="3">
                  <c:v>Malard</c:v>
                </c:pt>
                <c:pt idx="4">
                  <c:v>De Bligny</c:v>
                </c:pt>
                <c:pt idx="5">
                  <c:v>Ayala</c:v>
                </c:pt>
                <c:pt idx="6">
                  <c:v>Delamotte</c:v>
                </c:pt>
                <c:pt idx="7">
                  <c:v>Henriot</c:v>
                </c:pt>
                <c:pt idx="8">
                  <c:v>De Venoge</c:v>
                </c:pt>
                <c:pt idx="9">
                  <c:v>Others</c:v>
                </c:pt>
              </c:strCache>
            </c:strRef>
          </c:cat>
          <c:val>
            <c:numRef>
              <c:f>Sheet1!$D$2:$D$11</c:f>
              <c:numCache>
                <c:formatCode>General</c:formatCode>
                <c:ptCount val="10"/>
                <c:pt idx="0">
                  <c:v>38.506431875879485</c:v>
                </c:pt>
                <c:pt idx="1">
                  <c:v>190.27282459171423</c:v>
                </c:pt>
                <c:pt idx="2">
                  <c:v>199.99899489244549</c:v>
                </c:pt>
                <c:pt idx="3">
                  <c:v>186.45339249719791</c:v>
                </c:pt>
                <c:pt idx="4">
                  <c:v>167.65772019877872</c:v>
                </c:pt>
                <c:pt idx="5">
                  <c:v>173.20529765353422</c:v>
                </c:pt>
                <c:pt idx="6">
                  <c:v>269.60100008822144</c:v>
                </c:pt>
                <c:pt idx="7">
                  <c:v>269.89731144017901</c:v>
                </c:pt>
                <c:pt idx="8">
                  <c:v>272.31498685409076</c:v>
                </c:pt>
                <c:pt idx="9">
                  <c:v>562.7867916980422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B$2:$B$6</c:f>
              <c:numCache>
                <c:formatCode>General</c:formatCode>
                <c:ptCount val="5"/>
                <c:pt idx="0">
                  <c:v>0.6</c:v>
                </c:pt>
                <c:pt idx="1">
                  <c:v>0.51</c:v>
                </c:pt>
                <c:pt idx="2">
                  <c:v>0.39</c:v>
                </c:pt>
                <c:pt idx="3">
                  <c:v>0.28000000000000003</c:v>
                </c:pt>
                <c:pt idx="4">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C$2:$C$6</c:f>
              <c:numCache>
                <c:formatCode>General</c:formatCode>
                <c:ptCount val="5"/>
                <c:pt idx="0">
                  <c:v>0.70349691448721718</c:v>
                </c:pt>
                <c:pt idx="1">
                  <c:v>0.85836027034969153</c:v>
                </c:pt>
                <c:pt idx="2">
                  <c:v>0.96708786364972088</c:v>
                </c:pt>
                <c:pt idx="3">
                  <c:v>0.98795180722891573</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strCache>
            </c:strRef>
          </c:cat>
          <c:val>
            <c:numRef>
              <c:f>Sheet1!$D$2:$D$6</c:f>
              <c:numCache>
                <c:formatCode>General</c:formatCode>
                <c:ptCount val="5"/>
                <c:pt idx="0">
                  <c:v>39.9</c:v>
                </c:pt>
                <c:pt idx="1">
                  <c:v>10.333333333333334</c:v>
                </c:pt>
                <c:pt idx="2">
                  <c:v>9.4871794871794872</c:v>
                </c:pt>
                <c:pt idx="3">
                  <c:v>2.5357142857142856</c:v>
                </c:pt>
                <c:pt idx="4">
                  <c:v>4.555555555555555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B$2:$B$6</c:f>
              <c:numCache>
                <c:formatCode>General</c:formatCode>
                <c:ptCount val="5"/>
                <c:pt idx="0">
                  <c:v>0.73</c:v>
                </c:pt>
                <c:pt idx="1">
                  <c:v>0.63</c:v>
                </c:pt>
                <c:pt idx="2">
                  <c:v>0.62</c:v>
                </c:pt>
                <c:pt idx="3">
                  <c:v>0.38</c:v>
                </c:pt>
                <c:pt idx="4">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C$2:$C$6</c:f>
              <c:numCache>
                <c:formatCode>General</c:formatCode>
                <c:ptCount val="5"/>
                <c:pt idx="0">
                  <c:v>0.51939864209505338</c:v>
                </c:pt>
                <c:pt idx="1">
                  <c:v>0.73375363724539278</c:v>
                </c:pt>
                <c:pt idx="2">
                  <c:v>0.90543161978661491</c:v>
                </c:pt>
                <c:pt idx="3">
                  <c:v>0.9655674102812802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CU 1CT X 750ML</c:v>
                </c:pt>
                <c:pt idx="3">
                  <c:v>CHAMPAGNE NICOLAS ROSE 1ERE ET 1CT X 750ML</c:v>
                </c:pt>
                <c:pt idx="4">
                  <c:v>CHAMPAGNE NICOLAS ROSE 1E C BS 1CT X 750ML</c:v>
                </c:pt>
              </c:strCache>
            </c:strRef>
          </c:cat>
          <c:val>
            <c:numRef>
              <c:f>Sheet1!$D$2:$D$6</c:f>
              <c:numCache>
                <c:formatCode>General</c:formatCode>
                <c:ptCount val="5"/>
                <c:pt idx="0">
                  <c:v>14.671232876712329</c:v>
                </c:pt>
                <c:pt idx="1">
                  <c:v>7.0158730158730158</c:v>
                </c:pt>
                <c:pt idx="2">
                  <c:v>5.709677419354839</c:v>
                </c:pt>
                <c:pt idx="3">
                  <c:v>3.263157894736842</c:v>
                </c:pt>
                <c:pt idx="4">
                  <c:v>4.4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CHAMPAGNE E.NICOLAS ROSE 1CT X 750ML</c:v>
                </c:pt>
                <c:pt idx="1">
                  <c:v>1/2 CHAMP NICOLAS ROSE 1E C BS 1CT X 375ML</c:v>
                </c:pt>
                <c:pt idx="2">
                  <c:v>CHAMPAGNE NICOLAS ROSE 1ERE ET 1CT X 750ML</c:v>
                </c:pt>
                <c:pt idx="3">
                  <c:v>CHAMPAGNE NICOLAS ROSE 1ERE CU 1CT X 750ML</c:v>
                </c:pt>
                <c:pt idx="4">
                  <c:v>CHAMPAGNE NICOLAS ROSE 1E C BS 1CT X 750ML</c:v>
                </c:pt>
              </c:strCache>
            </c:strRef>
          </c:cat>
          <c:val>
            <c:numRef>
              <c:f>Sheet1!$B$2:$B$6</c:f>
              <c:numCache>
                <c:formatCode>General</c:formatCode>
                <c:ptCount val="5"/>
                <c:pt idx="0">
                  <c:v>0.61</c:v>
                </c:pt>
                <c:pt idx="1">
                  <c:v>0.42</c:v>
                </c:pt>
                <c:pt idx="2">
                  <c:v>0.18</c:v>
                </c:pt>
                <c:pt idx="3">
                  <c:v>0.43</c:v>
                </c:pt>
                <c:pt idx="4">
                  <c:v>0.2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CHAMPAGNE E.NICOLAS ROSE 1CT X 750ML</c:v>
                </c:pt>
                <c:pt idx="1">
                  <c:v>1/2 CHAMP NICOLAS ROSE 1E C BS 1CT X 375ML</c:v>
                </c:pt>
                <c:pt idx="2">
                  <c:v>CHAMPAGNE NICOLAS ROSE 1ERE ET 1CT X 750ML</c:v>
                </c:pt>
                <c:pt idx="3">
                  <c:v>CHAMPAGNE NICOLAS ROSE 1ERE CU 1CT X 750ML</c:v>
                </c:pt>
                <c:pt idx="4">
                  <c:v>CHAMPAGNE NICOLAS ROSE 1E C BS 1CT X 750ML</c:v>
                </c:pt>
              </c:strCache>
            </c:strRef>
          </c:cat>
          <c:val>
            <c:numRef>
              <c:f>Sheet1!$C$2:$C$6</c:f>
              <c:numCache>
                <c:formatCode>General</c:formatCode>
                <c:ptCount val="5"/>
                <c:pt idx="0">
                  <c:v>0.56416615003099813</c:v>
                </c:pt>
                <c:pt idx="1">
                  <c:v>0.7021078735275883</c:v>
                </c:pt>
                <c:pt idx="2">
                  <c:v>0.8168009919404835</c:v>
                </c:pt>
                <c:pt idx="3">
                  <c:v>0.9311841289522627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CHAMPAGNE E.NICOLAS ROSE 1CT X 750ML</c:v>
                </c:pt>
                <c:pt idx="1">
                  <c:v>1/2 CHAMP NICOLAS ROSE 1E C BS 1CT X 375ML</c:v>
                </c:pt>
                <c:pt idx="2">
                  <c:v>CHAMPAGNE NICOLAS ROSE 1ERE ET 1CT X 750ML</c:v>
                </c:pt>
                <c:pt idx="3">
                  <c:v>CHAMPAGNE NICOLAS ROSE 1ERE CU 1CT X 750ML</c:v>
                </c:pt>
                <c:pt idx="4">
                  <c:v>CHAMPAGNE NICOLAS ROSE 1E C BS 1CT X 750ML</c:v>
                </c:pt>
              </c:strCache>
            </c:strRef>
          </c:cat>
          <c:val>
            <c:numRef>
              <c:f>Sheet1!$D$2:$D$6</c:f>
              <c:numCache>
                <c:formatCode>General</c:formatCode>
                <c:ptCount val="5"/>
                <c:pt idx="0">
                  <c:v>29.83606557377049</c:v>
                </c:pt>
                <c:pt idx="1">
                  <c:v>10.595238095238095</c:v>
                </c:pt>
                <c:pt idx="2">
                  <c:v>20.555555555555557</c:v>
                </c:pt>
                <c:pt idx="3">
                  <c:v>8.5813953488372086</c:v>
                </c:pt>
                <c:pt idx="4">
                  <c:v>8.538461538461538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1B37581-DC5E-4B73-9BD8-8C94A8008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32A761-D101-479A-9190-ECA0532E9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2FA8F9C-D0C3-4145-975A-D17D68DC5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8E4817-8EF9-4616-A1BB-CB85A105F2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8A4306B-BDFF-438C-A4AF-1EF2692355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DDE8B20-0646-43AC-A28F-95A68BD862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78573DA-D68F-4E41-8206-61378115A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1210000000000001</c:v>
                </c:pt>
                <c:pt idx="1">
                  <c:v>0.13039999999999999</c:v>
                </c:pt>
                <c:pt idx="2">
                  <c:v>0.12839999999999999</c:v>
                </c:pt>
                <c:pt idx="3">
                  <c:v>3.7100000000000001E-2</c:v>
                </c:pt>
                <c:pt idx="4">
                  <c:v>7.4999999999999997E-3</c:v>
                </c:pt>
                <c:pt idx="5">
                  <c:v>5.4000000000000003E-3</c:v>
                </c:pt>
                <c:pt idx="6">
                  <c:v>2.9399999999999999E-2</c:v>
                </c:pt>
                <c:pt idx="7">
                  <c:v>5.3499999999999999E-2</c:v>
                </c:pt>
                <c:pt idx="8">
                  <c:v>3.1399999999999997E-2</c:v>
                </c:pt>
                <c:pt idx="9">
                  <c:v>9.7100000000000006E-2</c:v>
                </c:pt>
                <c:pt idx="10">
                  <c:v>0.1016</c:v>
                </c:pt>
              </c:numCache>
            </c:numRef>
          </c:xVal>
          <c:yVal>
            <c:numRef>
              <c:f>Sheet1!$B$2:$B$12</c:f>
              <c:numCache>
                <c:formatCode>General</c:formatCode>
                <c:ptCount val="11"/>
                <c:pt idx="0">
                  <c:v>73.526315789473685</c:v>
                </c:pt>
                <c:pt idx="1">
                  <c:v>40.512195121951223</c:v>
                </c:pt>
                <c:pt idx="2">
                  <c:v>134.25</c:v>
                </c:pt>
                <c:pt idx="3">
                  <c:v>100.6666666666667</c:v>
                </c:pt>
                <c:pt idx="4">
                  <c:v>181.18072289156629</c:v>
                </c:pt>
                <c:pt idx="5">
                  <c:v>155.21333333333331</c:v>
                </c:pt>
                <c:pt idx="6">
                  <c:v>108.17391304347829</c:v>
                </c:pt>
                <c:pt idx="7">
                  <c:v>107.91836734693879</c:v>
                </c:pt>
                <c:pt idx="8">
                  <c:v>2042.434343434343</c:v>
                </c:pt>
                <c:pt idx="9">
                  <c:v>157.7397260273973</c:v>
                </c:pt>
                <c:pt idx="10">
                  <c:v>49.186046511627907</c:v>
                </c:pt>
              </c:numCache>
            </c:numRef>
          </c:yVal>
          <c:bubbleSize>
            <c:numRef>
              <c:f>Sheet1!$C$2:$C$12</c:f>
              <c:numCache>
                <c:formatCode>General</c:formatCode>
                <c:ptCount val="11"/>
                <c:pt idx="0">
                  <c:v>1419.2177999999999</c:v>
                </c:pt>
                <c:pt idx="1">
                  <c:v>1203.7316000000001</c:v>
                </c:pt>
                <c:pt idx="2">
                  <c:v>1560.2153000000001</c:v>
                </c:pt>
                <c:pt idx="3">
                  <c:v>3877.0844999999999</c:v>
                </c:pt>
                <c:pt idx="4">
                  <c:v>12437.480100000001</c:v>
                </c:pt>
                <c:pt idx="5">
                  <c:v>9648.4393000000018</c:v>
                </c:pt>
                <c:pt idx="6">
                  <c:v>1278.75</c:v>
                </c:pt>
                <c:pt idx="7">
                  <c:v>4171.1099999999997</c:v>
                </c:pt>
                <c:pt idx="8">
                  <c:v>163212.90659999999</c:v>
                </c:pt>
                <c:pt idx="9">
                  <c:v>8664.1614000000009</c:v>
                </c:pt>
                <c:pt idx="10">
                  <c:v>1583.4626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8759F38-890F-4094-8B9B-2C94729EC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30BA3CD-C76C-4531-A206-93D121FDDB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8B356AF-851D-4705-A5E0-5AE1804AC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D073C31-2E9F-43E5-85F5-29273FD61B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57C770D-B154-4AB3-B4DD-CABDBA6121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5EDE90B-5D25-44D2-B44E-81E566651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35EDC2F-0476-4809-AA0A-982E1E74E0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1789</c:v>
                </c:pt>
                <c:pt idx="1">
                  <c:v>1.9599999999999999E-2</c:v>
                </c:pt>
                <c:pt idx="2">
                  <c:v>1.12E-2</c:v>
                </c:pt>
                <c:pt idx="3">
                  <c:v>-3.2399999999999998E-2</c:v>
                </c:pt>
                <c:pt idx="4">
                  <c:v>5.6899999999999999E-2</c:v>
                </c:pt>
                <c:pt idx="5">
                  <c:v>4.1799999999999997E-2</c:v>
                </c:pt>
                <c:pt idx="6">
                  <c:v>9.6100000000000005E-2</c:v>
                </c:pt>
                <c:pt idx="7">
                  <c:v>0.11559999999999999</c:v>
                </c:pt>
                <c:pt idx="8">
                  <c:v>7.3099999999999998E-2</c:v>
                </c:pt>
                <c:pt idx="9">
                  <c:v>0.1152</c:v>
                </c:pt>
              </c:numCache>
            </c:numRef>
          </c:xVal>
          <c:yVal>
            <c:numRef>
              <c:f>Sheet1!$B$2:$B$11</c:f>
              <c:numCache>
                <c:formatCode>General</c:formatCode>
                <c:ptCount val="10"/>
                <c:pt idx="0">
                  <c:v>105.258064516129</c:v>
                </c:pt>
                <c:pt idx="1">
                  <c:v>175.91836734693879</c:v>
                </c:pt>
                <c:pt idx="2">
                  <c:v>167.5</c:v>
                </c:pt>
                <c:pt idx="3">
                  <c:v>219.21153846153851</c:v>
                </c:pt>
                <c:pt idx="4">
                  <c:v>82.675675675675677</c:v>
                </c:pt>
                <c:pt idx="5">
                  <c:v>1829.28</c:v>
                </c:pt>
                <c:pt idx="6">
                  <c:v>348.38095238095241</c:v>
                </c:pt>
                <c:pt idx="7">
                  <c:v>57.31707317073171</c:v>
                </c:pt>
                <c:pt idx="8">
                  <c:v>72.066666666666663</c:v>
                </c:pt>
                <c:pt idx="9">
                  <c:v>69.090909090909093</c:v>
                </c:pt>
              </c:numCache>
            </c:numRef>
          </c:yVal>
          <c:bubbleSize>
            <c:numRef>
              <c:f>Sheet1!$C$2:$C$11</c:f>
              <c:numCache>
                <c:formatCode>General</c:formatCode>
                <c:ptCount val="10"/>
                <c:pt idx="0">
                  <c:v>2232.8229000000001</c:v>
                </c:pt>
                <c:pt idx="1">
                  <c:v>7042.5024000000003</c:v>
                </c:pt>
                <c:pt idx="2">
                  <c:v>8833.3191999999999</c:v>
                </c:pt>
                <c:pt idx="3">
                  <c:v>9807.258600000001</c:v>
                </c:pt>
                <c:pt idx="4">
                  <c:v>2404.0725000000002</c:v>
                </c:pt>
                <c:pt idx="5">
                  <c:v>146068.99830000001</c:v>
                </c:pt>
                <c:pt idx="6">
                  <c:v>16531.504199999999</c:v>
                </c:pt>
                <c:pt idx="7">
                  <c:v>1731.9738</c:v>
                </c:pt>
                <c:pt idx="8">
                  <c:v>1669.8806</c:v>
                </c:pt>
                <c:pt idx="9">
                  <c:v>1120.717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pt idx="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473D96-7E92-42D0-904E-B0DACF1558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D23CD19-7856-4D2C-B529-E0AA2FEDBC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E75BAF2-3043-4DC1-88D4-327C9380F9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32F0E48-6715-4232-B7F7-37FB1D2204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89B8D00-2D36-47DA-B742-881E53C90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4C24750-AE47-401E-A6A2-BEB644AA0A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A6B0640-1C7A-4BEE-B0DD-E6F8A849A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6.1499999999999999E-2</c:v>
                </c:pt>
                <c:pt idx="1">
                  <c:v>3.09E-2</c:v>
                </c:pt>
                <c:pt idx="2">
                  <c:v>3.2199999999999999E-2</c:v>
                </c:pt>
                <c:pt idx="3">
                  <c:v>7.1099999999999997E-2</c:v>
                </c:pt>
                <c:pt idx="4">
                  <c:v>3.9699999999999999E-2</c:v>
                </c:pt>
                <c:pt idx="5">
                  <c:v>0.1002</c:v>
                </c:pt>
                <c:pt idx="6">
                  <c:v>9.9699999999999997E-2</c:v>
                </c:pt>
              </c:numCache>
            </c:numRef>
          </c:xVal>
          <c:yVal>
            <c:numRef>
              <c:f>Sheet1!$B$2:$B$8</c:f>
              <c:numCache>
                <c:formatCode>General</c:formatCode>
                <c:ptCount val="7"/>
                <c:pt idx="0">
                  <c:v>42.558823529411768</c:v>
                </c:pt>
                <c:pt idx="1">
                  <c:v>69.044117647058826</c:v>
                </c:pt>
                <c:pt idx="2">
                  <c:v>67.266666666666666</c:v>
                </c:pt>
                <c:pt idx="3">
                  <c:v>45.557377049180317</c:v>
                </c:pt>
                <c:pt idx="4">
                  <c:v>956.39</c:v>
                </c:pt>
                <c:pt idx="5">
                  <c:v>118.1791044776119</c:v>
                </c:pt>
                <c:pt idx="6">
                  <c:v>36.769230769230766</c:v>
                </c:pt>
              </c:numCache>
            </c:numRef>
          </c:yVal>
          <c:bubbleSize>
            <c:numRef>
              <c:f>Sheet1!$C$2:$C$8</c:f>
              <c:numCache>
                <c:formatCode>General</c:formatCode>
                <c:ptCount val="7"/>
                <c:pt idx="0">
                  <c:v>1131.6672000000001</c:v>
                </c:pt>
                <c:pt idx="1">
                  <c:v>3791.6606000000002</c:v>
                </c:pt>
                <c:pt idx="2">
                  <c:v>4882.7226000000001</c:v>
                </c:pt>
                <c:pt idx="3">
                  <c:v>2151.1799999999998</c:v>
                </c:pt>
                <c:pt idx="4">
                  <c:v>76538.395900000003</c:v>
                </c:pt>
                <c:pt idx="5">
                  <c:v>5937.3135000000002</c:v>
                </c:pt>
                <c:pt idx="6">
                  <c:v>1434.489399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E.NICOLAS ROSE 1CT X 750ML</c:v>
                  </c:pt>
                  <c:pt idx="2">
                    <c:v>CHAMPAGNE NICOLAS 1ERE CUVEE 1CT X 750ML</c:v>
                  </c:pt>
                  <c:pt idx="3">
                    <c:v>1/2 CHAMPAGNE NICOLAS 1ERE CUV 1CT X 375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DBA9123-3D44-499B-8AAB-B592D5345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90330C-97DA-440C-880C-A37059C16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413EA42-7F78-4948-AD96-2BF5FB733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3F4B4A2-0E63-426B-A285-E78E9C617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F032430-5A6B-4769-AA29-986CC394B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954A28-7952-40C8-98A4-1E881E0182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A18F770-1894-4E1E-ABE4-14C0219BA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1133</c:v>
                </c:pt>
                <c:pt idx="1">
                  <c:v>7.8700000000000006E-2</c:v>
                </c:pt>
                <c:pt idx="2">
                  <c:v>1.7600000000000001E-2</c:v>
                </c:pt>
                <c:pt idx="3">
                  <c:v>-1E-4</c:v>
                </c:pt>
                <c:pt idx="4">
                  <c:v>4.2999999999999997E-2</c:v>
                </c:pt>
                <c:pt idx="5">
                  <c:v>0.1221</c:v>
                </c:pt>
                <c:pt idx="6">
                  <c:v>0.1147</c:v>
                </c:pt>
              </c:numCache>
            </c:numRef>
          </c:xVal>
          <c:yVal>
            <c:numRef>
              <c:f>Sheet1!$B$2:$B$8</c:f>
              <c:numCache>
                <c:formatCode>General</c:formatCode>
                <c:ptCount val="7"/>
                <c:pt idx="0">
                  <c:v>35.460317460317462</c:v>
                </c:pt>
                <c:pt idx="1">
                  <c:v>26.14516129032258</c:v>
                </c:pt>
                <c:pt idx="2">
                  <c:v>63.61904761904762</c:v>
                </c:pt>
                <c:pt idx="3">
                  <c:v>39.296296296296298</c:v>
                </c:pt>
                <c:pt idx="4">
                  <c:v>561.4</c:v>
                </c:pt>
                <c:pt idx="5">
                  <c:v>92.183908045977006</c:v>
                </c:pt>
                <c:pt idx="6">
                  <c:v>23.35483870967742</c:v>
                </c:pt>
              </c:numCache>
            </c:numRef>
          </c:yVal>
          <c:bubbleSize>
            <c:numRef>
              <c:f>Sheet1!$C$2:$C$8</c:f>
              <c:numCache>
                <c:formatCode>General</c:formatCode>
                <c:ptCount val="7"/>
                <c:pt idx="0">
                  <c:v>1650.7646</c:v>
                </c:pt>
                <c:pt idx="1">
                  <c:v>1244.5839000000001</c:v>
                </c:pt>
                <c:pt idx="2">
                  <c:v>4374.9930000000004</c:v>
                </c:pt>
                <c:pt idx="3">
                  <c:v>1768.5559000000001</c:v>
                </c:pt>
                <c:pt idx="4">
                  <c:v>44770.593800000002</c:v>
                </c:pt>
                <c:pt idx="5">
                  <c:v>5867.2008000000014</c:v>
                </c:pt>
                <c:pt idx="6">
                  <c:v>1068.3076000000001</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DAE411E-95C8-4FDD-B8DC-A478C34E8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624AB8-CCE1-45C5-B7A2-D27EAC290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21C5397-F86A-4F05-B00E-349CECE008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3DD8551-87DB-4DCA-AE23-6A322565C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A4BD24D-4227-4D50-B7FF-33AF5B3A67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31CC4E3-0C08-47BF-A0C4-1460574A7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AB26FCA-F55F-40C2-95BE-2E9599CBD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1389</c:v>
                </c:pt>
                <c:pt idx="1">
                  <c:v>1.84E-2</c:v>
                </c:pt>
                <c:pt idx="2">
                  <c:v>1.3599999999999999E-2</c:v>
                </c:pt>
                <c:pt idx="3">
                  <c:v>-6.1100000000000002E-2</c:v>
                </c:pt>
                <c:pt idx="4">
                  <c:v>7.0499999999999993E-2</c:v>
                </c:pt>
                <c:pt idx="5">
                  <c:v>0.04</c:v>
                </c:pt>
                <c:pt idx="6">
                  <c:v>0.10680000000000001</c:v>
                </c:pt>
                <c:pt idx="7">
                  <c:v>-0.1114</c:v>
                </c:pt>
              </c:numCache>
            </c:numRef>
          </c:xVal>
          <c:yVal>
            <c:numRef>
              <c:f>Sheet1!$B$2:$B$9</c:f>
              <c:numCache>
                <c:formatCode>General</c:formatCode>
                <c:ptCount val="8"/>
                <c:pt idx="0">
                  <c:v>53.7</c:v>
                </c:pt>
                <c:pt idx="1">
                  <c:v>98.978260869565219</c:v>
                </c:pt>
                <c:pt idx="2">
                  <c:v>91.92</c:v>
                </c:pt>
                <c:pt idx="3">
                  <c:v>75.293333333333337</c:v>
                </c:pt>
                <c:pt idx="4">
                  <c:v>36.295081967213108</c:v>
                </c:pt>
                <c:pt idx="5">
                  <c:v>1149.8800000000001</c:v>
                </c:pt>
                <c:pt idx="6">
                  <c:v>169.1454545454545</c:v>
                </c:pt>
                <c:pt idx="7">
                  <c:v>27.125</c:v>
                </c:pt>
              </c:numCache>
            </c:numRef>
          </c:yVal>
          <c:bubbleSize>
            <c:numRef>
              <c:f>Sheet1!$C$2:$C$9</c:f>
              <c:numCache>
                <c:formatCode>General</c:formatCode>
                <c:ptCount val="8"/>
                <c:pt idx="0">
                  <c:v>1541.3326999999999</c:v>
                </c:pt>
                <c:pt idx="1">
                  <c:v>3724.1676000000002</c:v>
                </c:pt>
                <c:pt idx="2">
                  <c:v>5666.6575999999995</c:v>
                </c:pt>
                <c:pt idx="3">
                  <c:v>4993.5696000000007</c:v>
                </c:pt>
                <c:pt idx="4">
                  <c:v>1714.905</c:v>
                </c:pt>
                <c:pt idx="5">
                  <c:v>91989.461899999995</c:v>
                </c:pt>
                <c:pt idx="6">
                  <c:v>6924.7790999999997</c:v>
                </c:pt>
                <c:pt idx="7">
                  <c:v>1406.8531</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33A7797-68D8-43AC-9322-6D61DE45B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43CBA20-349E-493A-A8AC-F8E5EA64FE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FD0EF6-CB8D-4A75-AD37-8B7DBC34E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242EDC-0373-47E6-A3B6-BB6B20F10B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3F4356-8778-4344-925B-A726D4D0BF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DB54023-CF8F-4550-B301-EC44E67AB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3779F00-DA32-4F58-8B99-D1F8506075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8709999999999999</c:v>
                </c:pt>
                <c:pt idx="1">
                  <c:v>5.6599999999999998E-2</c:v>
                </c:pt>
                <c:pt idx="2">
                  <c:v>1.4E-2</c:v>
                </c:pt>
                <c:pt idx="3">
                  <c:v>-2.06E-2</c:v>
                </c:pt>
                <c:pt idx="4">
                  <c:v>0.15670000000000001</c:v>
                </c:pt>
                <c:pt idx="5">
                  <c:v>5.62E-2</c:v>
                </c:pt>
                <c:pt idx="6">
                  <c:v>4.1799999999999997E-2</c:v>
                </c:pt>
                <c:pt idx="7">
                  <c:v>9.5200000000000007E-2</c:v>
                </c:pt>
                <c:pt idx="8">
                  <c:v>-3.4000000000000002E-2</c:v>
                </c:pt>
              </c:numCache>
            </c:numRef>
          </c:xVal>
          <c:yVal>
            <c:numRef>
              <c:f>Sheet1!$B$2:$B$10</c:f>
              <c:numCache>
                <c:formatCode>General</c:formatCode>
                <c:ptCount val="9"/>
                <c:pt idx="0">
                  <c:v>70.8</c:v>
                </c:pt>
                <c:pt idx="1">
                  <c:v>67.114285714285714</c:v>
                </c:pt>
                <c:pt idx="2">
                  <c:v>121.4225352112676</c:v>
                </c:pt>
                <c:pt idx="3">
                  <c:v>91.298850574712645</c:v>
                </c:pt>
                <c:pt idx="4">
                  <c:v>62.244444444444447</c:v>
                </c:pt>
                <c:pt idx="5">
                  <c:v>54.046511627906973</c:v>
                </c:pt>
                <c:pt idx="6">
                  <c:v>1137.1300000000001</c:v>
                </c:pt>
                <c:pt idx="7">
                  <c:v>237.92307692307691</c:v>
                </c:pt>
                <c:pt idx="8">
                  <c:v>42.464285714285708</c:v>
                </c:pt>
              </c:numCache>
            </c:numRef>
          </c:yVal>
          <c:bubbleSize>
            <c:numRef>
              <c:f>Sheet1!$C$2:$C$10</c:f>
              <c:numCache>
                <c:formatCode>General</c:formatCode>
                <c:ptCount val="9"/>
                <c:pt idx="0">
                  <c:v>1918.5488</c:v>
                </c:pt>
                <c:pt idx="1">
                  <c:v>1846.6674</c:v>
                </c:pt>
                <c:pt idx="2">
                  <c:v>7083.3220000000001</c:v>
                </c:pt>
                <c:pt idx="3">
                  <c:v>6755.3112000000001</c:v>
                </c:pt>
                <c:pt idx="4">
                  <c:v>1382.94</c:v>
                </c:pt>
                <c:pt idx="5">
                  <c:v>1827.87</c:v>
                </c:pt>
                <c:pt idx="6">
                  <c:v>90795.169100000014</c:v>
                </c:pt>
                <c:pt idx="7">
                  <c:v>11660.7888</c:v>
                </c:pt>
                <c:pt idx="8">
                  <c:v>1024.5273</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MG CHAMPAGNE NICOLAS 1ERE CUVE 1CT X 1500ML</c:v>
                  </c:pt>
                  <c:pt idx="5">
                    <c:v>1/2 CHAMPAGNE NICOLAS 1ERE CUV 1CT X 375ML</c:v>
                  </c:pt>
                  <c:pt idx="6">
                    <c:v>CHAMPAGNE E.NICOLAS BRUT 1CT X 750ML</c:v>
                  </c:pt>
                  <c:pt idx="7">
                    <c:v>CHAMPAGNE NICOLAS BLC/BLC BS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9A75EB0-4EB3-4E55-9F1F-2358923E6F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996AFB-1818-4795-A042-62733ABDEE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07FF6B3-BC4E-43FE-9724-62563E64F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7F202F0-1348-4AC2-B873-F889982BE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0163426-87DC-47F7-AD2F-D5992302B2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4379973-2706-4C1C-BA21-5272525CC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5AAAD40-1CF2-4ED2-B7B7-CEE840D0B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3.0200000000000001E-2</c:v>
                </c:pt>
                <c:pt idx="1">
                  <c:v>7.3000000000000001E-3</c:v>
                </c:pt>
                <c:pt idx="2">
                  <c:v>7.5600000000000001E-2</c:v>
                </c:pt>
                <c:pt idx="3">
                  <c:v>3.9100000000000003E-2</c:v>
                </c:pt>
                <c:pt idx="4">
                  <c:v>0.1067</c:v>
                </c:pt>
              </c:numCache>
            </c:numRef>
          </c:xVal>
          <c:yVal>
            <c:numRef>
              <c:f>Sheet1!$B$2:$B$6</c:f>
              <c:numCache>
                <c:formatCode>General</c:formatCode>
                <c:ptCount val="5"/>
                <c:pt idx="0">
                  <c:v>70.892857142857139</c:v>
                </c:pt>
                <c:pt idx="1">
                  <c:v>90.835443037974684</c:v>
                </c:pt>
                <c:pt idx="2">
                  <c:v>37.807017543859651</c:v>
                </c:pt>
                <c:pt idx="3">
                  <c:v>844.86</c:v>
                </c:pt>
                <c:pt idx="4">
                  <c:v>125.50793650793651</c:v>
                </c:pt>
              </c:numCache>
            </c:numRef>
          </c:yVal>
          <c:bubbleSize>
            <c:numRef>
              <c:f>Sheet1!$C$2:$C$6</c:f>
              <c:numCache>
                <c:formatCode>General</c:formatCode>
                <c:ptCount val="5"/>
                <c:pt idx="0">
                  <c:v>3208.3281999999999</c:v>
                </c:pt>
                <c:pt idx="1">
                  <c:v>5936.1959000000006</c:v>
                </c:pt>
                <c:pt idx="2">
                  <c:v>1660.0274999999999</c:v>
                </c:pt>
                <c:pt idx="3">
                  <c:v>67650.225100000011</c:v>
                </c:pt>
                <c:pt idx="4">
                  <c:v>5885.8821000000007</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1ERE CUVEE 1CT X 750ML</c:v>
                  </c:pt>
                  <c:pt idx="2">
                    <c:v>1/2 CHAMPAGNE NICOLAS 1ERE CUV 1CT X 375ML</c:v>
                  </c:pt>
                  <c:pt idx="3">
                    <c:v>CHAMPAGNE E.NICOLAS BRUT 1CT X 750ML</c:v>
                  </c:pt>
                  <c:pt idx="4">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Besserat De Bellefon</c:v>
                </c:pt>
                <c:pt idx="3">
                  <c:v>Nicolas</c:v>
                </c:pt>
                <c:pt idx="4">
                  <c:v>De Venoge</c:v>
                </c:pt>
                <c:pt idx="5">
                  <c:v>Henriot</c:v>
                </c:pt>
                <c:pt idx="6">
                  <c:v>Delamotte</c:v>
                </c:pt>
                <c:pt idx="7">
                  <c:v>Deutz</c:v>
                </c:pt>
                <c:pt idx="8">
                  <c:v>De Bligny</c:v>
                </c:pt>
                <c:pt idx="9">
                  <c:v>Others</c:v>
                </c:pt>
              </c:strCache>
            </c:strRef>
          </c:cat>
          <c:val>
            <c:numRef>
              <c:f>Sheet1!$B$2:$B$11</c:f>
              <c:numCache>
                <c:formatCode>General</c:formatCode>
                <c:ptCount val="10"/>
                <c:pt idx="0">
                  <c:v>0.62146260537433207</c:v>
                </c:pt>
                <c:pt idx="1">
                  <c:v>8.343139335249522E-2</c:v>
                </c:pt>
                <c:pt idx="2">
                  <c:v>6.7786801442929062E-2</c:v>
                </c:pt>
                <c:pt idx="3">
                  <c:v>6.6378595266112381E-2</c:v>
                </c:pt>
                <c:pt idx="4">
                  <c:v>3.229228958891954E-2</c:v>
                </c:pt>
                <c:pt idx="5">
                  <c:v>2.4434627725586269E-2</c:v>
                </c:pt>
                <c:pt idx="6">
                  <c:v>2.3945935171074545E-2</c:v>
                </c:pt>
                <c:pt idx="7">
                  <c:v>2.335435997350772E-2</c:v>
                </c:pt>
                <c:pt idx="8">
                  <c:v>2.1849701318826881E-2</c:v>
                </c:pt>
                <c:pt idx="9">
                  <c:v>3.506369078621629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Besserat De Bellefon</c:v>
                </c:pt>
                <c:pt idx="3">
                  <c:v>Nicolas</c:v>
                </c:pt>
                <c:pt idx="4">
                  <c:v>De Venoge</c:v>
                </c:pt>
                <c:pt idx="5">
                  <c:v>Henriot</c:v>
                </c:pt>
                <c:pt idx="6">
                  <c:v>Delamotte</c:v>
                </c:pt>
                <c:pt idx="7">
                  <c:v>Deutz</c:v>
                </c:pt>
                <c:pt idx="8">
                  <c:v>De Bligny</c:v>
                </c:pt>
                <c:pt idx="9">
                  <c:v>Others</c:v>
                </c:pt>
              </c:strCache>
            </c:strRef>
          </c:cat>
          <c:val>
            <c:numRef>
              <c:f>Sheet1!$C$2:$C$11</c:f>
              <c:numCache>
                <c:formatCode>General</c:formatCode>
                <c:ptCount val="10"/>
                <c:pt idx="0">
                  <c:v>0.2574626865671642</c:v>
                </c:pt>
                <c:pt idx="1">
                  <c:v>6.8097014925373137E-2</c:v>
                </c:pt>
                <c:pt idx="2">
                  <c:v>7.4626865671641798E-2</c:v>
                </c:pt>
                <c:pt idx="3">
                  <c:v>0.13526119402985076</c:v>
                </c:pt>
                <c:pt idx="4">
                  <c:v>6.2500000000000014E-2</c:v>
                </c:pt>
                <c:pt idx="5">
                  <c:v>7.8358208955223885E-2</c:v>
                </c:pt>
                <c:pt idx="6">
                  <c:v>4.8507462686567172E-2</c:v>
                </c:pt>
                <c:pt idx="7">
                  <c:v>4.7574626865671647E-2</c:v>
                </c:pt>
                <c:pt idx="8">
                  <c:v>6.2500000000000014E-2</c:v>
                </c:pt>
                <c:pt idx="9">
                  <c:v>0.1651119402985074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Besserat De Bellefon</c:v>
                </c:pt>
                <c:pt idx="3">
                  <c:v>Nicolas</c:v>
                </c:pt>
                <c:pt idx="4">
                  <c:v>De Venoge</c:v>
                </c:pt>
                <c:pt idx="5">
                  <c:v>Henriot</c:v>
                </c:pt>
                <c:pt idx="6">
                  <c:v>Delamotte</c:v>
                </c:pt>
                <c:pt idx="7">
                  <c:v>Deutz</c:v>
                </c:pt>
                <c:pt idx="8">
                  <c:v>De Bligny</c:v>
                </c:pt>
                <c:pt idx="9">
                  <c:v>Others</c:v>
                </c:pt>
              </c:strCache>
            </c:strRef>
          </c:cat>
          <c:val>
            <c:numRef>
              <c:f>Sheet1!$D$2:$D$11</c:f>
              <c:numCache>
                <c:formatCode>General</c:formatCode>
                <c:ptCount val="10"/>
                <c:pt idx="0">
                  <c:v>41.428508222483316</c:v>
                </c:pt>
                <c:pt idx="1">
                  <c:v>81.620373565697534</c:v>
                </c:pt>
                <c:pt idx="2">
                  <c:v>110.09055462584631</c:v>
                </c:pt>
                <c:pt idx="3">
                  <c:v>203.7723056470048</c:v>
                </c:pt>
                <c:pt idx="4">
                  <c:v>193.54465352449228</c:v>
                </c:pt>
                <c:pt idx="5">
                  <c:v>320.68509426551458</c:v>
                </c:pt>
                <c:pt idx="6">
                  <c:v>202.57075925421231</c:v>
                </c:pt>
                <c:pt idx="7">
                  <c:v>203.70768849858635</c:v>
                </c:pt>
                <c:pt idx="8">
                  <c:v>286.04510005885817</c:v>
                </c:pt>
                <c:pt idx="9">
                  <c:v>470.891502281367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6BCB02-A352-4A07-AE7B-E7BBD0FE1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2F2CF1-F5F8-4AC6-89C1-5CFFC53A8C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E31711-F579-4A8A-B9A0-E9D5C2075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D58CDA-0E06-48F2-B521-FC5DD5F6B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AF0856B-A495-4275-B828-1A72DA67D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BA9E48E-A75D-473A-9697-B22F6ECD9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2AB65D-4FA7-4E7A-AEE7-F84DF2C86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4.3700000000000003E-2</c:v>
                </c:pt>
                <c:pt idx="1">
                  <c:v>2.6800000000000001E-2</c:v>
                </c:pt>
                <c:pt idx="2">
                  <c:v>-6.0299999999999999E-2</c:v>
                </c:pt>
                <c:pt idx="3">
                  <c:v>4.1000000000000002E-2</c:v>
                </c:pt>
                <c:pt idx="4">
                  <c:v>0.114</c:v>
                </c:pt>
                <c:pt idx="5">
                  <c:v>1.72E-2</c:v>
                </c:pt>
              </c:numCache>
            </c:numRef>
          </c:xVal>
          <c:yVal>
            <c:numRef>
              <c:f>Sheet1!$B$2:$B$7</c:f>
              <c:numCache>
                <c:formatCode>General</c:formatCode>
                <c:ptCount val="6"/>
                <c:pt idx="0">
                  <c:v>38.551020408163268</c:v>
                </c:pt>
                <c:pt idx="1">
                  <c:v>63.303571428571423</c:v>
                </c:pt>
                <c:pt idx="2">
                  <c:v>48.723684210526322</c:v>
                </c:pt>
                <c:pt idx="3">
                  <c:v>635.45000000000005</c:v>
                </c:pt>
                <c:pt idx="4">
                  <c:v>56.411764705882362</c:v>
                </c:pt>
                <c:pt idx="5">
                  <c:v>18.564705882352939</c:v>
                </c:pt>
              </c:numCache>
            </c:numRef>
          </c:yVal>
          <c:bubbleSize>
            <c:numRef>
              <c:f>Sheet1!$C$2:$C$7</c:f>
              <c:numCache>
                <c:formatCode>General</c:formatCode>
                <c:ptCount val="6"/>
                <c:pt idx="0">
                  <c:v>1505.4170999999999</c:v>
                </c:pt>
                <c:pt idx="1">
                  <c:v>2874.9953999999998</c:v>
                </c:pt>
                <c:pt idx="2">
                  <c:v>3271.8853000000008</c:v>
                </c:pt>
                <c:pt idx="3">
                  <c:v>50783.436800000003</c:v>
                </c:pt>
                <c:pt idx="4">
                  <c:v>2124.1763999999998</c:v>
                </c:pt>
                <c:pt idx="5">
                  <c:v>1292.4392</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E.NICOLAS ROSE 1CT X 750ML</c:v>
                  </c:pt>
                  <c:pt idx="2">
                    <c:v>CHAMPAGNE NICOLAS 1ERE CUVEE 1CT X 750ML</c:v>
                  </c:pt>
                  <c:pt idx="3">
                    <c:v>CHAMPAGNE E.NICOLAS BRUT 1CT X 750ML</c:v>
                  </c:pt>
                  <c:pt idx="4">
                    <c:v>CHAMPAGNE NICOLAS BLC/BLC BS 1CT X 750ML</c:v>
                  </c:pt>
                  <c:pt idx="5">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F60F884-9CF0-4EAA-984A-FF0E1CCCDC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CDB29A-2D85-4EEE-B7EF-A0A65331E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53F6ABD-766A-4EA1-A1FB-7D4B328955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DAFC643-FDBD-4016-ADA3-1F4858DEF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6075BAA-574F-4EB2-9A23-8E251AF4C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4849D3-D092-4433-9DEB-E7BA1ED2F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90DDDA4-7A61-4477-9FC0-BB904792CD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4.9700000000000001E-2</c:v>
                </c:pt>
                <c:pt idx="1">
                  <c:v>1.0500000000000001E-2</c:v>
                </c:pt>
                <c:pt idx="2">
                  <c:v>4.0399999999999998E-2</c:v>
                </c:pt>
                <c:pt idx="3">
                  <c:v>0.1158</c:v>
                </c:pt>
              </c:numCache>
            </c:numRef>
          </c:xVal>
          <c:yVal>
            <c:numRef>
              <c:f>Sheet1!$B$2:$B$5</c:f>
              <c:numCache>
                <c:formatCode>General</c:formatCode>
                <c:ptCount val="4"/>
                <c:pt idx="0">
                  <c:v>39.9</c:v>
                </c:pt>
                <c:pt idx="1">
                  <c:v>43.115942028985508</c:v>
                </c:pt>
                <c:pt idx="2">
                  <c:v>391.8</c:v>
                </c:pt>
                <c:pt idx="3">
                  <c:v>59.420289855072461</c:v>
                </c:pt>
              </c:numCache>
            </c:numRef>
          </c:yVal>
          <c:bubbleSize>
            <c:numRef>
              <c:f>Sheet1!$C$2:$C$5</c:f>
              <c:numCache>
                <c:formatCode>General</c:formatCode>
                <c:ptCount val="4"/>
                <c:pt idx="0">
                  <c:v>1895.830300000001</c:v>
                </c:pt>
                <c:pt idx="1">
                  <c:v>2453.0792000000001</c:v>
                </c:pt>
                <c:pt idx="2">
                  <c:v>31331.627499999999</c:v>
                </c:pt>
                <c:pt idx="3">
                  <c:v>3020.8625999999999</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1ERE CUVEE 1CT X 750ML</c:v>
                  </c:pt>
                  <c:pt idx="2">
                    <c:v>CHAMPAGNE E.NICOLAS BRUT 1CT X 750ML</c:v>
                  </c:pt>
                  <c:pt idx="3">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A658354-CCD5-4999-9296-4DB160F642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E8C9F5A-486B-418E-913B-E330984ABF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0BD2ABB7-CFD9-48AA-A422-563B914898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E94F58-7F08-4074-AA12-0583B0C32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496CB05-8D22-427E-BB8E-F0498E5C84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AE1DA6-0B18-4661-97BA-81CC03D79D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9BD0C2A-9D4C-4B97-9DA4-CF53B4ED64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6600000000000003E-2</c:v>
                </c:pt>
                <c:pt idx="1">
                  <c:v>0.1192</c:v>
                </c:pt>
              </c:numCache>
            </c:numRef>
          </c:xVal>
          <c:yVal>
            <c:numRef>
              <c:f>Sheet1!$B$2:$B$3</c:f>
              <c:numCache>
                <c:formatCode>General</c:formatCode>
                <c:ptCount val="2"/>
                <c:pt idx="0">
                  <c:v>196.9</c:v>
                </c:pt>
                <c:pt idx="1">
                  <c:v>33.737499999999997</c:v>
                </c:pt>
              </c:numCache>
            </c:numRef>
          </c:yVal>
          <c:bubbleSize>
            <c:numRef>
              <c:f>Sheet1!$C$2:$C$3</c:f>
              <c:numCache>
                <c:formatCode>General</c:formatCode>
                <c:ptCount val="2"/>
                <c:pt idx="0">
                  <c:v>15643.313599999999</c:v>
                </c:pt>
                <c:pt idx="1">
                  <c:v>1980.9558</c:v>
                </c:pt>
              </c:numCache>
            </c:numRef>
          </c:bubbleSize>
          <c:bubble3D val="0"/>
          <c:extLst>
            <c:ext xmlns:c15="http://schemas.microsoft.com/office/drawing/2012/chart" uri="{02D57815-91ED-43cb-92C2-25804820EDAC}">
              <c15:datalabelsRange>
                <c15:f>Sheet1!$E$2:$E$50</c15:f>
                <c15:dlblRangeCache>
                  <c:ptCount val="49"/>
                  <c:pt idx="0">
                    <c:v>CHAMPAGNE E.NICOLAS BRUT 1CT X 75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6588F96-E8E1-4BDC-B54B-7A080DC220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E6512E0-DF65-4DDE-827C-AE767120B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BF83B6-8079-475B-A146-F7DCD52EA4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BBD0657-47A1-4514-97F2-DB7411B72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6464FAC-8D8C-4B5E-9539-146C549F9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58D841-91A8-4F42-9B38-2A6C7D4A7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1BD5E26-8B43-47A6-B10D-AC45024CC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6.59E-2</c:v>
                </c:pt>
                <c:pt idx="1">
                  <c:v>-8.3999999999999995E-3</c:v>
                </c:pt>
                <c:pt idx="2">
                  <c:v>4.3299999999999998E-2</c:v>
                </c:pt>
              </c:numCache>
            </c:numRef>
          </c:xVal>
          <c:yVal>
            <c:numRef>
              <c:f>Sheet1!$B$2:$B$4</c:f>
              <c:numCache>
                <c:formatCode>General</c:formatCode>
                <c:ptCount val="3"/>
                <c:pt idx="0">
                  <c:v>29.83606557377049</c:v>
                </c:pt>
                <c:pt idx="1">
                  <c:v>46.70967741935484</c:v>
                </c:pt>
                <c:pt idx="2">
                  <c:v>180.58</c:v>
                </c:pt>
              </c:numCache>
            </c:numRef>
          </c:yVal>
          <c:bubbleSize>
            <c:numRef>
              <c:f>Sheet1!$C$2:$C$4</c:f>
              <c:numCache>
                <c:formatCode>General</c:formatCode>
                <c:ptCount val="3"/>
                <c:pt idx="0">
                  <c:v>1416.6643999999999</c:v>
                </c:pt>
                <c:pt idx="1">
                  <c:v>2433.6008999999999</c:v>
                </c:pt>
                <c:pt idx="2">
                  <c:v>14397.3907</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1ERE CUVEE 1CT X 750ML</c:v>
                  </c:pt>
                  <c:pt idx="2">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21B1E92-AA4A-47E8-8403-D60532EDB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AF031A-C129-49C5-B1A7-352A8CC469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88F00F-AD8C-4EED-80C2-48D0D6AA8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324FA5C-C9AE-4AEB-8643-9F8588797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E4AB4DE-1043-42EB-A11C-1CCA630374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27DB75-7611-49A8-90DD-B390EBC5E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40BFB18-2144-42EF-88F0-1C271F58A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1210000000000001</c:v>
                </c:pt>
                <c:pt idx="1">
                  <c:v>0.13039999999999999</c:v>
                </c:pt>
                <c:pt idx="2">
                  <c:v>0.12839999999999999</c:v>
                </c:pt>
                <c:pt idx="3">
                  <c:v>3.7100000000000001E-2</c:v>
                </c:pt>
                <c:pt idx="4">
                  <c:v>7.4999999999999997E-3</c:v>
                </c:pt>
                <c:pt idx="5">
                  <c:v>5.4000000000000003E-3</c:v>
                </c:pt>
                <c:pt idx="6">
                  <c:v>2.9399999999999999E-2</c:v>
                </c:pt>
                <c:pt idx="7">
                  <c:v>5.3499999999999999E-2</c:v>
                </c:pt>
                <c:pt idx="8">
                  <c:v>3.1399999999999997E-2</c:v>
                </c:pt>
                <c:pt idx="9">
                  <c:v>9.7100000000000006E-2</c:v>
                </c:pt>
                <c:pt idx="10">
                  <c:v>0.1016</c:v>
                </c:pt>
              </c:numCache>
            </c:numRef>
          </c:xVal>
          <c:yVal>
            <c:numRef>
              <c:f>Sheet1!$B$2:$B$12</c:f>
              <c:numCache>
                <c:formatCode>General</c:formatCode>
                <c:ptCount val="11"/>
                <c:pt idx="0">
                  <c:v>73.526315789473685</c:v>
                </c:pt>
                <c:pt idx="1">
                  <c:v>40.512195121951223</c:v>
                </c:pt>
                <c:pt idx="2">
                  <c:v>134.25</c:v>
                </c:pt>
                <c:pt idx="3">
                  <c:v>100.6666666666667</c:v>
                </c:pt>
                <c:pt idx="4">
                  <c:v>181.18072289156629</c:v>
                </c:pt>
                <c:pt idx="5">
                  <c:v>155.21333333333331</c:v>
                </c:pt>
                <c:pt idx="6">
                  <c:v>108.17391304347829</c:v>
                </c:pt>
                <c:pt idx="7">
                  <c:v>107.91836734693879</c:v>
                </c:pt>
                <c:pt idx="8">
                  <c:v>2042.434343434343</c:v>
                </c:pt>
                <c:pt idx="9">
                  <c:v>157.7397260273973</c:v>
                </c:pt>
                <c:pt idx="10">
                  <c:v>49.186046511627907</c:v>
                </c:pt>
              </c:numCache>
            </c:numRef>
          </c:yVal>
          <c:bubbleSize>
            <c:numRef>
              <c:f>Sheet1!$C$2:$C$12</c:f>
              <c:numCache>
                <c:formatCode>General</c:formatCode>
                <c:ptCount val="11"/>
                <c:pt idx="0">
                  <c:v>1419.2177999999999</c:v>
                </c:pt>
                <c:pt idx="1">
                  <c:v>1203.7316000000001</c:v>
                </c:pt>
                <c:pt idx="2">
                  <c:v>1560.2153000000001</c:v>
                </c:pt>
                <c:pt idx="3">
                  <c:v>3877.0844999999999</c:v>
                </c:pt>
                <c:pt idx="4">
                  <c:v>12437.480100000001</c:v>
                </c:pt>
                <c:pt idx="5">
                  <c:v>9648.4393000000018</c:v>
                </c:pt>
                <c:pt idx="6">
                  <c:v>1278.75</c:v>
                </c:pt>
                <c:pt idx="7">
                  <c:v>4171.1099999999997</c:v>
                </c:pt>
                <c:pt idx="8">
                  <c:v>163212.90659999999</c:v>
                </c:pt>
                <c:pt idx="9">
                  <c:v>8664.1614000000009</c:v>
                </c:pt>
                <c:pt idx="10">
                  <c:v>1583.4626000000001</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C2B7B17-5D9D-41BE-98EA-9F0850AD66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91E1C52-8A6F-414C-A74E-C074EBBE90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C9C7E20-0C8D-48E9-8CD1-948791B4EB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640FF9-3737-4E39-AB72-F0C2696425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7063D98-EDD6-4E8A-8B11-F36BCD05E6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1502732-FA96-4508-AE00-8031AEE75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47C0F7A-A158-4F42-BA48-62F4E19A5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1789</c:v>
                </c:pt>
                <c:pt idx="1">
                  <c:v>1.9599999999999999E-2</c:v>
                </c:pt>
                <c:pt idx="2">
                  <c:v>1.12E-2</c:v>
                </c:pt>
                <c:pt idx="3">
                  <c:v>-3.2399999999999998E-2</c:v>
                </c:pt>
                <c:pt idx="4">
                  <c:v>5.6899999999999999E-2</c:v>
                </c:pt>
                <c:pt idx="5">
                  <c:v>4.1799999999999997E-2</c:v>
                </c:pt>
                <c:pt idx="6">
                  <c:v>9.6100000000000005E-2</c:v>
                </c:pt>
                <c:pt idx="7">
                  <c:v>0.11559999999999999</c:v>
                </c:pt>
                <c:pt idx="8">
                  <c:v>7.3099999999999998E-2</c:v>
                </c:pt>
                <c:pt idx="9">
                  <c:v>0.1152</c:v>
                </c:pt>
              </c:numCache>
            </c:numRef>
          </c:xVal>
          <c:yVal>
            <c:numRef>
              <c:f>Sheet1!$B$2:$B$11</c:f>
              <c:numCache>
                <c:formatCode>General</c:formatCode>
                <c:ptCount val="10"/>
                <c:pt idx="0">
                  <c:v>105.258064516129</c:v>
                </c:pt>
                <c:pt idx="1">
                  <c:v>175.91836734693879</c:v>
                </c:pt>
                <c:pt idx="2">
                  <c:v>167.5</c:v>
                </c:pt>
                <c:pt idx="3">
                  <c:v>219.21153846153851</c:v>
                </c:pt>
                <c:pt idx="4">
                  <c:v>82.675675675675677</c:v>
                </c:pt>
                <c:pt idx="5">
                  <c:v>1829.28</c:v>
                </c:pt>
                <c:pt idx="6">
                  <c:v>348.38095238095241</c:v>
                </c:pt>
                <c:pt idx="7">
                  <c:v>57.31707317073171</c:v>
                </c:pt>
                <c:pt idx="8">
                  <c:v>72.066666666666663</c:v>
                </c:pt>
                <c:pt idx="9">
                  <c:v>69.090909090909093</c:v>
                </c:pt>
              </c:numCache>
            </c:numRef>
          </c:yVal>
          <c:bubbleSize>
            <c:numRef>
              <c:f>Sheet1!$C$2:$C$11</c:f>
              <c:numCache>
                <c:formatCode>General</c:formatCode>
                <c:ptCount val="10"/>
                <c:pt idx="0">
                  <c:v>2232.8229000000001</c:v>
                </c:pt>
                <c:pt idx="1">
                  <c:v>7042.5024000000003</c:v>
                </c:pt>
                <c:pt idx="2">
                  <c:v>8833.3191999999999</c:v>
                </c:pt>
                <c:pt idx="3">
                  <c:v>9807.258600000001</c:v>
                </c:pt>
                <c:pt idx="4">
                  <c:v>2404.0725000000002</c:v>
                </c:pt>
                <c:pt idx="5">
                  <c:v>146068.99830000001</c:v>
                </c:pt>
                <c:pt idx="6">
                  <c:v>16531.504199999999</c:v>
                </c:pt>
                <c:pt idx="7">
                  <c:v>1731.9738</c:v>
                </c:pt>
                <c:pt idx="8">
                  <c:v>1669.8806</c:v>
                </c:pt>
                <c:pt idx="9">
                  <c:v>1120.717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pt idx="9">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4826020-D496-4F87-9AF0-EA164938B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7209EC0-1DDE-4C48-BADB-DFBB6C6F9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65278A-01F2-4679-82B7-37ECF50EEA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5A397D7-7619-4F5F-AC15-5B4C160B7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974770-BEC9-47CD-AC79-F64ACEEB5B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19BA39F-2291-4277-B4A3-ED4EF498A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C2A4A99-AAC4-48FB-89E4-F3D7CB76A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6.1499999999999999E-2</c:v>
                </c:pt>
                <c:pt idx="1">
                  <c:v>3.09E-2</c:v>
                </c:pt>
                <c:pt idx="2">
                  <c:v>3.2199999999999999E-2</c:v>
                </c:pt>
                <c:pt idx="3">
                  <c:v>7.1099999999999997E-2</c:v>
                </c:pt>
                <c:pt idx="4">
                  <c:v>3.9699999999999999E-2</c:v>
                </c:pt>
                <c:pt idx="5">
                  <c:v>0.1002</c:v>
                </c:pt>
                <c:pt idx="6">
                  <c:v>9.9699999999999997E-2</c:v>
                </c:pt>
              </c:numCache>
            </c:numRef>
          </c:xVal>
          <c:yVal>
            <c:numRef>
              <c:f>Sheet1!$B$2:$B$8</c:f>
              <c:numCache>
                <c:formatCode>General</c:formatCode>
                <c:ptCount val="7"/>
                <c:pt idx="0">
                  <c:v>42.558823529411768</c:v>
                </c:pt>
                <c:pt idx="1">
                  <c:v>69.044117647058826</c:v>
                </c:pt>
                <c:pt idx="2">
                  <c:v>67.266666666666666</c:v>
                </c:pt>
                <c:pt idx="3">
                  <c:v>45.557377049180317</c:v>
                </c:pt>
                <c:pt idx="4">
                  <c:v>956.39</c:v>
                </c:pt>
                <c:pt idx="5">
                  <c:v>118.1791044776119</c:v>
                </c:pt>
                <c:pt idx="6">
                  <c:v>36.769230769230766</c:v>
                </c:pt>
              </c:numCache>
            </c:numRef>
          </c:yVal>
          <c:bubbleSize>
            <c:numRef>
              <c:f>Sheet1!$C$2:$C$8</c:f>
              <c:numCache>
                <c:formatCode>General</c:formatCode>
                <c:ptCount val="7"/>
                <c:pt idx="0">
                  <c:v>1131.6672000000001</c:v>
                </c:pt>
                <c:pt idx="1">
                  <c:v>3791.6606000000002</c:v>
                </c:pt>
                <c:pt idx="2">
                  <c:v>4882.7226000000001</c:v>
                </c:pt>
                <c:pt idx="3">
                  <c:v>2151.1799999999998</c:v>
                </c:pt>
                <c:pt idx="4">
                  <c:v>76538.395900000003</c:v>
                </c:pt>
                <c:pt idx="5">
                  <c:v>5937.3135000000002</c:v>
                </c:pt>
                <c:pt idx="6">
                  <c:v>1434.489399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E.NICOLAS ROSE 1CT X 750ML</c:v>
                  </c:pt>
                  <c:pt idx="2">
                    <c:v>CHAMPAGNE NICOLAS 1ERE CUVEE 1CT X 750ML</c:v>
                  </c:pt>
                  <c:pt idx="3">
                    <c:v>1/2 CHAMPAGNE NICOLAS 1ERE CUV 1CT X 375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7A98D4A-1CF6-47A0-B2D0-569BE65363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2BE671-F961-4D97-A406-F022DF2E8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597913E-0BC2-4530-BA94-46AF398E4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989F2E9-7EC1-4B39-BE8E-677B9A642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27C42E-F84A-48DC-959A-31BB79454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1E942C1-B392-4D30-8984-94E62C4F9B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F1F4AFC-0DF0-431D-AE10-588AE8B05A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1133</c:v>
                </c:pt>
                <c:pt idx="1">
                  <c:v>7.8700000000000006E-2</c:v>
                </c:pt>
                <c:pt idx="2">
                  <c:v>1.7600000000000001E-2</c:v>
                </c:pt>
                <c:pt idx="3">
                  <c:v>-1E-4</c:v>
                </c:pt>
                <c:pt idx="4">
                  <c:v>4.2999999999999997E-2</c:v>
                </c:pt>
                <c:pt idx="5">
                  <c:v>0.1221</c:v>
                </c:pt>
                <c:pt idx="6">
                  <c:v>0.1147</c:v>
                </c:pt>
              </c:numCache>
            </c:numRef>
          </c:xVal>
          <c:yVal>
            <c:numRef>
              <c:f>Sheet1!$B$2:$B$8</c:f>
              <c:numCache>
                <c:formatCode>General</c:formatCode>
                <c:ptCount val="7"/>
                <c:pt idx="0">
                  <c:v>35.460317460317462</c:v>
                </c:pt>
                <c:pt idx="1">
                  <c:v>26.14516129032258</c:v>
                </c:pt>
                <c:pt idx="2">
                  <c:v>63.61904761904762</c:v>
                </c:pt>
                <c:pt idx="3">
                  <c:v>39.296296296296298</c:v>
                </c:pt>
                <c:pt idx="4">
                  <c:v>561.4</c:v>
                </c:pt>
                <c:pt idx="5">
                  <c:v>92.183908045977006</c:v>
                </c:pt>
                <c:pt idx="6">
                  <c:v>23.35483870967742</c:v>
                </c:pt>
              </c:numCache>
            </c:numRef>
          </c:yVal>
          <c:bubbleSize>
            <c:numRef>
              <c:f>Sheet1!$C$2:$C$8</c:f>
              <c:numCache>
                <c:formatCode>General</c:formatCode>
                <c:ptCount val="7"/>
                <c:pt idx="0">
                  <c:v>1650.7646</c:v>
                </c:pt>
                <c:pt idx="1">
                  <c:v>1244.5839000000001</c:v>
                </c:pt>
                <c:pt idx="2">
                  <c:v>4374.9930000000004</c:v>
                </c:pt>
                <c:pt idx="3">
                  <c:v>1768.5559000000001</c:v>
                </c:pt>
                <c:pt idx="4">
                  <c:v>44770.593800000002</c:v>
                </c:pt>
                <c:pt idx="5">
                  <c:v>5867.2008000000014</c:v>
                </c:pt>
                <c:pt idx="6">
                  <c:v>1068.3076000000001</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8A141CB-561C-41CB-88F8-FDC2E41C4E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D0DB78-6D86-4788-B5BE-C54B541E6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C6BD966-D11B-4303-B22D-F8BD6A2EB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F20875E-36CA-4BC7-86D3-544F65109C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68F43A4-CC18-404A-B815-55AA75A52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567A4CB-28BD-415A-BD0B-19F334B9F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0C565F2-6404-4E48-8FFB-E9BB45DFA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1389</c:v>
                </c:pt>
                <c:pt idx="1">
                  <c:v>1.84E-2</c:v>
                </c:pt>
                <c:pt idx="2">
                  <c:v>1.3599999999999999E-2</c:v>
                </c:pt>
                <c:pt idx="3">
                  <c:v>-6.1100000000000002E-2</c:v>
                </c:pt>
                <c:pt idx="4">
                  <c:v>7.0499999999999993E-2</c:v>
                </c:pt>
                <c:pt idx="5">
                  <c:v>0.04</c:v>
                </c:pt>
                <c:pt idx="6">
                  <c:v>0.10680000000000001</c:v>
                </c:pt>
                <c:pt idx="7">
                  <c:v>-0.1114</c:v>
                </c:pt>
              </c:numCache>
            </c:numRef>
          </c:xVal>
          <c:yVal>
            <c:numRef>
              <c:f>Sheet1!$B$2:$B$9</c:f>
              <c:numCache>
                <c:formatCode>General</c:formatCode>
                <c:ptCount val="8"/>
                <c:pt idx="0">
                  <c:v>53.7</c:v>
                </c:pt>
                <c:pt idx="1">
                  <c:v>98.978260869565219</c:v>
                </c:pt>
                <c:pt idx="2">
                  <c:v>91.92</c:v>
                </c:pt>
                <c:pt idx="3">
                  <c:v>75.293333333333337</c:v>
                </c:pt>
                <c:pt idx="4">
                  <c:v>36.295081967213108</c:v>
                </c:pt>
                <c:pt idx="5">
                  <c:v>1149.8800000000001</c:v>
                </c:pt>
                <c:pt idx="6">
                  <c:v>169.1454545454545</c:v>
                </c:pt>
                <c:pt idx="7">
                  <c:v>27.125</c:v>
                </c:pt>
              </c:numCache>
            </c:numRef>
          </c:yVal>
          <c:bubbleSize>
            <c:numRef>
              <c:f>Sheet1!$C$2:$C$9</c:f>
              <c:numCache>
                <c:formatCode>General</c:formatCode>
                <c:ptCount val="8"/>
                <c:pt idx="0">
                  <c:v>1541.3326999999999</c:v>
                </c:pt>
                <c:pt idx="1">
                  <c:v>3724.1676000000002</c:v>
                </c:pt>
                <c:pt idx="2">
                  <c:v>5666.6575999999995</c:v>
                </c:pt>
                <c:pt idx="3">
                  <c:v>4993.5696000000007</c:v>
                </c:pt>
                <c:pt idx="4">
                  <c:v>1714.905</c:v>
                </c:pt>
                <c:pt idx="5">
                  <c:v>91989.461899999995</c:v>
                </c:pt>
                <c:pt idx="6">
                  <c:v>6924.7790999999997</c:v>
                </c:pt>
                <c:pt idx="7">
                  <c:v>1406.8531</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E70F08F-06C3-4ECC-BFEB-542A60044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F92C98B-6566-406F-9658-7C2D38BA7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87674F-6181-4697-80FD-19448459DA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078EF6-F9A5-4912-9A11-FFF906B4A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866590-6D31-4E85-BA7B-D0B960827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DC3615-A7C1-4C91-A853-0DA5FED1B8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1658EB2-B694-43A6-AA24-9BEC3D8D7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8709999999999999</c:v>
                </c:pt>
                <c:pt idx="1">
                  <c:v>5.6599999999999998E-2</c:v>
                </c:pt>
                <c:pt idx="2">
                  <c:v>1.4E-2</c:v>
                </c:pt>
                <c:pt idx="3">
                  <c:v>-2.06E-2</c:v>
                </c:pt>
                <c:pt idx="4">
                  <c:v>0.15670000000000001</c:v>
                </c:pt>
                <c:pt idx="5">
                  <c:v>5.62E-2</c:v>
                </c:pt>
                <c:pt idx="6">
                  <c:v>4.1799999999999997E-2</c:v>
                </c:pt>
                <c:pt idx="7">
                  <c:v>9.5200000000000007E-2</c:v>
                </c:pt>
                <c:pt idx="8">
                  <c:v>-3.4000000000000002E-2</c:v>
                </c:pt>
              </c:numCache>
            </c:numRef>
          </c:xVal>
          <c:yVal>
            <c:numRef>
              <c:f>Sheet1!$B$2:$B$10</c:f>
              <c:numCache>
                <c:formatCode>General</c:formatCode>
                <c:ptCount val="9"/>
                <c:pt idx="0">
                  <c:v>70.8</c:v>
                </c:pt>
                <c:pt idx="1">
                  <c:v>67.114285714285714</c:v>
                </c:pt>
                <c:pt idx="2">
                  <c:v>121.4225352112676</c:v>
                </c:pt>
                <c:pt idx="3">
                  <c:v>91.298850574712645</c:v>
                </c:pt>
                <c:pt idx="4">
                  <c:v>62.244444444444447</c:v>
                </c:pt>
                <c:pt idx="5">
                  <c:v>54.046511627906973</c:v>
                </c:pt>
                <c:pt idx="6">
                  <c:v>1137.1300000000001</c:v>
                </c:pt>
                <c:pt idx="7">
                  <c:v>237.92307692307691</c:v>
                </c:pt>
                <c:pt idx="8">
                  <c:v>42.464285714285708</c:v>
                </c:pt>
              </c:numCache>
            </c:numRef>
          </c:yVal>
          <c:bubbleSize>
            <c:numRef>
              <c:f>Sheet1!$C$2:$C$10</c:f>
              <c:numCache>
                <c:formatCode>General</c:formatCode>
                <c:ptCount val="9"/>
                <c:pt idx="0">
                  <c:v>1918.5488</c:v>
                </c:pt>
                <c:pt idx="1">
                  <c:v>1846.6674</c:v>
                </c:pt>
                <c:pt idx="2">
                  <c:v>7083.3220000000001</c:v>
                </c:pt>
                <c:pt idx="3">
                  <c:v>6755.3112000000001</c:v>
                </c:pt>
                <c:pt idx="4">
                  <c:v>1382.94</c:v>
                </c:pt>
                <c:pt idx="5">
                  <c:v>1827.87</c:v>
                </c:pt>
                <c:pt idx="6">
                  <c:v>90795.169100000014</c:v>
                </c:pt>
                <c:pt idx="7">
                  <c:v>11660.7888</c:v>
                </c:pt>
                <c:pt idx="8">
                  <c:v>1024.5273</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MG CHAMPAGNE E.NICOLAS BRUT 1CT X 1500ML</c:v>
                  </c:pt>
                  <c:pt idx="2">
                    <c:v>CHAMPAGNE E.NICOLAS ROSE 1CT X 750ML</c:v>
                  </c:pt>
                  <c:pt idx="3">
                    <c:v>CHAMPAGNE NICOLAS 1ERE CUVEE 1CT X 750ML</c:v>
                  </c:pt>
                  <c:pt idx="4">
                    <c:v>MG CHAMPAGNE NICOLAS 1ERE CUVE 1CT X 1500ML</c:v>
                  </c:pt>
                  <c:pt idx="5">
                    <c:v>1/2 CHAMPAGNE NICOLAS 1ERE CUV 1CT X 375ML</c:v>
                  </c:pt>
                  <c:pt idx="6">
                    <c:v>CHAMPAGNE E.NICOLAS BRUT 1CT X 750ML</c:v>
                  </c:pt>
                  <c:pt idx="7">
                    <c:v>CHAMPAGNE NICOLAS BLC/BLC BS 1CT X 750ML</c:v>
                  </c:pt>
                  <c:pt idx="8">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Ayala</c:v>
                </c:pt>
                <c:pt idx="5">
                  <c:v>De Bligny</c:v>
                </c:pt>
                <c:pt idx="6">
                  <c:v>Henriot</c:v>
                </c:pt>
                <c:pt idx="7">
                  <c:v>Delamotte</c:v>
                </c:pt>
                <c:pt idx="8">
                  <c:v>De Venoge</c:v>
                </c:pt>
                <c:pt idx="9">
                  <c:v>Others</c:v>
                </c:pt>
              </c:strCache>
            </c:strRef>
          </c:cat>
          <c:val>
            <c:numRef>
              <c:f>Sheet1!$B$2:$B$11</c:f>
              <c:numCache>
                <c:formatCode>General</c:formatCode>
                <c:ptCount val="10"/>
                <c:pt idx="0">
                  <c:v>0.68915643893199097</c:v>
                </c:pt>
                <c:pt idx="1">
                  <c:v>6.4744803964814857E-2</c:v>
                </c:pt>
                <c:pt idx="2">
                  <c:v>4.3820545421521057E-2</c:v>
                </c:pt>
                <c:pt idx="3">
                  <c:v>3.1241080463945612E-2</c:v>
                </c:pt>
                <c:pt idx="4">
                  <c:v>3.0929707568956123E-2</c:v>
                </c:pt>
                <c:pt idx="5">
                  <c:v>2.8127351514050703E-2</c:v>
                </c:pt>
                <c:pt idx="6">
                  <c:v>1.902488388385791E-2</c:v>
                </c:pt>
                <c:pt idx="7">
                  <c:v>1.8947040660110537E-2</c:v>
                </c:pt>
                <c:pt idx="8">
                  <c:v>1.4364669555515193E-2</c:v>
                </c:pt>
                <c:pt idx="9">
                  <c:v>5.964347803523703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Ayala</c:v>
                </c:pt>
                <c:pt idx="5">
                  <c:v>De Bligny</c:v>
                </c:pt>
                <c:pt idx="6">
                  <c:v>Henriot</c:v>
                </c:pt>
                <c:pt idx="7">
                  <c:v>Delamotte</c:v>
                </c:pt>
                <c:pt idx="8">
                  <c:v>De Venoge</c:v>
                </c:pt>
                <c:pt idx="9">
                  <c:v>Others</c:v>
                </c:pt>
              </c:strCache>
            </c:strRef>
          </c:cat>
          <c:val>
            <c:numRef>
              <c:f>Sheet1!$C$2:$C$11</c:f>
              <c:numCache>
                <c:formatCode>General</c:formatCode>
                <c:ptCount val="10"/>
                <c:pt idx="0">
                  <c:v>0.22215639810426546</c:v>
                </c:pt>
                <c:pt idx="1">
                  <c:v>0.13684834123222753</c:v>
                </c:pt>
                <c:pt idx="2">
                  <c:v>5.0355450236966838E-2</c:v>
                </c:pt>
                <c:pt idx="3">
                  <c:v>5.9241706161137456E-2</c:v>
                </c:pt>
                <c:pt idx="4">
                  <c:v>6.2203791469194331E-2</c:v>
                </c:pt>
                <c:pt idx="5">
                  <c:v>4.739336492890997E-2</c:v>
                </c:pt>
                <c:pt idx="6">
                  <c:v>5.450236966824646E-2</c:v>
                </c:pt>
                <c:pt idx="7">
                  <c:v>6.2203791469194331E-2</c:v>
                </c:pt>
                <c:pt idx="8">
                  <c:v>3.0213270142180105E-2</c:v>
                </c:pt>
                <c:pt idx="9">
                  <c:v>0.274881516587677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Besserat De Bellefon</c:v>
                </c:pt>
                <c:pt idx="4">
                  <c:v>Ayala</c:v>
                </c:pt>
                <c:pt idx="5">
                  <c:v>De Bligny</c:v>
                </c:pt>
                <c:pt idx="6">
                  <c:v>Henriot</c:v>
                </c:pt>
                <c:pt idx="7">
                  <c:v>Delamotte</c:v>
                </c:pt>
                <c:pt idx="8">
                  <c:v>De Venoge</c:v>
                </c:pt>
                <c:pt idx="9">
                  <c:v>Others</c:v>
                </c:pt>
              </c:strCache>
            </c:strRef>
          </c:cat>
          <c:val>
            <c:numRef>
              <c:f>Sheet1!$D$2:$D$11</c:f>
              <c:numCache>
                <c:formatCode>General</c:formatCode>
                <c:ptCount val="10"/>
                <c:pt idx="0">
                  <c:v>32.235989617763529</c:v>
                </c:pt>
                <c:pt idx="1">
                  <c:v>211.36575115216485</c:v>
                </c:pt>
                <c:pt idx="2">
                  <c:v>114.91287877087073</c:v>
                </c:pt>
                <c:pt idx="3">
                  <c:v>189.62758419801301</c:v>
                </c:pt>
                <c:pt idx="4">
                  <c:v>201.11341605967118</c:v>
                </c:pt>
                <c:pt idx="5">
                  <c:v>168.49565415085436</c:v>
                </c:pt>
                <c:pt idx="6">
                  <c:v>286.4793814299714</c:v>
                </c:pt>
                <c:pt idx="7">
                  <c:v>328.30346746525339</c:v>
                </c:pt>
                <c:pt idx="8">
                  <c:v>210.33042232830184</c:v>
                </c:pt>
                <c:pt idx="9">
                  <c:v>460.874391706800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1D4507C-476B-4FE6-81FC-2B2D411F3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1232A13-7583-4492-A5A7-E09A1D206E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61245CC-998C-4350-97D4-6751203445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CE8D26-28CF-48A0-91D9-EFD8E73D26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6522564-F4B5-4C6A-BB5D-CD8001F27D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57ED2E5-A5F5-4554-A894-899491DCF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8ECCC7D-7F51-4AB0-96DA-75602F536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3.0200000000000001E-2</c:v>
                </c:pt>
                <c:pt idx="1">
                  <c:v>7.3000000000000001E-3</c:v>
                </c:pt>
                <c:pt idx="2">
                  <c:v>7.5600000000000001E-2</c:v>
                </c:pt>
                <c:pt idx="3">
                  <c:v>3.9100000000000003E-2</c:v>
                </c:pt>
                <c:pt idx="4">
                  <c:v>0.1067</c:v>
                </c:pt>
              </c:numCache>
            </c:numRef>
          </c:xVal>
          <c:yVal>
            <c:numRef>
              <c:f>Sheet1!$B$2:$B$6</c:f>
              <c:numCache>
                <c:formatCode>General</c:formatCode>
                <c:ptCount val="5"/>
                <c:pt idx="0">
                  <c:v>70.892857142857139</c:v>
                </c:pt>
                <c:pt idx="1">
                  <c:v>90.835443037974684</c:v>
                </c:pt>
                <c:pt idx="2">
                  <c:v>37.807017543859651</c:v>
                </c:pt>
                <c:pt idx="3">
                  <c:v>844.86</c:v>
                </c:pt>
                <c:pt idx="4">
                  <c:v>125.50793650793651</c:v>
                </c:pt>
              </c:numCache>
            </c:numRef>
          </c:yVal>
          <c:bubbleSize>
            <c:numRef>
              <c:f>Sheet1!$C$2:$C$6</c:f>
              <c:numCache>
                <c:formatCode>General</c:formatCode>
                <c:ptCount val="5"/>
                <c:pt idx="0">
                  <c:v>3208.3281999999999</c:v>
                </c:pt>
                <c:pt idx="1">
                  <c:v>5936.1959000000006</c:v>
                </c:pt>
                <c:pt idx="2">
                  <c:v>1660.0274999999999</c:v>
                </c:pt>
                <c:pt idx="3">
                  <c:v>67650.225100000011</c:v>
                </c:pt>
                <c:pt idx="4">
                  <c:v>5885.8821000000007</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1ERE CUVEE 1CT X 750ML</c:v>
                  </c:pt>
                  <c:pt idx="2">
                    <c:v>1/2 CHAMPAGNE NICOLAS 1ERE CUV 1CT X 375ML</c:v>
                  </c:pt>
                  <c:pt idx="3">
                    <c:v>CHAMPAGNE E.NICOLAS BRUT 1CT X 750ML</c:v>
                  </c:pt>
                  <c:pt idx="4">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9B8D4EA-1FB7-4028-9FF0-F7399EBFF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3A12F1D-739D-4944-A1C3-3C197D6B7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2E2185-821A-40A5-85A0-B48A7CBEA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2544A4-90E3-4048-9F49-9BD0EAB79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38BE55E-C8CD-48B1-BC08-B599CE8D08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EFE42E9-8453-4A63-96F7-D13FEF8D4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4040E28-51E1-4448-8A44-3B8CA957B3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4.3700000000000003E-2</c:v>
                </c:pt>
                <c:pt idx="1">
                  <c:v>2.6800000000000001E-2</c:v>
                </c:pt>
                <c:pt idx="2">
                  <c:v>-6.0299999999999999E-2</c:v>
                </c:pt>
                <c:pt idx="3">
                  <c:v>4.1000000000000002E-2</c:v>
                </c:pt>
                <c:pt idx="4">
                  <c:v>0.114</c:v>
                </c:pt>
                <c:pt idx="5">
                  <c:v>1.72E-2</c:v>
                </c:pt>
              </c:numCache>
            </c:numRef>
          </c:xVal>
          <c:yVal>
            <c:numRef>
              <c:f>Sheet1!$B$2:$B$7</c:f>
              <c:numCache>
                <c:formatCode>General</c:formatCode>
                <c:ptCount val="6"/>
                <c:pt idx="0">
                  <c:v>38.551020408163268</c:v>
                </c:pt>
                <c:pt idx="1">
                  <c:v>63.303571428571423</c:v>
                </c:pt>
                <c:pt idx="2">
                  <c:v>48.723684210526322</c:v>
                </c:pt>
                <c:pt idx="3">
                  <c:v>635.45000000000005</c:v>
                </c:pt>
                <c:pt idx="4">
                  <c:v>56.411764705882362</c:v>
                </c:pt>
                <c:pt idx="5">
                  <c:v>18.564705882352939</c:v>
                </c:pt>
              </c:numCache>
            </c:numRef>
          </c:yVal>
          <c:bubbleSize>
            <c:numRef>
              <c:f>Sheet1!$C$2:$C$7</c:f>
              <c:numCache>
                <c:formatCode>General</c:formatCode>
                <c:ptCount val="6"/>
                <c:pt idx="0">
                  <c:v>1505.4170999999999</c:v>
                </c:pt>
                <c:pt idx="1">
                  <c:v>2874.9953999999998</c:v>
                </c:pt>
                <c:pt idx="2">
                  <c:v>3271.8853000000008</c:v>
                </c:pt>
                <c:pt idx="3">
                  <c:v>50783.436800000003</c:v>
                </c:pt>
                <c:pt idx="4">
                  <c:v>2124.1763999999998</c:v>
                </c:pt>
                <c:pt idx="5">
                  <c:v>1292.4392</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E.NICOLAS ROSE 1CT X 750ML</c:v>
                  </c:pt>
                  <c:pt idx="2">
                    <c:v>CHAMPAGNE NICOLAS 1ERE CUVEE 1CT X 750ML</c:v>
                  </c:pt>
                  <c:pt idx="3">
                    <c:v>CHAMPAGNE E.NICOLAS BRUT 1CT X 750ML</c:v>
                  </c:pt>
                  <c:pt idx="4">
                    <c:v>CHAMPAGNE NICOLAS BLC/BLC BS 1CT X 750ML</c:v>
                  </c:pt>
                  <c:pt idx="5">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4F9DDDD-3C84-48A4-BAC9-723F82484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D1EAB3-E47A-4377-8816-10CA8F80D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53C8E78-08F0-4D47-BED8-5619B3D6B4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4767135-C0F5-431F-84EA-6A2FAB574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72C9427-255E-4A54-ABBC-F13A7AD39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CA37710-76D4-4B52-9D3F-6B2908DEC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FBC645D-F702-46A6-B5E8-E628505D71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4.9700000000000001E-2</c:v>
                </c:pt>
                <c:pt idx="1">
                  <c:v>1.0500000000000001E-2</c:v>
                </c:pt>
                <c:pt idx="2">
                  <c:v>4.0399999999999998E-2</c:v>
                </c:pt>
                <c:pt idx="3">
                  <c:v>0.1158</c:v>
                </c:pt>
              </c:numCache>
            </c:numRef>
          </c:xVal>
          <c:yVal>
            <c:numRef>
              <c:f>Sheet1!$B$2:$B$5</c:f>
              <c:numCache>
                <c:formatCode>General</c:formatCode>
                <c:ptCount val="4"/>
                <c:pt idx="0">
                  <c:v>39.9</c:v>
                </c:pt>
                <c:pt idx="1">
                  <c:v>43.115942028985508</c:v>
                </c:pt>
                <c:pt idx="2">
                  <c:v>391.8</c:v>
                </c:pt>
                <c:pt idx="3">
                  <c:v>59.420289855072461</c:v>
                </c:pt>
              </c:numCache>
            </c:numRef>
          </c:yVal>
          <c:bubbleSize>
            <c:numRef>
              <c:f>Sheet1!$C$2:$C$5</c:f>
              <c:numCache>
                <c:formatCode>General</c:formatCode>
                <c:ptCount val="4"/>
                <c:pt idx="0">
                  <c:v>1895.830300000001</c:v>
                </c:pt>
                <c:pt idx="1">
                  <c:v>2453.0792000000001</c:v>
                </c:pt>
                <c:pt idx="2">
                  <c:v>31331.627499999999</c:v>
                </c:pt>
                <c:pt idx="3">
                  <c:v>3020.8625999999999</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1ERE CUVEE 1CT X 750ML</c:v>
                  </c:pt>
                  <c:pt idx="2">
                    <c:v>CHAMPAGNE E.NICOLAS BRUT 1CT X 750ML</c:v>
                  </c:pt>
                  <c:pt idx="3">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22BB56-E084-4A18-8AE5-172990B5FD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5D5360-243B-4DC3-81AD-21EF94E71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3F1AB87-9244-41DC-ACA8-45733B899E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DDCE736-D94C-48A6-A50F-34F5BADAFB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540C47E-052A-43C8-A695-A7AB1A6ED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4F219C-6E49-404E-936D-725C955C7C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D0E8AE7-599C-4184-98F5-D9C903AC5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4.6600000000000003E-2</c:v>
                </c:pt>
                <c:pt idx="1">
                  <c:v>0.1192</c:v>
                </c:pt>
              </c:numCache>
            </c:numRef>
          </c:xVal>
          <c:yVal>
            <c:numRef>
              <c:f>Sheet1!$B$2:$B$3</c:f>
              <c:numCache>
                <c:formatCode>General</c:formatCode>
                <c:ptCount val="2"/>
                <c:pt idx="0">
                  <c:v>196.9</c:v>
                </c:pt>
                <c:pt idx="1">
                  <c:v>33.737499999999997</c:v>
                </c:pt>
              </c:numCache>
            </c:numRef>
          </c:yVal>
          <c:bubbleSize>
            <c:numRef>
              <c:f>Sheet1!$C$2:$C$3</c:f>
              <c:numCache>
                <c:formatCode>General</c:formatCode>
                <c:ptCount val="2"/>
                <c:pt idx="0">
                  <c:v>15643.313599999999</c:v>
                </c:pt>
                <c:pt idx="1">
                  <c:v>1980.9558</c:v>
                </c:pt>
              </c:numCache>
            </c:numRef>
          </c:bubbleSize>
          <c:bubble3D val="0"/>
          <c:extLst>
            <c:ext xmlns:c15="http://schemas.microsoft.com/office/drawing/2012/chart" uri="{02D57815-91ED-43cb-92C2-25804820EDAC}">
              <c15:datalabelsRange>
                <c15:f>Sheet1!$E$2:$E$50</c15:f>
                <c15:dlblRangeCache>
                  <c:ptCount val="49"/>
                  <c:pt idx="0">
                    <c:v>CHAMPAGNE E.NICOLAS BRUT 1CT X 75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25A7EB0-25B2-41AA-8C46-6C8EB5064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0B9F57C-F8CF-47EB-A13D-F656BB704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D2DDB9-DC98-4061-A200-7685D1946F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12482BF-86CD-4556-9D83-9B3BDE4F3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BDE5AAC-1F9D-4D53-B42F-977EC08D65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403282-6A79-4EC8-867C-FB5FF007F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3795613-78B4-407B-9184-5EF8121636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6.59E-2</c:v>
                </c:pt>
                <c:pt idx="1">
                  <c:v>-8.3999999999999995E-3</c:v>
                </c:pt>
                <c:pt idx="2">
                  <c:v>4.3299999999999998E-2</c:v>
                </c:pt>
              </c:numCache>
            </c:numRef>
          </c:xVal>
          <c:yVal>
            <c:numRef>
              <c:f>Sheet1!$B$2:$B$4</c:f>
              <c:numCache>
                <c:formatCode>General</c:formatCode>
                <c:ptCount val="3"/>
                <c:pt idx="0">
                  <c:v>29.83606557377049</c:v>
                </c:pt>
                <c:pt idx="1">
                  <c:v>46.70967741935484</c:v>
                </c:pt>
                <c:pt idx="2">
                  <c:v>180.58</c:v>
                </c:pt>
              </c:numCache>
            </c:numRef>
          </c:yVal>
          <c:bubbleSize>
            <c:numRef>
              <c:f>Sheet1!$C$2:$C$4</c:f>
              <c:numCache>
                <c:formatCode>General</c:formatCode>
                <c:ptCount val="3"/>
                <c:pt idx="0">
                  <c:v>1416.6643999999999</c:v>
                </c:pt>
                <c:pt idx="1">
                  <c:v>2433.6008999999999</c:v>
                </c:pt>
                <c:pt idx="2">
                  <c:v>14397.3907</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1ERE CUVEE 1CT X 750ML</c:v>
                  </c:pt>
                  <c:pt idx="2">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8C021F8-D1B1-4264-AB32-ED0505926E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170736C-F3CD-4C44-BD28-75CA9420A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D326A82-65DB-4E3B-98AC-2F5583A524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55CFA22-FE7A-4D67-96C7-EA5EB4D25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8F113F6-BB66-4000-9AE0-9473B8D5B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A42F2B-C38D-4135-9998-16DB70EE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AF44658-A0BE-4874-A15E-BCE1266410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1210000000000001</c:v>
                </c:pt>
                <c:pt idx="1">
                  <c:v>0.12839999999999999</c:v>
                </c:pt>
                <c:pt idx="2">
                  <c:v>9.7100000000000006E-2</c:v>
                </c:pt>
              </c:numCache>
            </c:numRef>
          </c:xVal>
          <c:yVal>
            <c:numRef>
              <c:f>Sheet1!$B$2:$B$4</c:f>
              <c:numCache>
                <c:formatCode>General</c:formatCode>
                <c:ptCount val="3"/>
                <c:pt idx="0">
                  <c:v>73.526315789473685</c:v>
                </c:pt>
                <c:pt idx="1">
                  <c:v>134.25</c:v>
                </c:pt>
                <c:pt idx="2">
                  <c:v>157.7397260273973</c:v>
                </c:pt>
              </c:numCache>
            </c:numRef>
          </c:yVal>
          <c:bubbleSize>
            <c:numRef>
              <c:f>Sheet1!$C$2:$C$4</c:f>
              <c:numCache>
                <c:formatCode>General</c:formatCode>
                <c:ptCount val="3"/>
                <c:pt idx="0">
                  <c:v>1419.2177999999999</c:v>
                </c:pt>
                <c:pt idx="1">
                  <c:v>1560.2153000000001</c:v>
                </c:pt>
                <c:pt idx="2">
                  <c:v>8664.1614000000009</c:v>
                </c:pt>
              </c:numCache>
            </c:numRef>
          </c:bubbleSize>
          <c:bubble3D val="0"/>
          <c:extLst>
            <c:ext xmlns:c15="http://schemas.microsoft.com/office/drawing/2012/chart" uri="{02D57815-91ED-43cb-92C2-25804820EDAC}">
              <c15:datalabelsRange>
                <c15:f>Sheet1!$E$2:$E$50</c15:f>
                <c15:dlblRangeCache>
                  <c:ptCount val="49"/>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AD96FA4-31FE-4A72-B08B-0B1688859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49C0D0B-1088-48C4-95DE-FC9CAB543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B18C7708-981D-423D-B5F7-C0D2871645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E853E08-7CD0-4D47-AF1B-B0C16C175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6CE3CB1-BD98-453F-8A3F-9A44AE1D9E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D6B171D-AD29-4822-BA12-C2DD5A97F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EC816AC-ED6E-430A-9920-9CF28FFCD9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789</c:v>
                </c:pt>
                <c:pt idx="1">
                  <c:v>9.6100000000000005E-2</c:v>
                </c:pt>
              </c:numCache>
            </c:numRef>
          </c:xVal>
          <c:yVal>
            <c:numRef>
              <c:f>Sheet1!$B$2:$B$3</c:f>
              <c:numCache>
                <c:formatCode>General</c:formatCode>
                <c:ptCount val="2"/>
                <c:pt idx="0">
                  <c:v>105.258064516129</c:v>
                </c:pt>
                <c:pt idx="1">
                  <c:v>348.38095238095241</c:v>
                </c:pt>
              </c:numCache>
            </c:numRef>
          </c:yVal>
          <c:bubbleSize>
            <c:numRef>
              <c:f>Sheet1!$C$2:$C$3</c:f>
              <c:numCache>
                <c:formatCode>General</c:formatCode>
                <c:ptCount val="2"/>
                <c:pt idx="0">
                  <c:v>2232.8229000000001</c:v>
                </c:pt>
                <c:pt idx="1">
                  <c:v>16531.504199999999</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410368-A719-4C66-AED6-D1420196B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A9EF6F0E-9A0A-46A0-98E0-594989CF6B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B378EE03-3FB4-42A1-9767-86AE55DAD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9225E4-D23A-445A-9666-0A4B50CBF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5C4E881-9589-4973-B24F-D9ED651EA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483F9E0-C79C-4954-940B-58B3C4CF0B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C99B9C5-00E5-4060-9645-35322103F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002</c:v>
                </c:pt>
              </c:numCache>
            </c:numRef>
          </c:xVal>
          <c:yVal>
            <c:numRef>
              <c:f>Sheet1!$B$2:$B$2</c:f>
              <c:numCache>
                <c:formatCode>General</c:formatCode>
                <c:ptCount val="1"/>
                <c:pt idx="0">
                  <c:v>118.1791044776119</c:v>
                </c:pt>
              </c:numCache>
            </c:numRef>
          </c:yVal>
          <c:bubbleSize>
            <c:numRef>
              <c:f>Sheet1!$C$2:$C$2</c:f>
              <c:numCache>
                <c:formatCode>General</c:formatCode>
                <c:ptCount val="1"/>
                <c:pt idx="0">
                  <c:v>5937.3135000000002</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2CEF6EA-AC45-4819-A81B-7759FA63BC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2115D91-A12B-47E1-A2CA-48B46211E9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C09E149-CF83-4621-A52B-C60470E94F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63BF7F7-D677-4697-B216-082D53E79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A663C07-F2B1-498B-B9CE-3B656B5EC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0228E2-9C85-4F8D-B2F3-404F731FE0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F4A5F7A-2B75-4FCA-97E0-93C9820FB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133</c:v>
                </c:pt>
                <c:pt idx="1">
                  <c:v>0.1221</c:v>
                </c:pt>
              </c:numCache>
            </c:numRef>
          </c:xVal>
          <c:yVal>
            <c:numRef>
              <c:f>Sheet1!$B$2:$B$3</c:f>
              <c:numCache>
                <c:formatCode>General</c:formatCode>
                <c:ptCount val="2"/>
                <c:pt idx="0">
                  <c:v>35.460317460317462</c:v>
                </c:pt>
                <c:pt idx="1">
                  <c:v>92.183908045977006</c:v>
                </c:pt>
              </c:numCache>
            </c:numRef>
          </c:yVal>
          <c:bubbleSize>
            <c:numRef>
              <c:f>Sheet1!$C$2:$C$3</c:f>
              <c:numCache>
                <c:formatCode>General</c:formatCode>
                <c:ptCount val="2"/>
                <c:pt idx="0">
                  <c:v>1650.7646</c:v>
                </c:pt>
                <c:pt idx="1">
                  <c:v>5867.2008000000014</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43C6E9-50F1-4976-A08E-0B3A96A1C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DAF398-9272-4815-BC0E-2EFAC3A382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202955C-8F1B-4B30-8AE5-2222560F0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1FE682-3688-4DB7-A48A-41B9C98E7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AE7E170-D42D-43C5-9353-BCC84A8F2C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09985F-5F20-4210-8321-ECFC010906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8752B8E-224B-4BBF-8605-D4B0BD5A15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389</c:v>
                </c:pt>
                <c:pt idx="1">
                  <c:v>0.10680000000000001</c:v>
                </c:pt>
              </c:numCache>
            </c:numRef>
          </c:xVal>
          <c:yVal>
            <c:numRef>
              <c:f>Sheet1!$B$2:$B$3</c:f>
              <c:numCache>
                <c:formatCode>General</c:formatCode>
                <c:ptCount val="2"/>
                <c:pt idx="0">
                  <c:v>53.7</c:v>
                </c:pt>
                <c:pt idx="1">
                  <c:v>169.1454545454545</c:v>
                </c:pt>
              </c:numCache>
            </c:numRef>
          </c:yVal>
          <c:bubbleSize>
            <c:numRef>
              <c:f>Sheet1!$C$2:$C$3</c:f>
              <c:numCache>
                <c:formatCode>General</c:formatCode>
                <c:ptCount val="2"/>
                <c:pt idx="0">
                  <c:v>1541.3326999999999</c:v>
                </c:pt>
                <c:pt idx="1">
                  <c:v>6924.7790999999997</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 Bligny</c:v>
                </c:pt>
                <c:pt idx="3">
                  <c:v>Malard</c:v>
                </c:pt>
                <c:pt idx="4">
                  <c:v>Besserat De Bellefon</c:v>
                </c:pt>
                <c:pt idx="5">
                  <c:v>Henriot</c:v>
                </c:pt>
                <c:pt idx="6">
                  <c:v>Ayala</c:v>
                </c:pt>
                <c:pt idx="7">
                  <c:v>Delamotte</c:v>
                </c:pt>
                <c:pt idx="8">
                  <c:v>De Venoge</c:v>
                </c:pt>
                <c:pt idx="9">
                  <c:v>Others</c:v>
                </c:pt>
              </c:strCache>
            </c:strRef>
          </c:cat>
          <c:val>
            <c:numRef>
              <c:f>Sheet1!$B$2:$B$11</c:f>
              <c:numCache>
                <c:formatCode>General</c:formatCode>
                <c:ptCount val="10"/>
                <c:pt idx="0">
                  <c:v>0.61725148933127238</c:v>
                </c:pt>
                <c:pt idx="1">
                  <c:v>7.8644392248326395E-2</c:v>
                </c:pt>
                <c:pt idx="2">
                  <c:v>4.8637736326481218E-2</c:v>
                </c:pt>
                <c:pt idx="3">
                  <c:v>4.793363880897504E-2</c:v>
                </c:pt>
                <c:pt idx="4">
                  <c:v>4.7642098430632641E-2</c:v>
                </c:pt>
                <c:pt idx="5">
                  <c:v>3.811477889687722E-2</c:v>
                </c:pt>
                <c:pt idx="6">
                  <c:v>3.5589929205194923E-2</c:v>
                </c:pt>
                <c:pt idx="7">
                  <c:v>1.9500200777807727E-2</c:v>
                </c:pt>
                <c:pt idx="8">
                  <c:v>1.7767460793319874E-2</c:v>
                </c:pt>
                <c:pt idx="9">
                  <c:v>4.89182751811125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 Bligny</c:v>
                </c:pt>
                <c:pt idx="3">
                  <c:v>Malard</c:v>
                </c:pt>
                <c:pt idx="4">
                  <c:v>Besserat De Bellefon</c:v>
                </c:pt>
                <c:pt idx="5">
                  <c:v>Henriot</c:v>
                </c:pt>
                <c:pt idx="6">
                  <c:v>Ayala</c:v>
                </c:pt>
                <c:pt idx="7">
                  <c:v>Delamotte</c:v>
                </c:pt>
                <c:pt idx="8">
                  <c:v>De Venoge</c:v>
                </c:pt>
                <c:pt idx="9">
                  <c:v>Others</c:v>
                </c:pt>
              </c:strCache>
            </c:strRef>
          </c:cat>
          <c:val>
            <c:numRef>
              <c:f>Sheet1!$C$2:$C$11</c:f>
              <c:numCache>
                <c:formatCode>General</c:formatCode>
                <c:ptCount val="10"/>
                <c:pt idx="0">
                  <c:v>0.26607319485657766</c:v>
                </c:pt>
                <c:pt idx="1">
                  <c:v>0.15232443125618203</c:v>
                </c:pt>
                <c:pt idx="2">
                  <c:v>5.440158259149358E-2</c:v>
                </c:pt>
                <c:pt idx="3">
                  <c:v>6.8249258160237386E-2</c:v>
                </c:pt>
                <c:pt idx="4">
                  <c:v>6.4292779426310592E-2</c:v>
                </c:pt>
                <c:pt idx="5">
                  <c:v>6.8249258160237386E-2</c:v>
                </c:pt>
                <c:pt idx="6">
                  <c:v>7.6162215628091001E-2</c:v>
                </c:pt>
                <c:pt idx="7">
                  <c:v>3.4619188921859542E-2</c:v>
                </c:pt>
                <c:pt idx="8">
                  <c:v>3.9564787339268055E-2</c:v>
                </c:pt>
                <c:pt idx="9">
                  <c:v>0.176063303659742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 Bligny</c:v>
                </c:pt>
                <c:pt idx="3">
                  <c:v>Malard</c:v>
                </c:pt>
                <c:pt idx="4">
                  <c:v>Besserat De Bellefon</c:v>
                </c:pt>
                <c:pt idx="5">
                  <c:v>Henriot</c:v>
                </c:pt>
                <c:pt idx="6">
                  <c:v>Ayala</c:v>
                </c:pt>
                <c:pt idx="7">
                  <c:v>Delamotte</c:v>
                </c:pt>
                <c:pt idx="8">
                  <c:v>De Venoge</c:v>
                </c:pt>
                <c:pt idx="9">
                  <c:v>Others</c:v>
                </c:pt>
              </c:strCache>
            </c:strRef>
          </c:cat>
          <c:val>
            <c:numRef>
              <c:f>Sheet1!$D$2:$D$11</c:f>
              <c:numCache>
                <c:formatCode>General</c:formatCode>
                <c:ptCount val="10"/>
                <c:pt idx="0">
                  <c:v>43.106124400743077</c:v>
                </c:pt>
                <c:pt idx="1">
                  <c:v>193.6875941201308</c:v>
                </c:pt>
                <c:pt idx="2">
                  <c:v>111.85056439782169</c:v>
                </c:pt>
                <c:pt idx="3">
                  <c:v>142.38280225756296</c:v>
                </c:pt>
                <c:pt idx="4">
                  <c:v>134.94951218389656</c:v>
                </c:pt>
                <c:pt idx="5">
                  <c:v>179.06245329375139</c:v>
                </c:pt>
                <c:pt idx="6">
                  <c:v>213.99934568280599</c:v>
                </c:pt>
                <c:pt idx="7">
                  <c:v>177.53247423615267</c:v>
                </c:pt>
                <c:pt idx="8">
                  <c:v>222.68115742314421</c:v>
                </c:pt>
                <c:pt idx="9">
                  <c:v>359.913146994440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92228D-9AB2-4888-8410-52B794F5D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917B5B-7767-4BEC-80AB-8A66FC19A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1F1D55D-EAC5-4B1F-A5BB-03C395C96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00B218-9D38-48B0-B7F5-9F578E8EC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CDB89A2-4908-4CA0-9A46-F916F05DA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B38EC2C-38A1-4C42-B298-C188C356D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01FD81A-0ABD-4F12-8C2B-B103B5F62D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8709999999999999</c:v>
                </c:pt>
                <c:pt idx="1">
                  <c:v>9.5200000000000007E-2</c:v>
                </c:pt>
              </c:numCache>
            </c:numRef>
          </c:xVal>
          <c:yVal>
            <c:numRef>
              <c:f>Sheet1!$B$2:$B$3</c:f>
              <c:numCache>
                <c:formatCode>General</c:formatCode>
                <c:ptCount val="2"/>
                <c:pt idx="0">
                  <c:v>70.8</c:v>
                </c:pt>
                <c:pt idx="1">
                  <c:v>237.92307692307691</c:v>
                </c:pt>
              </c:numCache>
            </c:numRef>
          </c:yVal>
          <c:bubbleSize>
            <c:numRef>
              <c:f>Sheet1!$C$2:$C$3</c:f>
              <c:numCache>
                <c:formatCode>General</c:formatCode>
                <c:ptCount val="2"/>
                <c:pt idx="0">
                  <c:v>1918.5488</c:v>
                </c:pt>
                <c:pt idx="1">
                  <c:v>11660.7888</c:v>
                </c:pt>
              </c:numCache>
            </c:numRef>
          </c:bubbleSize>
          <c:bubble3D val="0"/>
          <c:extLst>
            <c:ext xmlns:c15="http://schemas.microsoft.com/office/drawing/2012/chart" uri="{02D57815-91ED-43cb-92C2-25804820EDAC}">
              <c15:datalabelsRange>
                <c15:f>Sheet1!$E$2:$E$50</c15:f>
                <c15:dlblRangeCache>
                  <c:ptCount val="49"/>
                  <c:pt idx="0">
                    <c:v>MG CHAMPAGNE NICOLAS BLC/BL BS 1CT X 1500ML</c:v>
                  </c:pt>
                  <c:pt idx="1">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D265183-16AA-4204-B682-16E75D555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C16CF3B-89F8-49ED-B453-2A2AAA106A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2B3598F6-C1DD-4005-AE2F-F68973674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5B8A23D-9DEE-4E71-A9F6-DAFF895E11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F1E053B-FF73-4412-9A75-81787726A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7B0AF5F-652D-4F77-99A6-BF4E3CB71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36FCEA5-2F6A-4C0D-A164-8A93ED94B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067</c:v>
                </c:pt>
              </c:numCache>
            </c:numRef>
          </c:xVal>
          <c:yVal>
            <c:numRef>
              <c:f>Sheet1!$B$2:$B$2</c:f>
              <c:numCache>
                <c:formatCode>General</c:formatCode>
                <c:ptCount val="1"/>
                <c:pt idx="0">
                  <c:v>125.50793650793651</c:v>
                </c:pt>
              </c:numCache>
            </c:numRef>
          </c:yVal>
          <c:bubbleSize>
            <c:numRef>
              <c:f>Sheet1!$C$2:$C$2</c:f>
              <c:numCache>
                <c:formatCode>General</c:formatCode>
                <c:ptCount val="1"/>
                <c:pt idx="0">
                  <c:v>5885.8821000000007</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8B10F6-A303-4E12-81D4-EB70A1A57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C0251788-B838-45B0-A97C-2B8F5E3192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8BB0A805-D923-4F2E-BE71-18455E993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E3DF1F7-45B2-4CE1-8ECA-FC4B37D08E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96CFCA3-1714-45B7-9868-0C20398AA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BD52029-9FD4-4681-A106-422A4540C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0A04386-EFF2-468D-A7F8-A577AD401D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4</c:v>
                </c:pt>
              </c:numCache>
            </c:numRef>
          </c:xVal>
          <c:yVal>
            <c:numRef>
              <c:f>Sheet1!$B$2:$B$2</c:f>
              <c:numCache>
                <c:formatCode>General</c:formatCode>
                <c:ptCount val="1"/>
                <c:pt idx="0">
                  <c:v>56.411764705882362</c:v>
                </c:pt>
              </c:numCache>
            </c:numRef>
          </c:yVal>
          <c:bubbleSize>
            <c:numRef>
              <c:f>Sheet1!$C$2:$C$2</c:f>
              <c:numCache>
                <c:formatCode>General</c:formatCode>
                <c:ptCount val="1"/>
                <c:pt idx="0">
                  <c:v>2124.1763999999998</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DF2587-22E0-45E8-B09E-76CA76A25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489E075F-AA2D-4CB9-BD31-C735060881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721FAF8-3ACA-49DE-A81D-2C2398F14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BDE290A-C06A-435A-8198-904C648851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F1AA8E3-9C67-489F-A59D-D9B6887B7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BF8172-529C-4474-A5D4-8E1B2743F0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16D0061-2033-421A-9CC6-3AB0E0C477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58</c:v>
                </c:pt>
              </c:numCache>
            </c:numRef>
          </c:xVal>
          <c:yVal>
            <c:numRef>
              <c:f>Sheet1!$B$2:$B$2</c:f>
              <c:numCache>
                <c:formatCode>General</c:formatCode>
                <c:ptCount val="1"/>
                <c:pt idx="0">
                  <c:v>59.420289855072461</c:v>
                </c:pt>
              </c:numCache>
            </c:numRef>
          </c:yVal>
          <c:bubbleSize>
            <c:numRef>
              <c:f>Sheet1!$C$2:$C$2</c:f>
              <c:numCache>
                <c:formatCode>General</c:formatCode>
                <c:ptCount val="1"/>
                <c:pt idx="0">
                  <c:v>3020.8625999999999</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F3AE99-7548-47E4-B518-4B160E493D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E0E6B8A-067F-457E-ACE4-EB3D404A4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D0F74A2-5914-4FA3-932F-9F9721C5B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C2FC6AC-BF9E-499F-9EFD-5FE194AE7A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1718362-47FD-4127-9D55-D472E3FA9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42ABF43-235D-4285-A276-0F935A442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FBA3CDE-4167-4603-ADF6-B058D08AF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92</c:v>
                </c:pt>
              </c:numCache>
            </c:numRef>
          </c:xVal>
          <c:yVal>
            <c:numRef>
              <c:f>Sheet1!$B$2:$B$2</c:f>
              <c:numCache>
                <c:formatCode>General</c:formatCode>
                <c:ptCount val="1"/>
                <c:pt idx="0">
                  <c:v>33.737499999999997</c:v>
                </c:pt>
              </c:numCache>
            </c:numRef>
          </c:yVal>
          <c:bubbleSize>
            <c:numRef>
              <c:f>Sheet1!$C$2:$C$2</c:f>
              <c:numCache>
                <c:formatCode>General</c:formatCode>
                <c:ptCount val="1"/>
                <c:pt idx="0">
                  <c:v>1980.9558</c:v>
                </c:pt>
              </c:numCache>
            </c:numRef>
          </c:bubbleSize>
          <c:bubble3D val="0"/>
          <c:extLst>
            <c:ext xmlns:c15="http://schemas.microsoft.com/office/drawing/2012/chart" uri="{02D57815-91ED-43cb-92C2-25804820EDAC}">
              <c15:datalabelsRange>
                <c15:f>Sheet1!$E$2:$E$50</c15:f>
                <c15:dlblRangeCache>
                  <c:ptCount val="49"/>
                  <c:pt idx="0">
                    <c:v>CHAMPAGNE NICOLAS BLC/BLC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6A4A1B8-6B09-4C4B-AB1B-2EE586E952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D9B8C22-7A7E-48A2-94C7-B1B404F7B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6CF4D9-7FCD-4550-A27A-7661D58DC8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7926B1-A0EB-4E66-AD42-A2B2F37BD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706D109-1660-42A0-B953-4FBB2AD55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546C9D-3F1E-4C8A-BFC7-A46E3F406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34485FE-0E13-45F0-A5CD-2E7020C035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3.7100000000000001E-2</c:v>
                </c:pt>
                <c:pt idx="1">
                  <c:v>5.4000000000000003E-3</c:v>
                </c:pt>
                <c:pt idx="2">
                  <c:v>2.9399999999999999E-2</c:v>
                </c:pt>
                <c:pt idx="3">
                  <c:v>5.3499999999999999E-2</c:v>
                </c:pt>
                <c:pt idx="4">
                  <c:v>3.1399999999999997E-2</c:v>
                </c:pt>
              </c:numCache>
            </c:numRef>
          </c:xVal>
          <c:yVal>
            <c:numRef>
              <c:f>Sheet1!$B$2:$B$6</c:f>
              <c:numCache>
                <c:formatCode>General</c:formatCode>
                <c:ptCount val="5"/>
                <c:pt idx="0">
                  <c:v>100.6666666666667</c:v>
                </c:pt>
                <c:pt idx="1">
                  <c:v>155.21333333333331</c:v>
                </c:pt>
                <c:pt idx="2">
                  <c:v>108.17391304347829</c:v>
                </c:pt>
                <c:pt idx="3">
                  <c:v>107.91836734693879</c:v>
                </c:pt>
                <c:pt idx="4">
                  <c:v>2042.434343434343</c:v>
                </c:pt>
              </c:numCache>
            </c:numRef>
          </c:yVal>
          <c:bubbleSize>
            <c:numRef>
              <c:f>Sheet1!$C$2:$C$6</c:f>
              <c:numCache>
                <c:formatCode>General</c:formatCode>
                <c:ptCount val="5"/>
                <c:pt idx="0">
                  <c:v>3877.0844999999999</c:v>
                </c:pt>
                <c:pt idx="1">
                  <c:v>9648.4393000000018</c:v>
                </c:pt>
                <c:pt idx="2">
                  <c:v>1278.75</c:v>
                </c:pt>
                <c:pt idx="3">
                  <c:v>4171.1099999999997</c:v>
                </c:pt>
                <c:pt idx="4">
                  <c:v>163212.90659999999</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B4E7EC4-81B5-4993-B46C-129DBFA81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83578EF-B101-4768-926D-FF5AC1C8B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56C6FFA-153A-4EEE-8907-6162FC5589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002795E-8D6F-4D14-ADE7-1C97755EC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86E7A5A-199F-417D-A32E-8EA2A377E0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034B0D-171C-42F1-BB93-E22A39F3E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3A83BC8-5B66-4288-B8B5-DF4FF7BC2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1.9599999999999999E-2</c:v>
                </c:pt>
                <c:pt idx="1">
                  <c:v>-3.2399999999999998E-2</c:v>
                </c:pt>
                <c:pt idx="2">
                  <c:v>5.6899999999999999E-2</c:v>
                </c:pt>
                <c:pt idx="3">
                  <c:v>4.1799999999999997E-2</c:v>
                </c:pt>
              </c:numCache>
            </c:numRef>
          </c:xVal>
          <c:yVal>
            <c:numRef>
              <c:f>Sheet1!$B$2:$B$5</c:f>
              <c:numCache>
                <c:formatCode>General</c:formatCode>
                <c:ptCount val="4"/>
                <c:pt idx="0">
                  <c:v>175.91836734693879</c:v>
                </c:pt>
                <c:pt idx="1">
                  <c:v>219.21153846153851</c:v>
                </c:pt>
                <c:pt idx="2">
                  <c:v>82.675675675675677</c:v>
                </c:pt>
                <c:pt idx="3">
                  <c:v>1829.28</c:v>
                </c:pt>
              </c:numCache>
            </c:numRef>
          </c:yVal>
          <c:bubbleSize>
            <c:numRef>
              <c:f>Sheet1!$C$2:$C$5</c:f>
              <c:numCache>
                <c:formatCode>General</c:formatCode>
                <c:ptCount val="4"/>
                <c:pt idx="0">
                  <c:v>7042.5024000000003</c:v>
                </c:pt>
                <c:pt idx="1">
                  <c:v>9807.258600000001</c:v>
                </c:pt>
                <c:pt idx="2">
                  <c:v>2404.0725000000002</c:v>
                </c:pt>
                <c:pt idx="3">
                  <c:v>146068.99830000001</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B62E7B-3A82-476C-B0CF-319C35BCC3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33C5793-495C-4E8F-A83B-B8C225DB9D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493F656-D0EF-497C-8D76-8228C95640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EB33A71-C541-4F97-80AD-2674D3CD38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A4BFFEE-312D-4E2B-9540-9EC609127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1638D8-CE6B-40B7-B6E7-96E9DBE0B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F009F06-6823-43A3-B53B-45F5BCDEB7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6.1499999999999999E-2</c:v>
                </c:pt>
                <c:pt idx="1">
                  <c:v>3.2199999999999999E-2</c:v>
                </c:pt>
                <c:pt idx="2">
                  <c:v>7.1099999999999997E-2</c:v>
                </c:pt>
                <c:pt idx="3">
                  <c:v>3.9699999999999999E-2</c:v>
                </c:pt>
              </c:numCache>
            </c:numRef>
          </c:xVal>
          <c:yVal>
            <c:numRef>
              <c:f>Sheet1!$B$2:$B$5</c:f>
              <c:numCache>
                <c:formatCode>General</c:formatCode>
                <c:ptCount val="4"/>
                <c:pt idx="0">
                  <c:v>42.558823529411768</c:v>
                </c:pt>
                <c:pt idx="1">
                  <c:v>67.266666666666666</c:v>
                </c:pt>
                <c:pt idx="2">
                  <c:v>45.557377049180317</c:v>
                </c:pt>
                <c:pt idx="3">
                  <c:v>956.39</c:v>
                </c:pt>
              </c:numCache>
            </c:numRef>
          </c:yVal>
          <c:bubbleSize>
            <c:numRef>
              <c:f>Sheet1!$C$2:$C$5</c:f>
              <c:numCache>
                <c:formatCode>General</c:formatCode>
                <c:ptCount val="4"/>
                <c:pt idx="0">
                  <c:v>1131.6672000000001</c:v>
                </c:pt>
                <c:pt idx="1">
                  <c:v>4882.7226000000001</c:v>
                </c:pt>
                <c:pt idx="2">
                  <c:v>2151.1799999999998</c:v>
                </c:pt>
                <c:pt idx="3">
                  <c:v>76538.395900000003</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7786F41-F467-4345-852B-32F29ADB24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D94D302-4767-4E6B-9D39-C4C18F461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53D673-2853-49D1-A5F7-CF4897F8D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55201EC-5005-4ADA-9A5C-E92E0A1F48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256E2C9-6074-4826-AEFB-BD91D7657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9C3263-9762-49D3-ACC5-1500BE7632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683CD03-A695-4BCB-B5F5-A83E81027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7.8700000000000006E-2</c:v>
                </c:pt>
                <c:pt idx="1">
                  <c:v>-1E-4</c:v>
                </c:pt>
                <c:pt idx="2">
                  <c:v>4.2999999999999997E-2</c:v>
                </c:pt>
              </c:numCache>
            </c:numRef>
          </c:xVal>
          <c:yVal>
            <c:numRef>
              <c:f>Sheet1!$B$2:$B$4</c:f>
              <c:numCache>
                <c:formatCode>General</c:formatCode>
                <c:ptCount val="3"/>
                <c:pt idx="0">
                  <c:v>26.14516129032258</c:v>
                </c:pt>
                <c:pt idx="1">
                  <c:v>39.296296296296298</c:v>
                </c:pt>
                <c:pt idx="2">
                  <c:v>561.4</c:v>
                </c:pt>
              </c:numCache>
            </c:numRef>
          </c:yVal>
          <c:bubbleSize>
            <c:numRef>
              <c:f>Sheet1!$C$2:$C$4</c:f>
              <c:numCache>
                <c:formatCode>General</c:formatCode>
                <c:ptCount val="3"/>
                <c:pt idx="0">
                  <c:v>1244.5839000000001</c:v>
                </c:pt>
                <c:pt idx="1">
                  <c:v>1768.5559000000001</c:v>
                </c:pt>
                <c:pt idx="2">
                  <c:v>44770.593800000002</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12423D7-6CD0-43A4-95E9-2FAC9742E1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BEA7B8-E719-47BA-AE90-31F7FBF10A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66FE06-82AD-42B0-9616-70AF62206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3BF9A85-BBE7-4059-9E0E-C52097C42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BEB2275-6A2D-42C6-A835-8FAC235F37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2E519CB-7A0B-4E22-AAF5-834D70C25D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7DBCDB7-EDF4-4B25-B47A-417C5A3E9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1.84E-2</c:v>
                </c:pt>
                <c:pt idx="1">
                  <c:v>-6.1100000000000002E-2</c:v>
                </c:pt>
                <c:pt idx="2">
                  <c:v>7.0499999999999993E-2</c:v>
                </c:pt>
                <c:pt idx="3">
                  <c:v>0.04</c:v>
                </c:pt>
              </c:numCache>
            </c:numRef>
          </c:xVal>
          <c:yVal>
            <c:numRef>
              <c:f>Sheet1!$B$2:$B$5</c:f>
              <c:numCache>
                <c:formatCode>General</c:formatCode>
                <c:ptCount val="4"/>
                <c:pt idx="0">
                  <c:v>98.978260869565219</c:v>
                </c:pt>
                <c:pt idx="1">
                  <c:v>75.293333333333337</c:v>
                </c:pt>
                <c:pt idx="2">
                  <c:v>36.295081967213108</c:v>
                </c:pt>
                <c:pt idx="3">
                  <c:v>1149.8800000000001</c:v>
                </c:pt>
              </c:numCache>
            </c:numRef>
          </c:yVal>
          <c:bubbleSize>
            <c:numRef>
              <c:f>Sheet1!$C$2:$C$5</c:f>
              <c:numCache>
                <c:formatCode>General</c:formatCode>
                <c:ptCount val="4"/>
                <c:pt idx="0">
                  <c:v>3724.1676000000002</c:v>
                </c:pt>
                <c:pt idx="1">
                  <c:v>4993.5696000000007</c:v>
                </c:pt>
                <c:pt idx="2">
                  <c:v>1714.905</c:v>
                </c:pt>
                <c:pt idx="3">
                  <c:v>91989.461899999995</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Laurent Perrier</c:v>
                </c:pt>
                <c:pt idx="6">
                  <c:v>De Bligny</c:v>
                </c:pt>
                <c:pt idx="7">
                  <c:v>Heidsieck &amp; Co Monopole</c:v>
                </c:pt>
                <c:pt idx="8">
                  <c:v>Ayala</c:v>
                </c:pt>
                <c:pt idx="9">
                  <c:v>Others</c:v>
                </c:pt>
              </c:strCache>
            </c:strRef>
          </c:cat>
          <c:val>
            <c:numRef>
              <c:f>Sheet1!$B$2:$B$11</c:f>
              <c:numCache>
                <c:formatCode>General</c:formatCode>
                <c:ptCount val="10"/>
                <c:pt idx="0">
                  <c:v>0.233260879160995</c:v>
                </c:pt>
                <c:pt idx="1">
                  <c:v>9.383511227811904E-2</c:v>
                </c:pt>
                <c:pt idx="2">
                  <c:v>6.0472590491165323E-2</c:v>
                </c:pt>
                <c:pt idx="3">
                  <c:v>4.4132822575161261E-2</c:v>
                </c:pt>
                <c:pt idx="4">
                  <c:v>4.0206100704936944E-2</c:v>
                </c:pt>
                <c:pt idx="5">
                  <c:v>3.7113874337742221E-2</c:v>
                </c:pt>
                <c:pt idx="6">
                  <c:v>3.6555555688109843E-2</c:v>
                </c:pt>
                <c:pt idx="7">
                  <c:v>3.414512228729312E-2</c:v>
                </c:pt>
                <c:pt idx="8">
                  <c:v>3.3379820121183776E-2</c:v>
                </c:pt>
                <c:pt idx="9">
                  <c:v>0.3868981223552934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Laurent Perrier</c:v>
                </c:pt>
                <c:pt idx="6">
                  <c:v>De Bligny</c:v>
                </c:pt>
                <c:pt idx="7">
                  <c:v>Heidsieck &amp; Co Monopole</c:v>
                </c:pt>
                <c:pt idx="8">
                  <c:v>Ayala</c:v>
                </c:pt>
                <c:pt idx="9">
                  <c:v>Others</c:v>
                </c:pt>
              </c:strCache>
            </c:strRef>
          </c:cat>
          <c:val>
            <c:numRef>
              <c:f>Sheet1!$C$2:$C$11</c:f>
              <c:numCache>
                <c:formatCode>General</c:formatCode>
                <c:ptCount val="10"/>
                <c:pt idx="0">
                  <c:v>9.7497120117289796E-2</c:v>
                </c:pt>
                <c:pt idx="1">
                  <c:v>8.063671588648029E-2</c:v>
                </c:pt>
                <c:pt idx="2">
                  <c:v>4.7963137501309032E-2</c:v>
                </c:pt>
                <c:pt idx="3">
                  <c:v>4.2098649073201384E-2</c:v>
                </c:pt>
                <c:pt idx="4">
                  <c:v>3.2359409362236892E-2</c:v>
                </c:pt>
                <c:pt idx="5">
                  <c:v>3.5082207561001166E-2</c:v>
                </c:pt>
                <c:pt idx="6">
                  <c:v>1.6755681223164735E-2</c:v>
                </c:pt>
                <c:pt idx="7">
                  <c:v>1.0367577756833179E-2</c:v>
                </c:pt>
                <c:pt idx="8">
                  <c:v>1.8535972353125985E-2</c:v>
                </c:pt>
                <c:pt idx="9">
                  <c:v>0.618703529165357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Canard Duchêne</c:v>
                </c:pt>
                <c:pt idx="5">
                  <c:v>Laurent Perrier</c:v>
                </c:pt>
                <c:pt idx="6">
                  <c:v>De Bligny</c:v>
                </c:pt>
                <c:pt idx="7">
                  <c:v>Heidsieck &amp; Co Monopole</c:v>
                </c:pt>
                <c:pt idx="8">
                  <c:v>Ayala</c:v>
                </c:pt>
                <c:pt idx="9">
                  <c:v>Others</c:v>
                </c:pt>
              </c:strCache>
            </c:strRef>
          </c:cat>
          <c:val>
            <c:numRef>
              <c:f>Sheet1!$D$2:$D$11</c:f>
              <c:numCache>
                <c:formatCode>General</c:formatCode>
                <c:ptCount val="10"/>
                <c:pt idx="0">
                  <c:v>41.797458908657362</c:v>
                </c:pt>
                <c:pt idx="1">
                  <c:v>85.934480098963533</c:v>
                </c:pt>
                <c:pt idx="2">
                  <c:v>79.313846342197223</c:v>
                </c:pt>
                <c:pt idx="3">
                  <c:v>95.390792196679612</c:v>
                </c:pt>
                <c:pt idx="4">
                  <c:v>80.483829057970425</c:v>
                </c:pt>
                <c:pt idx="5">
                  <c:v>94.525856400082191</c:v>
                </c:pt>
                <c:pt idx="6">
                  <c:v>45.836209866766517</c:v>
                </c:pt>
                <c:pt idx="7">
                  <c:v>30.363276106032295</c:v>
                </c:pt>
                <c:pt idx="8">
                  <c:v>55.530474058374367</c:v>
                </c:pt>
                <c:pt idx="9">
                  <c:v>159.913810229658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Henriot</c:v>
                </c:pt>
                <c:pt idx="4">
                  <c:v>De Venoge</c:v>
                </c:pt>
                <c:pt idx="5">
                  <c:v>Besserat De Bellefon</c:v>
                </c:pt>
                <c:pt idx="6">
                  <c:v>Ayala</c:v>
                </c:pt>
                <c:pt idx="7">
                  <c:v>Deutz</c:v>
                </c:pt>
                <c:pt idx="8">
                  <c:v>Delamotte</c:v>
                </c:pt>
                <c:pt idx="9">
                  <c:v>Others</c:v>
                </c:pt>
              </c:strCache>
            </c:strRef>
          </c:cat>
          <c:val>
            <c:numRef>
              <c:f>Sheet1!$B$2:$B$11</c:f>
              <c:numCache>
                <c:formatCode>General</c:formatCode>
                <c:ptCount val="10"/>
                <c:pt idx="0">
                  <c:v>0.60027179859263613</c:v>
                </c:pt>
                <c:pt idx="1">
                  <c:v>0.12104826728397194</c:v>
                </c:pt>
                <c:pt idx="2">
                  <c:v>6.5295005125015834E-2</c:v>
                </c:pt>
                <c:pt idx="3">
                  <c:v>3.4579460779232747E-2</c:v>
                </c:pt>
                <c:pt idx="4">
                  <c:v>3.4550668555436551E-2</c:v>
                </c:pt>
                <c:pt idx="5">
                  <c:v>3.0370037660228725E-2</c:v>
                </c:pt>
                <c:pt idx="6">
                  <c:v>2.7133791705536169E-2</c:v>
                </c:pt>
                <c:pt idx="7">
                  <c:v>2.2987711478883784E-2</c:v>
                </c:pt>
                <c:pt idx="8">
                  <c:v>1.8064241209734076E-2</c:v>
                </c:pt>
                <c:pt idx="9">
                  <c:v>4.569901760932407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Henriot</c:v>
                </c:pt>
                <c:pt idx="4">
                  <c:v>De Venoge</c:v>
                </c:pt>
                <c:pt idx="5">
                  <c:v>Besserat De Bellefon</c:v>
                </c:pt>
                <c:pt idx="6">
                  <c:v>Ayala</c:v>
                </c:pt>
                <c:pt idx="7">
                  <c:v>Deutz</c:v>
                </c:pt>
                <c:pt idx="8">
                  <c:v>Delamotte</c:v>
                </c:pt>
                <c:pt idx="9">
                  <c:v>Others</c:v>
                </c:pt>
              </c:strCache>
            </c:strRef>
          </c:cat>
          <c:val>
            <c:numRef>
              <c:f>Sheet1!$C$2:$C$11</c:f>
              <c:numCache>
                <c:formatCode>General</c:formatCode>
                <c:ptCount val="10"/>
                <c:pt idx="0">
                  <c:v>0.2458374142997061</c:v>
                </c:pt>
                <c:pt idx="1">
                  <c:v>0.15377081292850142</c:v>
                </c:pt>
                <c:pt idx="2">
                  <c:v>6.5621939275220365E-2</c:v>
                </c:pt>
                <c:pt idx="3">
                  <c:v>9.6963761018609179E-2</c:v>
                </c:pt>
                <c:pt idx="4">
                  <c:v>4.7012732615083236E-2</c:v>
                </c:pt>
                <c:pt idx="5">
                  <c:v>6.6601371204701262E-2</c:v>
                </c:pt>
                <c:pt idx="6">
                  <c:v>6.5621939275220351E-2</c:v>
                </c:pt>
                <c:pt idx="7">
                  <c:v>3.3300685602350624E-2</c:v>
                </c:pt>
                <c:pt idx="8">
                  <c:v>4.1136141038197842E-2</c:v>
                </c:pt>
                <c:pt idx="9">
                  <c:v>0.1841332027424093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Henriot</c:v>
                </c:pt>
                <c:pt idx="4">
                  <c:v>De Venoge</c:v>
                </c:pt>
                <c:pt idx="5">
                  <c:v>Besserat De Bellefon</c:v>
                </c:pt>
                <c:pt idx="6">
                  <c:v>Ayala</c:v>
                </c:pt>
                <c:pt idx="7">
                  <c:v>Deutz</c:v>
                </c:pt>
                <c:pt idx="8">
                  <c:v>Delamotte</c:v>
                </c:pt>
                <c:pt idx="9">
                  <c:v>Others</c:v>
                </c:pt>
              </c:strCache>
            </c:strRef>
          </c:cat>
          <c:val>
            <c:numRef>
              <c:f>Sheet1!$D$2:$D$11</c:f>
              <c:numCache>
                <c:formatCode>General</c:formatCode>
                <c:ptCount val="10"/>
                <c:pt idx="0">
                  <c:v>40.954350158725234</c:v>
                </c:pt>
                <c:pt idx="1">
                  <c:v>127.03264274552923</c:v>
                </c:pt>
                <c:pt idx="2">
                  <c:v>100.50070315421304</c:v>
                </c:pt>
                <c:pt idx="3">
                  <c:v>280.40853973304968</c:v>
                </c:pt>
                <c:pt idx="4">
                  <c:v>136.06895200783541</c:v>
                </c:pt>
                <c:pt idx="5">
                  <c:v>219.29960031600325</c:v>
                </c:pt>
                <c:pt idx="6">
                  <c:v>241.84581346893498</c:v>
                </c:pt>
                <c:pt idx="7">
                  <c:v>144.8629874832917</c:v>
                </c:pt>
                <c:pt idx="8">
                  <c:v>227.72138923848772</c:v>
                </c:pt>
                <c:pt idx="9">
                  <c:v>402.925954156266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B4FCD6-1351-4224-B913-704C87391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872CA6A-A5CE-4BBB-9F39-3139FD332C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F4BC992-7130-4D9D-88D9-D44774A5F4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F0D7CC5-A659-4578-B979-CE2E139778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612FB90-E85E-4A3E-ADEB-6E5DF60566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10B185B-815A-41C5-9209-1E7E2AC94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7044CE0-30EA-46BE-BA6D-A57A61787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5.6599999999999998E-2</c:v>
                </c:pt>
                <c:pt idx="1">
                  <c:v>-2.06E-2</c:v>
                </c:pt>
                <c:pt idx="2">
                  <c:v>0.15670000000000001</c:v>
                </c:pt>
                <c:pt idx="3">
                  <c:v>5.62E-2</c:v>
                </c:pt>
                <c:pt idx="4">
                  <c:v>4.1799999999999997E-2</c:v>
                </c:pt>
              </c:numCache>
            </c:numRef>
          </c:xVal>
          <c:yVal>
            <c:numRef>
              <c:f>Sheet1!$B$2:$B$6</c:f>
              <c:numCache>
                <c:formatCode>General</c:formatCode>
                <c:ptCount val="5"/>
                <c:pt idx="0">
                  <c:v>67.114285714285714</c:v>
                </c:pt>
                <c:pt idx="1">
                  <c:v>91.298850574712645</c:v>
                </c:pt>
                <c:pt idx="2">
                  <c:v>62.244444444444447</c:v>
                </c:pt>
                <c:pt idx="3">
                  <c:v>54.046511627906973</c:v>
                </c:pt>
                <c:pt idx="4">
                  <c:v>1137.1300000000001</c:v>
                </c:pt>
              </c:numCache>
            </c:numRef>
          </c:yVal>
          <c:bubbleSize>
            <c:numRef>
              <c:f>Sheet1!$C$2:$C$6</c:f>
              <c:numCache>
                <c:formatCode>General</c:formatCode>
                <c:ptCount val="5"/>
                <c:pt idx="0">
                  <c:v>1846.6674</c:v>
                </c:pt>
                <c:pt idx="1">
                  <c:v>6755.3112000000001</c:v>
                </c:pt>
                <c:pt idx="2">
                  <c:v>1382.94</c:v>
                </c:pt>
                <c:pt idx="3">
                  <c:v>1827.87</c:v>
                </c:pt>
                <c:pt idx="4">
                  <c:v>90795.169100000014</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MG CHAMPAGNE NICOLAS 1ERE CUVE 1CT X 150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C49D8FE-D0EC-4B04-98BD-27230D1FA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7F1884B-18D9-4137-9D4E-06B7D5F8A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988EB1-491E-4C34-9918-3EEC47E170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4216D5-48DE-443E-82C8-51042234A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4950467-42A5-4F78-A5D1-0DC8C9FF97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73A38C5-03E2-46B7-9CEA-76539415A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A4F9C88-C858-4437-9A92-AEBD0A1649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7.3000000000000001E-3</c:v>
                </c:pt>
                <c:pt idx="1">
                  <c:v>7.5600000000000001E-2</c:v>
                </c:pt>
                <c:pt idx="2">
                  <c:v>3.9100000000000003E-2</c:v>
                </c:pt>
              </c:numCache>
            </c:numRef>
          </c:xVal>
          <c:yVal>
            <c:numRef>
              <c:f>Sheet1!$B$2:$B$4</c:f>
              <c:numCache>
                <c:formatCode>General</c:formatCode>
                <c:ptCount val="3"/>
                <c:pt idx="0">
                  <c:v>90.835443037974684</c:v>
                </c:pt>
                <c:pt idx="1">
                  <c:v>37.807017543859651</c:v>
                </c:pt>
                <c:pt idx="2">
                  <c:v>844.86</c:v>
                </c:pt>
              </c:numCache>
            </c:numRef>
          </c:yVal>
          <c:bubbleSize>
            <c:numRef>
              <c:f>Sheet1!$C$2:$C$4</c:f>
              <c:numCache>
                <c:formatCode>General</c:formatCode>
                <c:ptCount val="3"/>
                <c:pt idx="0">
                  <c:v>5936.1959000000006</c:v>
                </c:pt>
                <c:pt idx="1">
                  <c:v>1660.0274999999999</c:v>
                </c:pt>
                <c:pt idx="2">
                  <c:v>67650.225100000011</c:v>
                </c:pt>
              </c:numCache>
            </c:numRef>
          </c:bubbleSize>
          <c:bubble3D val="0"/>
          <c:extLst>
            <c:ext xmlns:c15="http://schemas.microsoft.com/office/drawing/2012/chart" uri="{02D57815-91ED-43cb-92C2-25804820EDAC}">
              <c15:datalabelsRange>
                <c15:f>Sheet1!$E$2:$E$50</c15:f>
                <c15:dlblRangeCache>
                  <c:ptCount val="49"/>
                  <c:pt idx="0">
                    <c:v>CHAMPAGNE NICOLAS 1ERE CUVEE 1CT X 750ML</c:v>
                  </c:pt>
                  <c:pt idx="1">
                    <c:v>1/2 CHAMPAGNE NICOLAS 1ERE CUV 1CT X 375ML</c:v>
                  </c:pt>
                  <c:pt idx="2">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095A1E9-7D8B-4872-B4A6-E4D2C7B526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84C118A-CA58-446C-A3DA-E39BEFD94C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B25D88-A448-4C35-97F1-672247F04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888B86-752D-423A-BEE7-46BC9CF0F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D5FDB5C-5B04-43B2-BFFD-35BF09106B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6ABFC98-090C-4E6C-918E-E2CA4F2741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330BAFC-A6D0-409C-93F7-ACF768FCF3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4.3700000000000003E-2</c:v>
                </c:pt>
                <c:pt idx="1">
                  <c:v>-6.0299999999999999E-2</c:v>
                </c:pt>
                <c:pt idx="2">
                  <c:v>4.1000000000000002E-2</c:v>
                </c:pt>
              </c:numCache>
            </c:numRef>
          </c:xVal>
          <c:yVal>
            <c:numRef>
              <c:f>Sheet1!$B$2:$B$4</c:f>
              <c:numCache>
                <c:formatCode>General</c:formatCode>
                <c:ptCount val="3"/>
                <c:pt idx="0">
                  <c:v>38.551020408163268</c:v>
                </c:pt>
                <c:pt idx="1">
                  <c:v>48.723684210526322</c:v>
                </c:pt>
                <c:pt idx="2">
                  <c:v>635.45000000000005</c:v>
                </c:pt>
              </c:numCache>
            </c:numRef>
          </c:yVal>
          <c:bubbleSize>
            <c:numRef>
              <c:f>Sheet1!$C$2:$C$4</c:f>
              <c:numCache>
                <c:formatCode>General</c:formatCode>
                <c:ptCount val="3"/>
                <c:pt idx="0">
                  <c:v>1505.4170999999999</c:v>
                </c:pt>
                <c:pt idx="1">
                  <c:v>3271.8853000000008</c:v>
                </c:pt>
                <c:pt idx="2">
                  <c:v>50783.436800000003</c:v>
                </c:pt>
              </c:numCache>
            </c:numRef>
          </c:bubbleSize>
          <c:bubble3D val="0"/>
          <c:extLst>
            <c:ext xmlns:c15="http://schemas.microsoft.com/office/drawing/2012/chart" uri="{02D57815-91ED-43cb-92C2-25804820EDAC}">
              <c15:datalabelsRange>
                <c15:f>Sheet1!$E$2:$E$50</c15:f>
                <c15:dlblRangeCache>
                  <c:ptCount val="49"/>
                  <c:pt idx="0">
                    <c:v>MG CHAMPAGNE E.NICOLAS BRUT 1CT X 1500ML</c:v>
                  </c:pt>
                  <c:pt idx="1">
                    <c:v>CHAMPAGNE NICOLAS 1ERE CUVEE 1CT X 750ML</c:v>
                  </c:pt>
                  <c:pt idx="2">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326CB82-3FC8-4A8C-93C0-6F1F575D0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DB181C0-B991-493B-B97D-A45F770A7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AFFD417-494D-4B38-9F41-77382D5A89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E89A09-6F56-4292-B6AE-75699307A7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F0AF0D9-E24B-43F0-9967-0216844F12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29731A-F8E6-40BB-A820-35C6BBB67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0B617CA-6F47-407A-BB89-71D30453A7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1.0500000000000001E-2</c:v>
                </c:pt>
                <c:pt idx="1">
                  <c:v>4.0399999999999998E-2</c:v>
                </c:pt>
              </c:numCache>
            </c:numRef>
          </c:xVal>
          <c:yVal>
            <c:numRef>
              <c:f>Sheet1!$B$2:$B$3</c:f>
              <c:numCache>
                <c:formatCode>General</c:formatCode>
                <c:ptCount val="2"/>
                <c:pt idx="0">
                  <c:v>43.115942028985508</c:v>
                </c:pt>
                <c:pt idx="1">
                  <c:v>391.8</c:v>
                </c:pt>
              </c:numCache>
            </c:numRef>
          </c:yVal>
          <c:bubbleSize>
            <c:numRef>
              <c:f>Sheet1!$C$2:$C$3</c:f>
              <c:numCache>
                <c:formatCode>General</c:formatCode>
                <c:ptCount val="2"/>
                <c:pt idx="0">
                  <c:v>2453.0792000000001</c:v>
                </c:pt>
                <c:pt idx="1">
                  <c:v>31331.627499999999</c:v>
                </c:pt>
              </c:numCache>
            </c:numRef>
          </c:bubbleSize>
          <c:bubble3D val="0"/>
          <c:extLst>
            <c:ext xmlns:c15="http://schemas.microsoft.com/office/drawing/2012/chart" uri="{02D57815-91ED-43cb-92C2-25804820EDAC}">
              <c15:datalabelsRange>
                <c15:f>Sheet1!$E$2:$E$50</c15:f>
                <c15:dlblRangeCache>
                  <c:ptCount val="49"/>
                  <c:pt idx="0">
                    <c:v>CHAMPAGNE NICOLAS 1ERE CUVEE 1CT X 750ML</c:v>
                  </c:pt>
                  <c:pt idx="1">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603A445-4A96-4A42-96D4-0DD60E117F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617B761-9932-4CE4-93B7-6860280F0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A0FF5EF-2077-4ADC-9690-58323296AB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F010F8-558F-467F-9F65-C3BA3252AD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3DF4CC7-0E59-43C8-8401-3CA82AC1E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AE6EB84-C0C6-41A3-8727-749940A49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0E8A40-B7F2-4F16-9F43-0993BE2BCE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4.6600000000000003E-2</c:v>
                </c:pt>
              </c:numCache>
            </c:numRef>
          </c:xVal>
          <c:yVal>
            <c:numRef>
              <c:f>Sheet1!$B$2:$B$2</c:f>
              <c:numCache>
                <c:formatCode>General</c:formatCode>
                <c:ptCount val="1"/>
                <c:pt idx="0">
                  <c:v>196.9</c:v>
                </c:pt>
              </c:numCache>
            </c:numRef>
          </c:yVal>
          <c:bubbleSize>
            <c:numRef>
              <c:f>Sheet1!$C$2:$C$2</c:f>
              <c:numCache>
                <c:formatCode>General</c:formatCode>
                <c:ptCount val="1"/>
                <c:pt idx="0">
                  <c:v>15643.313599999999</c:v>
                </c:pt>
              </c:numCache>
            </c:numRef>
          </c:bubbleSize>
          <c:bubble3D val="0"/>
          <c:extLst>
            <c:ext xmlns:c15="http://schemas.microsoft.com/office/drawing/2012/chart" uri="{02D57815-91ED-43cb-92C2-25804820EDAC}">
              <c15:datalabelsRange>
                <c15:f>Sheet1!$E$2:$E$50</c15:f>
                <c15:dlblRangeCache>
                  <c:ptCount val="49"/>
                  <c:pt idx="0">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2FC4AE-AD01-4513-8E32-0A358C805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419CDB-E3D2-4A71-865E-36FBAFCF63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068487E1-F3EB-41AF-A0F0-37C562267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F4D718F-3687-42D2-A4C3-9272B9702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4285C17-7F3E-4539-AE18-C12C3358B1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C64D195-FCBA-44F0-9D87-1C6591471F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967F9F4-0871-48C5-B039-51850E6648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8.3999999999999995E-3</c:v>
                </c:pt>
                <c:pt idx="1">
                  <c:v>4.3299999999999998E-2</c:v>
                </c:pt>
              </c:numCache>
            </c:numRef>
          </c:xVal>
          <c:yVal>
            <c:numRef>
              <c:f>Sheet1!$B$2:$B$3</c:f>
              <c:numCache>
                <c:formatCode>General</c:formatCode>
                <c:ptCount val="2"/>
                <c:pt idx="0">
                  <c:v>46.70967741935484</c:v>
                </c:pt>
                <c:pt idx="1">
                  <c:v>180.58</c:v>
                </c:pt>
              </c:numCache>
            </c:numRef>
          </c:yVal>
          <c:bubbleSize>
            <c:numRef>
              <c:f>Sheet1!$C$2:$C$3</c:f>
              <c:numCache>
                <c:formatCode>General</c:formatCode>
                <c:ptCount val="2"/>
                <c:pt idx="0">
                  <c:v>2433.6008999999999</c:v>
                </c:pt>
                <c:pt idx="1">
                  <c:v>14397.3907</c:v>
                </c:pt>
              </c:numCache>
            </c:numRef>
          </c:bubbleSize>
          <c:bubble3D val="0"/>
          <c:extLst>
            <c:ext xmlns:c15="http://schemas.microsoft.com/office/drawing/2012/chart" uri="{02D57815-91ED-43cb-92C2-25804820EDAC}">
              <c15:datalabelsRange>
                <c15:f>Sheet1!$E$2:$E$50</c15:f>
                <c15:dlblRangeCache>
                  <c:ptCount val="49"/>
                  <c:pt idx="0">
                    <c:v>CHAMPAGNE NICOLAS 1ERE CUVEE 1CT X 750ML</c:v>
                  </c:pt>
                  <c:pt idx="1">
                    <c:v>CHAMPAGNE E.NICOLAS BRUT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8ACA3A1-B6DC-4C98-9E79-96F598168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BE54ED-72F6-4066-BCAD-FE1CDCE64A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9B9332D-9D2F-42A7-B768-3F2EECB551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6E9049-507C-4F0B-8823-B3EF0CDEC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4EFCDEA-D4A6-4D0D-828D-269FCA7E0C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1FF6FE6-9435-45C7-A62C-2CD4BA66A6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DA72A88-D25A-477B-B45D-1A7D623203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7.3099999999999998E-2</c:v>
                </c:pt>
                <c:pt idx="1">
                  <c:v>0.1152</c:v>
                </c:pt>
              </c:numCache>
            </c:numRef>
          </c:xVal>
          <c:yVal>
            <c:numRef>
              <c:f>Sheet1!$B$2:$B$3</c:f>
              <c:numCache>
                <c:formatCode>General</c:formatCode>
                <c:ptCount val="2"/>
                <c:pt idx="0">
                  <c:v>72.066666666666663</c:v>
                </c:pt>
                <c:pt idx="1">
                  <c:v>69.090909090909093</c:v>
                </c:pt>
              </c:numCache>
            </c:numRef>
          </c:yVal>
          <c:bubbleSize>
            <c:numRef>
              <c:f>Sheet1!$C$2:$C$3</c:f>
              <c:numCache>
                <c:formatCode>General</c:formatCode>
                <c:ptCount val="2"/>
                <c:pt idx="0">
                  <c:v>1669.8806</c:v>
                </c:pt>
                <c:pt idx="1">
                  <c:v>1120.7174</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pt idx="1">
                    <c:v>CHAMPAGNE NICOLAS 1ER CRU ETUI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CDCD468-72E0-4E46-81AD-976DD22CC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8AFE2B9A-A799-419A-9632-766D3668BD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0A99DAEE-CCEE-4D95-8D9E-19104519E0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4C20FCC-09D0-4A14-BF9E-82A1DC683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77D3E54-8906-4546-BA1E-18DAF9E06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E6D11A-550F-49D1-BBBA-6F86B41D8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2C79B88-17C1-4AAA-A215-8B753068F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1114</c:v>
                </c:pt>
              </c:numCache>
            </c:numRef>
          </c:xVal>
          <c:yVal>
            <c:numRef>
              <c:f>Sheet1!$B$2:$B$2</c:f>
              <c:numCache>
                <c:formatCode>General</c:formatCode>
                <c:ptCount val="1"/>
                <c:pt idx="0">
                  <c:v>27.125</c:v>
                </c:pt>
              </c:numCache>
            </c:numRef>
          </c:yVal>
          <c:bubbleSize>
            <c:numRef>
              <c:f>Sheet1!$C$2:$C$2</c:f>
              <c:numCache>
                <c:formatCode>General</c:formatCode>
                <c:ptCount val="1"/>
                <c:pt idx="0">
                  <c:v>1406.8531</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D4225C3-3CD0-40B6-8F99-2D166413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112BF633-8A00-4F8F-9949-FE987B1B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7BD00BB-3E57-4764-9D6F-FB3941201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E2D08B-0F22-43AF-9936-88A60ABDA4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C2B9DE7-B732-4F72-8F6F-744A06EAF6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BA09DA-EFB6-4FF7-A624-B44CFDAA94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C2BEE01-0BA1-4C7F-89CF-A8EDAD8BB4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3.4000000000000002E-2</c:v>
                </c:pt>
              </c:numCache>
            </c:numRef>
          </c:xVal>
          <c:yVal>
            <c:numRef>
              <c:f>Sheet1!$B$2:$B$2</c:f>
              <c:numCache>
                <c:formatCode>General</c:formatCode>
                <c:ptCount val="1"/>
                <c:pt idx="0">
                  <c:v>42.464285714285708</c:v>
                </c:pt>
              </c:numCache>
            </c:numRef>
          </c:yVal>
          <c:bubbleSize>
            <c:numRef>
              <c:f>Sheet1!$C$2:$C$2</c:f>
              <c:numCache>
                <c:formatCode>General</c:formatCode>
                <c:ptCount val="1"/>
                <c:pt idx="0">
                  <c:v>1024.5273</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4D8846A-50DF-44C8-A72B-C0A5A74D3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0EB66BF3-9869-4A0A-B18E-5E05B7591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DB81B37-1FF0-4F46-A77C-38D8F66E95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869FF7B-C14C-4B2D-97A3-22BA23861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CD6150F-4DBD-469E-A2FA-914A83D1E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A795F30-4B25-4306-AD14-B5D52ED0B3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4DD3EBD-23E4-45C3-A5BF-DD9603483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1.72E-2</c:v>
                </c:pt>
              </c:numCache>
            </c:numRef>
          </c:xVal>
          <c:yVal>
            <c:numRef>
              <c:f>Sheet1!$B$2:$B$2</c:f>
              <c:numCache>
                <c:formatCode>General</c:formatCode>
                <c:ptCount val="1"/>
                <c:pt idx="0">
                  <c:v>18.564705882352939</c:v>
                </c:pt>
              </c:numCache>
            </c:numRef>
          </c:yVal>
          <c:bubbleSize>
            <c:numRef>
              <c:f>Sheet1!$C$2:$C$2</c:f>
              <c:numCache>
                <c:formatCode>General</c:formatCode>
                <c:ptCount val="1"/>
                <c:pt idx="0">
                  <c:v>1292.4392</c:v>
                </c:pt>
              </c:numCache>
            </c:numRef>
          </c:bubbleSize>
          <c:bubble3D val="0"/>
          <c:extLst>
            <c:ext xmlns:c15="http://schemas.microsoft.com/office/drawing/2012/chart" uri="{02D57815-91ED-43cb-92C2-25804820EDAC}">
              <c15:datalabelsRange>
                <c15:f>Sheet1!$E$2:$E$50</c15:f>
                <c15:dlblRangeCache>
                  <c:ptCount val="49"/>
                  <c:pt idx="0">
                    <c:v>CHAMPAGNE NICOLAS 1ER CRU BS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 Bligny</c:v>
                </c:pt>
                <c:pt idx="4">
                  <c:v>Besserat De Bellefon</c:v>
                </c:pt>
                <c:pt idx="5">
                  <c:v>Henriot</c:v>
                </c:pt>
                <c:pt idx="6">
                  <c:v>De Venoge</c:v>
                </c:pt>
                <c:pt idx="7">
                  <c:v>Taittinger</c:v>
                </c:pt>
                <c:pt idx="8">
                  <c:v>Delamotte</c:v>
                </c:pt>
                <c:pt idx="9">
                  <c:v>Others</c:v>
                </c:pt>
              </c:strCache>
            </c:strRef>
          </c:cat>
          <c:val>
            <c:numRef>
              <c:f>Sheet1!$B$2:$B$11</c:f>
              <c:numCache>
                <c:formatCode>General</c:formatCode>
                <c:ptCount val="10"/>
                <c:pt idx="0">
                  <c:v>0.61566349022402145</c:v>
                </c:pt>
                <c:pt idx="1">
                  <c:v>8.7275175983274736E-2</c:v>
                </c:pt>
                <c:pt idx="2">
                  <c:v>8.5803102316949986E-2</c:v>
                </c:pt>
                <c:pt idx="3">
                  <c:v>4.850012919795476E-2</c:v>
                </c:pt>
                <c:pt idx="4">
                  <c:v>3.8681084636405634E-2</c:v>
                </c:pt>
                <c:pt idx="5">
                  <c:v>2.5745628802530715E-2</c:v>
                </c:pt>
                <c:pt idx="6">
                  <c:v>2.263704770928111E-2</c:v>
                </c:pt>
                <c:pt idx="7">
                  <c:v>1.6983658416267981E-2</c:v>
                </c:pt>
                <c:pt idx="8">
                  <c:v>1.5777810838533878E-2</c:v>
                </c:pt>
                <c:pt idx="9">
                  <c:v>4.293287187477977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 Bligny</c:v>
                </c:pt>
                <c:pt idx="4">
                  <c:v>Besserat De Bellefon</c:v>
                </c:pt>
                <c:pt idx="5">
                  <c:v>Henriot</c:v>
                </c:pt>
                <c:pt idx="6">
                  <c:v>De Venoge</c:v>
                </c:pt>
                <c:pt idx="7">
                  <c:v>Taittinger</c:v>
                </c:pt>
                <c:pt idx="8">
                  <c:v>Delamotte</c:v>
                </c:pt>
                <c:pt idx="9">
                  <c:v>Others</c:v>
                </c:pt>
              </c:strCache>
            </c:strRef>
          </c:cat>
          <c:val>
            <c:numRef>
              <c:f>Sheet1!$C$2:$C$11</c:f>
              <c:numCache>
                <c:formatCode>General</c:formatCode>
                <c:ptCount val="10"/>
                <c:pt idx="0">
                  <c:v>0.25641025641025639</c:v>
                </c:pt>
                <c:pt idx="1">
                  <c:v>0.14102564102564102</c:v>
                </c:pt>
                <c:pt idx="2">
                  <c:v>9.0811965811965795E-2</c:v>
                </c:pt>
                <c:pt idx="3">
                  <c:v>7.478632478632477E-2</c:v>
                </c:pt>
                <c:pt idx="4">
                  <c:v>7.1581196581196563E-2</c:v>
                </c:pt>
                <c:pt idx="5">
                  <c:v>8.226495726495725E-2</c:v>
                </c:pt>
                <c:pt idx="6">
                  <c:v>3.9529914529914521E-2</c:v>
                </c:pt>
                <c:pt idx="7">
                  <c:v>3.6324786324786314E-2</c:v>
                </c:pt>
                <c:pt idx="8">
                  <c:v>3.9529914529914521E-2</c:v>
                </c:pt>
                <c:pt idx="9">
                  <c:v>0.167735042735042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 Bligny</c:v>
                </c:pt>
                <c:pt idx="4">
                  <c:v>Besserat De Bellefon</c:v>
                </c:pt>
                <c:pt idx="5">
                  <c:v>Henriot</c:v>
                </c:pt>
                <c:pt idx="6">
                  <c:v>De Venoge</c:v>
                </c:pt>
                <c:pt idx="7">
                  <c:v>Taittinger</c:v>
                </c:pt>
                <c:pt idx="8">
                  <c:v>Delamotte</c:v>
                </c:pt>
                <c:pt idx="9">
                  <c:v>Others</c:v>
                </c:pt>
              </c:strCache>
            </c:strRef>
          </c:cat>
          <c:val>
            <c:numRef>
              <c:f>Sheet1!$D$2:$D$11</c:f>
              <c:numCache>
                <c:formatCode>General</c:formatCode>
                <c:ptCount val="10"/>
                <c:pt idx="0">
                  <c:v>41.647793069060569</c:v>
                </c:pt>
                <c:pt idx="1">
                  <c:v>161.58734650121696</c:v>
                </c:pt>
                <c:pt idx="2">
                  <c:v>105.83762516711046</c:v>
                </c:pt>
                <c:pt idx="3">
                  <c:v>154.19819704207816</c:v>
                </c:pt>
                <c:pt idx="4">
                  <c:v>185.05478130731163</c:v>
                </c:pt>
                <c:pt idx="5">
                  <c:v>319.52980405307039</c:v>
                </c:pt>
                <c:pt idx="6">
                  <c:v>174.62486733067843</c:v>
                </c:pt>
                <c:pt idx="7">
                  <c:v>213.88081080335567</c:v>
                </c:pt>
                <c:pt idx="8">
                  <c:v>250.54118682530589</c:v>
                </c:pt>
                <c:pt idx="9">
                  <c:v>390.691410591556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1274CE-A520-4187-9F01-BCC4D92A53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8D7F30-A0C3-4034-B034-933A1D7FA7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276BBA7-BEC4-4907-AEA7-15BC45F47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5D4AC91-E96D-4708-9DB3-BC81F9F259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F2353B1-7D5F-487D-A13B-8CA0685124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253768-23E6-4FD5-8C2D-2F321CCCC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E9E21BB-E438-4391-922C-E8F5F7E75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039999999999999</c:v>
                </c:pt>
                <c:pt idx="1">
                  <c:v>7.4999999999999997E-3</c:v>
                </c:pt>
                <c:pt idx="2">
                  <c:v>0.1016</c:v>
                </c:pt>
              </c:numCache>
            </c:numRef>
          </c:xVal>
          <c:yVal>
            <c:numRef>
              <c:f>Sheet1!$B$2:$B$4</c:f>
              <c:numCache>
                <c:formatCode>General</c:formatCode>
                <c:ptCount val="3"/>
                <c:pt idx="0">
                  <c:v>40.512195121951223</c:v>
                </c:pt>
                <c:pt idx="1">
                  <c:v>181.18072289156629</c:v>
                </c:pt>
                <c:pt idx="2">
                  <c:v>49.186046511627907</c:v>
                </c:pt>
              </c:numCache>
            </c:numRef>
          </c:yVal>
          <c:bubbleSize>
            <c:numRef>
              <c:f>Sheet1!$C$2:$C$4</c:f>
              <c:numCache>
                <c:formatCode>General</c:formatCode>
                <c:ptCount val="3"/>
                <c:pt idx="0">
                  <c:v>1203.7316000000001</c:v>
                </c:pt>
                <c:pt idx="1">
                  <c:v>12437.480100000001</c:v>
                </c:pt>
                <c:pt idx="2">
                  <c:v>1583.4626000000001</c:v>
                </c:pt>
              </c:numCache>
            </c:numRef>
          </c:bubbleSize>
          <c:bubble3D val="0"/>
          <c:extLst>
            <c:ext xmlns:c15="http://schemas.microsoft.com/office/drawing/2012/chart" uri="{02D57815-91ED-43cb-92C2-25804820EDAC}">
              <c15:datalabelsRange>
                <c15:f>Sheet1!$E$2:$E$50</c15:f>
                <c15:dlblRangeCache>
                  <c:ptCount val="49"/>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C33918B-2DFA-4425-BA41-2438FE8868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8D1F0F-EFE6-4D57-9C2B-F4857C94DE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D4AB935A-D14E-45D1-981C-64CA7CCD4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D4D80B0-09AE-4967-A4C5-14DC926D17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30ED835-68F2-411C-992C-859A5263BF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16786CE-7419-48BB-A472-27B9ED4BD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67401AC-6934-4B99-A0BE-13FE1F3F4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1.12E-2</c:v>
                </c:pt>
                <c:pt idx="1">
                  <c:v>0.11559999999999999</c:v>
                </c:pt>
              </c:numCache>
            </c:numRef>
          </c:xVal>
          <c:yVal>
            <c:numRef>
              <c:f>Sheet1!$B$2:$B$3</c:f>
              <c:numCache>
                <c:formatCode>General</c:formatCode>
                <c:ptCount val="2"/>
                <c:pt idx="0">
                  <c:v>167.5</c:v>
                </c:pt>
                <c:pt idx="1">
                  <c:v>57.31707317073171</c:v>
                </c:pt>
              </c:numCache>
            </c:numRef>
          </c:yVal>
          <c:bubbleSize>
            <c:numRef>
              <c:f>Sheet1!$C$2:$C$3</c:f>
              <c:numCache>
                <c:formatCode>General</c:formatCode>
                <c:ptCount val="2"/>
                <c:pt idx="0">
                  <c:v>8833.3191999999999</c:v>
                </c:pt>
                <c:pt idx="1">
                  <c:v>1731.9738</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F246FA7-C677-4B97-9D7A-146C90562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371DD4-4BEE-411E-8A00-0693C8AD1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CB4D874-188E-4122-A7D4-BB88DC56F0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86AB391-83FF-4EB6-A76F-44816DA73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24156DA-146A-449F-AECA-5C6B7F73A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88A21B0-ECF8-460E-94B0-8AAB3BB2DF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F7CF28-AF1D-4348-86F2-5AEBBB232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3.09E-2</c:v>
                </c:pt>
                <c:pt idx="1">
                  <c:v>9.9699999999999997E-2</c:v>
                </c:pt>
              </c:numCache>
            </c:numRef>
          </c:xVal>
          <c:yVal>
            <c:numRef>
              <c:f>Sheet1!$B$2:$B$3</c:f>
              <c:numCache>
                <c:formatCode>General</c:formatCode>
                <c:ptCount val="2"/>
                <c:pt idx="0">
                  <c:v>69.044117647058826</c:v>
                </c:pt>
                <c:pt idx="1">
                  <c:v>36.769230769230766</c:v>
                </c:pt>
              </c:numCache>
            </c:numRef>
          </c:yVal>
          <c:bubbleSize>
            <c:numRef>
              <c:f>Sheet1!$C$2:$C$3</c:f>
              <c:numCache>
                <c:formatCode>General</c:formatCode>
                <c:ptCount val="2"/>
                <c:pt idx="0">
                  <c:v>3791.6606000000002</c:v>
                </c:pt>
                <c:pt idx="1">
                  <c:v>1434.4893999999999</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9FA79D8-7852-4D28-AE03-0D48F6764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41D62C-E3C0-4269-8D80-EA257A60F3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3069267-C6CA-41B0-BACC-B0B1E8D60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3900E05-94EA-418E-9486-6B2E269D5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2AA2B7A-D97F-4CA7-AB90-1BFA5E2ECB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76D8156-7DD1-43C2-B915-D8E87B4B1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B248C00-F318-4750-B437-2084EBACC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1.7600000000000001E-2</c:v>
                </c:pt>
                <c:pt idx="1">
                  <c:v>0.1147</c:v>
                </c:pt>
              </c:numCache>
            </c:numRef>
          </c:xVal>
          <c:yVal>
            <c:numRef>
              <c:f>Sheet1!$B$2:$B$3</c:f>
              <c:numCache>
                <c:formatCode>General</c:formatCode>
                <c:ptCount val="2"/>
                <c:pt idx="0">
                  <c:v>63.61904761904762</c:v>
                </c:pt>
                <c:pt idx="1">
                  <c:v>23.35483870967742</c:v>
                </c:pt>
              </c:numCache>
            </c:numRef>
          </c:yVal>
          <c:bubbleSize>
            <c:numRef>
              <c:f>Sheet1!$C$2:$C$3</c:f>
              <c:numCache>
                <c:formatCode>General</c:formatCode>
                <c:ptCount val="2"/>
                <c:pt idx="0">
                  <c:v>4374.9930000000004</c:v>
                </c:pt>
                <c:pt idx="1">
                  <c:v>1068.3076000000001</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pt idx="1">
                    <c:v>CHAMPAGNE NICOLAS ROSE 1ERE CU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99C8A21-954B-45A5-B00E-2137C421B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81077F40-1842-411A-8F79-24E096A11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41F5698-A339-419C-856A-74195EE16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B67E02-5BAF-4BCA-AC77-C6033A56D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24D0DD0-C711-4ADA-AF92-98BF0BBDF0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FAB7B19-A512-4DB7-8F64-A64E4F8C09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2AED128-E987-4293-9C72-CAB9384E7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1.3599999999999999E-2</c:v>
                </c:pt>
              </c:numCache>
            </c:numRef>
          </c:xVal>
          <c:yVal>
            <c:numRef>
              <c:f>Sheet1!$B$2:$B$2</c:f>
              <c:numCache>
                <c:formatCode>General</c:formatCode>
                <c:ptCount val="1"/>
                <c:pt idx="0">
                  <c:v>91.92</c:v>
                </c:pt>
              </c:numCache>
            </c:numRef>
          </c:yVal>
          <c:bubbleSize>
            <c:numRef>
              <c:f>Sheet1!$C$2:$C$2</c:f>
              <c:numCache>
                <c:formatCode>General</c:formatCode>
                <c:ptCount val="1"/>
                <c:pt idx="0">
                  <c:v>5666.6575999999995</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37C881E-04B9-43C2-A008-6A5DCB4AE4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56D217C3-F534-4AA2-8D88-BD37C1142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8F9882F-0DFF-4D1D-9267-6D4E364775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4D462DC-7D2A-42C6-8D40-15567B8816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82802ED-00DD-4DEC-9957-38499F129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C0CC0C-907A-4E99-8215-399D1F2339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9379023-0E72-44BD-92FC-6993B077C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1.4E-2</c:v>
                </c:pt>
              </c:numCache>
            </c:numRef>
          </c:xVal>
          <c:yVal>
            <c:numRef>
              <c:f>Sheet1!$B$2:$B$2</c:f>
              <c:numCache>
                <c:formatCode>General</c:formatCode>
                <c:ptCount val="1"/>
                <c:pt idx="0">
                  <c:v>121.4225352112676</c:v>
                </c:pt>
              </c:numCache>
            </c:numRef>
          </c:yVal>
          <c:bubbleSize>
            <c:numRef>
              <c:f>Sheet1!$C$2:$C$2</c:f>
              <c:numCache>
                <c:formatCode>General</c:formatCode>
                <c:ptCount val="1"/>
                <c:pt idx="0">
                  <c:v>7083.3220000000001</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F9F4F8-0917-4211-BB72-DEFAD4E5E8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BA3AFDE8-A6FC-41F6-B9E0-F64AF10D2D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873C40E-EAEA-43EA-A260-4EC4E6D5F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93A182B-60C8-42BD-B960-10720A8C86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1A8E4B5-C426-49BC-A433-91DD4327A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606B615-1A17-4DAC-B43C-F56228364F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9442AC-77AF-43D1-BA37-39290762F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3.0200000000000001E-2</c:v>
                </c:pt>
              </c:numCache>
            </c:numRef>
          </c:xVal>
          <c:yVal>
            <c:numRef>
              <c:f>Sheet1!$B$2:$B$2</c:f>
              <c:numCache>
                <c:formatCode>General</c:formatCode>
                <c:ptCount val="1"/>
                <c:pt idx="0">
                  <c:v>70.892857142857139</c:v>
                </c:pt>
              </c:numCache>
            </c:numRef>
          </c:yVal>
          <c:bubbleSize>
            <c:numRef>
              <c:f>Sheet1!$C$2:$C$2</c:f>
              <c:numCache>
                <c:formatCode>General</c:formatCode>
                <c:ptCount val="1"/>
                <c:pt idx="0">
                  <c:v>3208.3281999999999</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432F377-DEF6-429F-BCD0-E59F1AE86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6128992-1AF1-432D-A258-1FCBAEF51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DB5FBC5-FADC-4804-BB21-B42D1CCBA2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33D4A6E-CAB6-42E9-B50D-6193E656D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F4D8528-5619-4487-871E-181145EAB2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D31E00C-9CA2-4DB9-A6EA-1D540912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B9D9645-C90F-4E9F-97B8-FE9DF4F5D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2.6800000000000001E-2</c:v>
                </c:pt>
              </c:numCache>
            </c:numRef>
          </c:xVal>
          <c:yVal>
            <c:numRef>
              <c:f>Sheet1!$B$2:$B$2</c:f>
              <c:numCache>
                <c:formatCode>General</c:formatCode>
                <c:ptCount val="1"/>
                <c:pt idx="0">
                  <c:v>63.303571428571423</c:v>
                </c:pt>
              </c:numCache>
            </c:numRef>
          </c:yVal>
          <c:bubbleSize>
            <c:numRef>
              <c:f>Sheet1!$C$2:$C$2</c:f>
              <c:numCache>
                <c:formatCode>General</c:formatCode>
                <c:ptCount val="1"/>
                <c:pt idx="0">
                  <c:v>2874.9953999999998</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62ED5C5-052E-46A2-BA02-DEEEA0519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191193B1-8086-4B0A-AFEE-9678A40BF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F8E6BD8-D63F-4C04-8AAC-815A02BED7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30F6BCE-5F7B-4F1D-9DC1-0DF74857C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B28E081-614E-4E0A-A8B6-3410A036C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C2F94D5-214A-4E36-A8C9-5DD667923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C7D8716-892D-4C36-A4CA-DB1554556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4.9700000000000001E-2</c:v>
                </c:pt>
              </c:numCache>
            </c:numRef>
          </c:xVal>
          <c:yVal>
            <c:numRef>
              <c:f>Sheet1!$B$2:$B$2</c:f>
              <c:numCache>
                <c:formatCode>General</c:formatCode>
                <c:ptCount val="1"/>
                <c:pt idx="0">
                  <c:v>39.9</c:v>
                </c:pt>
              </c:numCache>
            </c:numRef>
          </c:yVal>
          <c:bubbleSize>
            <c:numRef>
              <c:f>Sheet1!$C$2:$C$2</c:f>
              <c:numCache>
                <c:formatCode>General</c:formatCode>
                <c:ptCount val="1"/>
                <c:pt idx="0">
                  <c:v>1895.830300000001</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68CDEF-3198-4495-A8CC-B1E86DFF27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CCB8365C-24F1-4D8B-AFB9-5E0AF97BA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107BC2B-C514-42FC-9902-22735D43D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B87A99-D1E8-4FA1-AE11-5D8018FB0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A607F3E-3518-41B8-97A8-28496E9000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4268F6-49EE-490F-983A-12F385C47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38E8AFE-0828-4E4D-9377-C50A2FF9E2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6.59E-2</c:v>
                </c:pt>
              </c:numCache>
            </c:numRef>
          </c:xVal>
          <c:yVal>
            <c:numRef>
              <c:f>Sheet1!$B$2:$B$2</c:f>
              <c:numCache>
                <c:formatCode>General</c:formatCode>
                <c:ptCount val="1"/>
                <c:pt idx="0">
                  <c:v>29.83606557377049</c:v>
                </c:pt>
              </c:numCache>
            </c:numRef>
          </c:yVal>
          <c:bubbleSize>
            <c:numRef>
              <c:f>Sheet1!$C$2:$C$2</c:f>
              <c:numCache>
                <c:formatCode>General</c:formatCode>
                <c:ptCount val="1"/>
                <c:pt idx="0">
                  <c:v>1416.6643999999999</c:v>
                </c:pt>
              </c:numCache>
            </c:numRef>
          </c:bubbleSize>
          <c:bubble3D val="0"/>
          <c:extLst>
            <c:ext xmlns:c15="http://schemas.microsoft.com/office/drawing/2012/chart" uri="{02D57815-91ED-43cb-92C2-25804820EDAC}">
              <c15:datalabelsRange>
                <c15:f>Sheet1!$E$2:$E$50</c15:f>
                <c15:dlblRangeCache>
                  <c:ptCount val="49"/>
                  <c:pt idx="0">
                    <c:v>CHAMPAGNE E.NICOLAS ROSE 1CT X 750ML</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Delamotte</c:v>
                </c:pt>
                <c:pt idx="6">
                  <c:v>De Bligny</c:v>
                </c:pt>
                <c:pt idx="7">
                  <c:v>Ayala</c:v>
                </c:pt>
                <c:pt idx="8">
                  <c:v>Taittinger</c:v>
                </c:pt>
                <c:pt idx="9">
                  <c:v>Others</c:v>
                </c:pt>
              </c:strCache>
            </c:strRef>
          </c:cat>
          <c:val>
            <c:numRef>
              <c:f>Sheet1!$B$2:$B$11</c:f>
              <c:numCache>
                <c:formatCode>General</c:formatCode>
                <c:ptCount val="10"/>
                <c:pt idx="0">
                  <c:v>0.63443730033563828</c:v>
                </c:pt>
                <c:pt idx="1">
                  <c:v>0.10563845417660776</c:v>
                </c:pt>
                <c:pt idx="2">
                  <c:v>5.8810842870044615E-2</c:v>
                </c:pt>
                <c:pt idx="3">
                  <c:v>5.3715610551713915E-2</c:v>
                </c:pt>
                <c:pt idx="4">
                  <c:v>3.2148489627562782E-2</c:v>
                </c:pt>
                <c:pt idx="5">
                  <c:v>2.9830024128216535E-2</c:v>
                </c:pt>
                <c:pt idx="6">
                  <c:v>2.5516599943386307E-2</c:v>
                </c:pt>
                <c:pt idx="7">
                  <c:v>2.2011942793211749E-2</c:v>
                </c:pt>
                <c:pt idx="8">
                  <c:v>1.4301697062827719E-2</c:v>
                </c:pt>
                <c:pt idx="9">
                  <c:v>2.358903851079030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Delamotte</c:v>
                </c:pt>
                <c:pt idx="6">
                  <c:v>De Bligny</c:v>
                </c:pt>
                <c:pt idx="7">
                  <c:v>Ayala</c:v>
                </c:pt>
                <c:pt idx="8">
                  <c:v>Taittinger</c:v>
                </c:pt>
                <c:pt idx="9">
                  <c:v>Others</c:v>
                </c:pt>
              </c:strCache>
            </c:strRef>
          </c:cat>
          <c:val>
            <c:numRef>
              <c:f>Sheet1!$C$2:$C$11</c:f>
              <c:numCache>
                <c:formatCode>General</c:formatCode>
                <c:ptCount val="10"/>
                <c:pt idx="0">
                  <c:v>0.235965746907707</c:v>
                </c:pt>
                <c:pt idx="1">
                  <c:v>8.0875356803044737E-2</c:v>
                </c:pt>
                <c:pt idx="2">
                  <c:v>0.1607992388201713</c:v>
                </c:pt>
                <c:pt idx="3">
                  <c:v>9.7050428163653682E-2</c:v>
                </c:pt>
                <c:pt idx="4">
                  <c:v>7.0409134157944822E-2</c:v>
                </c:pt>
                <c:pt idx="5">
                  <c:v>5.8039961941008585E-2</c:v>
                </c:pt>
                <c:pt idx="6">
                  <c:v>3.615604186489059E-2</c:v>
                </c:pt>
                <c:pt idx="7">
                  <c:v>7.7069457659372037E-2</c:v>
                </c:pt>
                <c:pt idx="8">
                  <c:v>5.9942911512844921E-2</c:v>
                </c:pt>
                <c:pt idx="9">
                  <c:v>0.123691722169362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Besserat De Bellefon</c:v>
                </c:pt>
                <c:pt idx="4">
                  <c:v>Henriot</c:v>
                </c:pt>
                <c:pt idx="5">
                  <c:v>Delamotte</c:v>
                </c:pt>
                <c:pt idx="6">
                  <c:v>De Bligny</c:v>
                </c:pt>
                <c:pt idx="7">
                  <c:v>Ayala</c:v>
                </c:pt>
                <c:pt idx="8">
                  <c:v>Taittinger</c:v>
                </c:pt>
                <c:pt idx="9">
                  <c:v>Others</c:v>
                </c:pt>
              </c:strCache>
            </c:strRef>
          </c:cat>
          <c:val>
            <c:numRef>
              <c:f>Sheet1!$D$2:$D$11</c:f>
              <c:numCache>
                <c:formatCode>General</c:formatCode>
                <c:ptCount val="10"/>
                <c:pt idx="0">
                  <c:v>37.192918320356213</c:v>
                </c:pt>
                <c:pt idx="1">
                  <c:v>76.558633343721823</c:v>
                </c:pt>
                <c:pt idx="2">
                  <c:v>273.41767431473869</c:v>
                </c:pt>
                <c:pt idx="3">
                  <c:v>180.67453235073964</c:v>
                </c:pt>
                <c:pt idx="4">
                  <c:v>219.01226145809022</c:v>
                </c:pt>
                <c:pt idx="5">
                  <c:v>194.56894064697713</c:v>
                </c:pt>
                <c:pt idx="6">
                  <c:v>141.69615836400624</c:v>
                </c:pt>
                <c:pt idx="7">
                  <c:v>350.12564944126348</c:v>
                </c:pt>
                <c:pt idx="8">
                  <c:v>419.13145866196288</c:v>
                </c:pt>
                <c:pt idx="9">
                  <c:v>524.361016718771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38</c:v>
                </c:pt>
                <c:pt idx="1">
                  <c:v>0.41</c:v>
                </c:pt>
                <c:pt idx="2">
                  <c:v>0.16</c:v>
                </c:pt>
                <c:pt idx="3">
                  <c:v>0.48</c:v>
                </c:pt>
                <c:pt idx="4">
                  <c:v>0.83</c:v>
                </c:pt>
                <c:pt idx="5">
                  <c:v>0.75</c:v>
                </c:pt>
                <c:pt idx="6">
                  <c:v>0.23</c:v>
                </c:pt>
                <c:pt idx="7">
                  <c:v>0.49</c:v>
                </c:pt>
                <c:pt idx="8">
                  <c:v>0.99</c:v>
                </c:pt>
                <c:pt idx="9">
                  <c:v>0.73</c:v>
                </c:pt>
                <c:pt idx="10">
                  <c:v>0.43</c:v>
                </c:pt>
              </c:numCache>
            </c:numRef>
          </c:xVal>
          <c:yVal>
            <c:numRef>
              <c:f>Sheet1!$B$2:$B$12</c:f>
              <c:numCache>
                <c:formatCode>General</c:formatCode>
                <c:ptCount val="11"/>
                <c:pt idx="0">
                  <c:v>73.526315789473685</c:v>
                </c:pt>
                <c:pt idx="1">
                  <c:v>40.512195121951223</c:v>
                </c:pt>
                <c:pt idx="2">
                  <c:v>134.25</c:v>
                </c:pt>
                <c:pt idx="3">
                  <c:v>100.6666666666667</c:v>
                </c:pt>
                <c:pt idx="4">
                  <c:v>181.18072289156629</c:v>
                </c:pt>
                <c:pt idx="5">
                  <c:v>155.21333333333331</c:v>
                </c:pt>
                <c:pt idx="6">
                  <c:v>108.17391304347829</c:v>
                </c:pt>
                <c:pt idx="7">
                  <c:v>107.91836734693879</c:v>
                </c:pt>
                <c:pt idx="8">
                  <c:v>2042.434343434343</c:v>
                </c:pt>
                <c:pt idx="9">
                  <c:v>157.7397260273973</c:v>
                </c:pt>
                <c:pt idx="10">
                  <c:v>49.186046511627907</c:v>
                </c:pt>
              </c:numCache>
            </c:numRef>
          </c:yVal>
          <c:bubbleSize>
            <c:numRef>
              <c:f>Sheet1!$C$2:$C$12</c:f>
              <c:numCache>
                <c:formatCode>General</c:formatCode>
                <c:ptCount val="11"/>
                <c:pt idx="0">
                  <c:v>1419.2177999999999</c:v>
                </c:pt>
                <c:pt idx="1">
                  <c:v>1203.7316000000001</c:v>
                </c:pt>
                <c:pt idx="2">
                  <c:v>1560.2153000000001</c:v>
                </c:pt>
                <c:pt idx="3">
                  <c:v>3877.0844999999999</c:v>
                </c:pt>
                <c:pt idx="4">
                  <c:v>12437.480100000001</c:v>
                </c:pt>
                <c:pt idx="5">
                  <c:v>9648.4393000000018</c:v>
                </c:pt>
                <c:pt idx="6">
                  <c:v>1278.75</c:v>
                </c:pt>
                <c:pt idx="7">
                  <c:v>4171.1099999999997</c:v>
                </c:pt>
                <c:pt idx="8">
                  <c:v>163212.90659999999</c:v>
                </c:pt>
                <c:pt idx="9">
                  <c:v>8664.1614000000009</c:v>
                </c:pt>
                <c:pt idx="10">
                  <c:v>1583.4626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31</c:v>
                </c:pt>
                <c:pt idx="1">
                  <c:v>0.49</c:v>
                </c:pt>
                <c:pt idx="2">
                  <c:v>0.64</c:v>
                </c:pt>
                <c:pt idx="3">
                  <c:v>0.52</c:v>
                </c:pt>
                <c:pt idx="4">
                  <c:v>0.37</c:v>
                </c:pt>
                <c:pt idx="5">
                  <c:v>1</c:v>
                </c:pt>
                <c:pt idx="6">
                  <c:v>0.63</c:v>
                </c:pt>
                <c:pt idx="7">
                  <c:v>0.41</c:v>
                </c:pt>
                <c:pt idx="8">
                  <c:v>0.3</c:v>
                </c:pt>
                <c:pt idx="9">
                  <c:v>0.22</c:v>
                </c:pt>
              </c:numCache>
            </c:numRef>
          </c:xVal>
          <c:yVal>
            <c:numRef>
              <c:f>Sheet1!$B$2:$B$11</c:f>
              <c:numCache>
                <c:formatCode>General</c:formatCode>
                <c:ptCount val="10"/>
                <c:pt idx="0">
                  <c:v>105.258064516129</c:v>
                </c:pt>
                <c:pt idx="1">
                  <c:v>175.91836734693879</c:v>
                </c:pt>
                <c:pt idx="2">
                  <c:v>167.5</c:v>
                </c:pt>
                <c:pt idx="3">
                  <c:v>219.21153846153851</c:v>
                </c:pt>
                <c:pt idx="4">
                  <c:v>82.675675675675677</c:v>
                </c:pt>
                <c:pt idx="5">
                  <c:v>1829.28</c:v>
                </c:pt>
                <c:pt idx="6">
                  <c:v>348.38095238095241</c:v>
                </c:pt>
                <c:pt idx="7">
                  <c:v>57.31707317073171</c:v>
                </c:pt>
                <c:pt idx="8">
                  <c:v>72.066666666666663</c:v>
                </c:pt>
                <c:pt idx="9">
                  <c:v>69.090909090909093</c:v>
                </c:pt>
              </c:numCache>
            </c:numRef>
          </c:yVal>
          <c:bubbleSize>
            <c:numRef>
              <c:f>Sheet1!$C$2:$C$11</c:f>
              <c:numCache>
                <c:formatCode>General</c:formatCode>
                <c:ptCount val="10"/>
                <c:pt idx="0">
                  <c:v>2232.8229000000001</c:v>
                </c:pt>
                <c:pt idx="1">
                  <c:v>7042.5024000000003</c:v>
                </c:pt>
                <c:pt idx="2">
                  <c:v>8833.3191999999999</c:v>
                </c:pt>
                <c:pt idx="3">
                  <c:v>9807.258600000001</c:v>
                </c:pt>
                <c:pt idx="4">
                  <c:v>2404.0725000000002</c:v>
                </c:pt>
                <c:pt idx="5">
                  <c:v>146068.99830000001</c:v>
                </c:pt>
                <c:pt idx="6">
                  <c:v>16531.504199999999</c:v>
                </c:pt>
                <c:pt idx="7">
                  <c:v>1731.9738</c:v>
                </c:pt>
                <c:pt idx="8">
                  <c:v>1669.8806</c:v>
                </c:pt>
                <c:pt idx="9">
                  <c:v>1120.717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pt idx="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4</c:v>
                </c:pt>
                <c:pt idx="1">
                  <c:v>0.68</c:v>
                </c:pt>
                <c:pt idx="2">
                  <c:v>0.9</c:v>
                </c:pt>
                <c:pt idx="3">
                  <c:v>0.61</c:v>
                </c:pt>
                <c:pt idx="4">
                  <c:v>1</c:v>
                </c:pt>
                <c:pt idx="5">
                  <c:v>0.67</c:v>
                </c:pt>
                <c:pt idx="6">
                  <c:v>0.52</c:v>
                </c:pt>
              </c:numCache>
            </c:numRef>
          </c:xVal>
          <c:yVal>
            <c:numRef>
              <c:f>Sheet1!$B$2:$B$8</c:f>
              <c:numCache>
                <c:formatCode>General</c:formatCode>
                <c:ptCount val="7"/>
                <c:pt idx="0">
                  <c:v>42.558823529411768</c:v>
                </c:pt>
                <c:pt idx="1">
                  <c:v>69.044117647058826</c:v>
                </c:pt>
                <c:pt idx="2">
                  <c:v>67.266666666666666</c:v>
                </c:pt>
                <c:pt idx="3">
                  <c:v>45.557377049180317</c:v>
                </c:pt>
                <c:pt idx="4">
                  <c:v>956.39</c:v>
                </c:pt>
                <c:pt idx="5">
                  <c:v>118.1791044776119</c:v>
                </c:pt>
                <c:pt idx="6">
                  <c:v>36.769230769230766</c:v>
                </c:pt>
              </c:numCache>
            </c:numRef>
          </c:yVal>
          <c:bubbleSize>
            <c:numRef>
              <c:f>Sheet1!$C$2:$C$8</c:f>
              <c:numCache>
                <c:formatCode>General</c:formatCode>
                <c:ptCount val="7"/>
                <c:pt idx="0">
                  <c:v>1131.6672000000001</c:v>
                </c:pt>
                <c:pt idx="1">
                  <c:v>3791.6606000000002</c:v>
                </c:pt>
                <c:pt idx="2">
                  <c:v>4882.7226000000001</c:v>
                </c:pt>
                <c:pt idx="3">
                  <c:v>2151.1799999999998</c:v>
                </c:pt>
                <c:pt idx="4">
                  <c:v>76538.395900000003</c:v>
                </c:pt>
                <c:pt idx="5">
                  <c:v>5937.3135000000002</c:v>
                </c:pt>
                <c:pt idx="6">
                  <c:v>1434.489399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E.NICOLAS ROSE 1CT X 750ML</c:v>
                  </c:pt>
                  <c:pt idx="2">
                    <c:v>CHAMPAGNE NICOLAS 1ERE CUVEE 1CT X 750ML</c:v>
                  </c:pt>
                  <c:pt idx="3">
                    <c:v>1/2 CHAMPAGNE NICOLAS 1ERE CUV 1CT X 375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3</c:v>
                </c:pt>
                <c:pt idx="1">
                  <c:v>0.62</c:v>
                </c:pt>
                <c:pt idx="2">
                  <c:v>0.84</c:v>
                </c:pt>
                <c:pt idx="3">
                  <c:v>0.54</c:v>
                </c:pt>
                <c:pt idx="4">
                  <c:v>1</c:v>
                </c:pt>
                <c:pt idx="5">
                  <c:v>0.87</c:v>
                </c:pt>
                <c:pt idx="6">
                  <c:v>0.62</c:v>
                </c:pt>
              </c:numCache>
            </c:numRef>
          </c:xVal>
          <c:yVal>
            <c:numRef>
              <c:f>Sheet1!$B$2:$B$8</c:f>
              <c:numCache>
                <c:formatCode>General</c:formatCode>
                <c:ptCount val="7"/>
                <c:pt idx="0">
                  <c:v>35.460317460317462</c:v>
                </c:pt>
                <c:pt idx="1">
                  <c:v>26.14516129032258</c:v>
                </c:pt>
                <c:pt idx="2">
                  <c:v>63.61904761904762</c:v>
                </c:pt>
                <c:pt idx="3">
                  <c:v>39.296296296296298</c:v>
                </c:pt>
                <c:pt idx="4">
                  <c:v>561.4</c:v>
                </c:pt>
                <c:pt idx="5">
                  <c:v>92.183908045977006</c:v>
                </c:pt>
                <c:pt idx="6">
                  <c:v>23.35483870967742</c:v>
                </c:pt>
              </c:numCache>
            </c:numRef>
          </c:yVal>
          <c:bubbleSize>
            <c:numRef>
              <c:f>Sheet1!$C$2:$C$8</c:f>
              <c:numCache>
                <c:formatCode>General</c:formatCode>
                <c:ptCount val="7"/>
                <c:pt idx="0">
                  <c:v>1650.7646</c:v>
                </c:pt>
                <c:pt idx="1">
                  <c:v>1244.5839000000001</c:v>
                </c:pt>
                <c:pt idx="2">
                  <c:v>4374.9930000000004</c:v>
                </c:pt>
                <c:pt idx="3">
                  <c:v>1768.5559000000001</c:v>
                </c:pt>
                <c:pt idx="4">
                  <c:v>44770.593800000002</c:v>
                </c:pt>
                <c:pt idx="5">
                  <c:v>5867.2008000000014</c:v>
                </c:pt>
                <c:pt idx="6">
                  <c:v>1068.3076000000001</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4</c:v>
                </c:pt>
                <c:pt idx="1">
                  <c:v>0.46</c:v>
                </c:pt>
                <c:pt idx="2">
                  <c:v>0.75</c:v>
                </c:pt>
                <c:pt idx="3">
                  <c:v>0.75</c:v>
                </c:pt>
                <c:pt idx="4">
                  <c:v>0.61</c:v>
                </c:pt>
                <c:pt idx="5">
                  <c:v>1</c:v>
                </c:pt>
                <c:pt idx="6">
                  <c:v>0.55000000000000004</c:v>
                </c:pt>
                <c:pt idx="7">
                  <c:v>0.56000000000000005</c:v>
                </c:pt>
              </c:numCache>
            </c:numRef>
          </c:xVal>
          <c:yVal>
            <c:numRef>
              <c:f>Sheet1!$B$2:$B$9</c:f>
              <c:numCache>
                <c:formatCode>General</c:formatCode>
                <c:ptCount val="8"/>
                <c:pt idx="0">
                  <c:v>53.7</c:v>
                </c:pt>
                <c:pt idx="1">
                  <c:v>98.978260869565219</c:v>
                </c:pt>
                <c:pt idx="2">
                  <c:v>91.92</c:v>
                </c:pt>
                <c:pt idx="3">
                  <c:v>75.293333333333337</c:v>
                </c:pt>
                <c:pt idx="4">
                  <c:v>36.295081967213108</c:v>
                </c:pt>
                <c:pt idx="5">
                  <c:v>1149.8800000000001</c:v>
                </c:pt>
                <c:pt idx="6">
                  <c:v>169.1454545454545</c:v>
                </c:pt>
                <c:pt idx="7">
                  <c:v>27.125</c:v>
                </c:pt>
              </c:numCache>
            </c:numRef>
          </c:yVal>
          <c:bubbleSize>
            <c:numRef>
              <c:f>Sheet1!$C$2:$C$9</c:f>
              <c:numCache>
                <c:formatCode>General</c:formatCode>
                <c:ptCount val="8"/>
                <c:pt idx="0">
                  <c:v>1541.3326999999999</c:v>
                </c:pt>
                <c:pt idx="1">
                  <c:v>3724.1676000000002</c:v>
                </c:pt>
                <c:pt idx="2">
                  <c:v>5666.6575999999995</c:v>
                </c:pt>
                <c:pt idx="3">
                  <c:v>4993.5696000000007</c:v>
                </c:pt>
                <c:pt idx="4">
                  <c:v>1714.905</c:v>
                </c:pt>
                <c:pt idx="5">
                  <c:v>91989.461899999995</c:v>
                </c:pt>
                <c:pt idx="6">
                  <c:v>6924.7790999999997</c:v>
                </c:pt>
                <c:pt idx="7">
                  <c:v>1406.8531</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4</c:v>
                </c:pt>
                <c:pt idx="1">
                  <c:v>0.35</c:v>
                </c:pt>
                <c:pt idx="2">
                  <c:v>0.71</c:v>
                </c:pt>
                <c:pt idx="3">
                  <c:v>0.87</c:v>
                </c:pt>
                <c:pt idx="4">
                  <c:v>0.45</c:v>
                </c:pt>
                <c:pt idx="5">
                  <c:v>0.43</c:v>
                </c:pt>
                <c:pt idx="6">
                  <c:v>1</c:v>
                </c:pt>
                <c:pt idx="7">
                  <c:v>0.65</c:v>
                </c:pt>
                <c:pt idx="8">
                  <c:v>0.28000000000000003</c:v>
                </c:pt>
              </c:numCache>
            </c:numRef>
          </c:xVal>
          <c:yVal>
            <c:numRef>
              <c:f>Sheet1!$B$2:$B$10</c:f>
              <c:numCache>
                <c:formatCode>General</c:formatCode>
                <c:ptCount val="9"/>
                <c:pt idx="0">
                  <c:v>70.8</c:v>
                </c:pt>
                <c:pt idx="1">
                  <c:v>67.114285714285714</c:v>
                </c:pt>
                <c:pt idx="2">
                  <c:v>121.4225352112676</c:v>
                </c:pt>
                <c:pt idx="3">
                  <c:v>91.298850574712645</c:v>
                </c:pt>
                <c:pt idx="4">
                  <c:v>62.244444444444447</c:v>
                </c:pt>
                <c:pt idx="5">
                  <c:v>54.046511627906973</c:v>
                </c:pt>
                <c:pt idx="6">
                  <c:v>1137.1300000000001</c:v>
                </c:pt>
                <c:pt idx="7">
                  <c:v>237.92307692307691</c:v>
                </c:pt>
                <c:pt idx="8">
                  <c:v>42.464285714285708</c:v>
                </c:pt>
              </c:numCache>
            </c:numRef>
          </c:yVal>
          <c:bubbleSize>
            <c:numRef>
              <c:f>Sheet1!$C$2:$C$10</c:f>
              <c:numCache>
                <c:formatCode>General</c:formatCode>
                <c:ptCount val="9"/>
                <c:pt idx="0">
                  <c:v>1918.5488</c:v>
                </c:pt>
                <c:pt idx="1">
                  <c:v>1846.6674</c:v>
                </c:pt>
                <c:pt idx="2">
                  <c:v>7083.3220000000001</c:v>
                </c:pt>
                <c:pt idx="3">
                  <c:v>6755.3112000000001</c:v>
                </c:pt>
                <c:pt idx="4">
                  <c:v>1382.94</c:v>
                </c:pt>
                <c:pt idx="5">
                  <c:v>1827.87</c:v>
                </c:pt>
                <c:pt idx="6">
                  <c:v>90795.169100000014</c:v>
                </c:pt>
                <c:pt idx="7">
                  <c:v>11660.7888</c:v>
                </c:pt>
                <c:pt idx="8">
                  <c:v>1024.5273</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MG CHAMPAGNE NICOLAS 1ERE CUVE 1CT X 1500ML</c:v>
                  </c:pt>
                  <c:pt idx="5">
                    <c:v>1/2 CHAMPAGNE NICOLAS 1ERE CUV 1CT X 375ML</c:v>
                  </c:pt>
                  <c:pt idx="6">
                    <c:v>CHAMPAGNE E.NICOLAS BRUT 1CT X 750ML</c:v>
                  </c:pt>
                  <c:pt idx="7">
                    <c:v>CHAMPAGNE NICOLAS BLC/BLC BS 1CT X 750ML</c:v>
                  </c:pt>
                  <c:pt idx="8">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56000000000000005</c:v>
                </c:pt>
                <c:pt idx="1">
                  <c:v>0.79</c:v>
                </c:pt>
                <c:pt idx="2">
                  <c:v>0.56999999999999995</c:v>
                </c:pt>
                <c:pt idx="3">
                  <c:v>1</c:v>
                </c:pt>
                <c:pt idx="4">
                  <c:v>0.63</c:v>
                </c:pt>
              </c:numCache>
            </c:numRef>
          </c:xVal>
          <c:yVal>
            <c:numRef>
              <c:f>Sheet1!$B$2:$B$6</c:f>
              <c:numCache>
                <c:formatCode>General</c:formatCode>
                <c:ptCount val="5"/>
                <c:pt idx="0">
                  <c:v>70.892857142857139</c:v>
                </c:pt>
                <c:pt idx="1">
                  <c:v>90.835443037974684</c:v>
                </c:pt>
                <c:pt idx="2">
                  <c:v>37.807017543859651</c:v>
                </c:pt>
                <c:pt idx="3">
                  <c:v>844.86</c:v>
                </c:pt>
                <c:pt idx="4">
                  <c:v>125.50793650793651</c:v>
                </c:pt>
              </c:numCache>
            </c:numRef>
          </c:yVal>
          <c:bubbleSize>
            <c:numRef>
              <c:f>Sheet1!$C$2:$C$6</c:f>
              <c:numCache>
                <c:formatCode>General</c:formatCode>
                <c:ptCount val="5"/>
                <c:pt idx="0">
                  <c:v>3208.3281999999999</c:v>
                </c:pt>
                <c:pt idx="1">
                  <c:v>5936.1959000000006</c:v>
                </c:pt>
                <c:pt idx="2">
                  <c:v>1660.0274999999999</c:v>
                </c:pt>
                <c:pt idx="3">
                  <c:v>67650.225100000011</c:v>
                </c:pt>
                <c:pt idx="4">
                  <c:v>5885.8821000000007</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1ERE CUVEE 1CT X 750ML</c:v>
                  </c:pt>
                  <c:pt idx="2">
                    <c:v>1/2 CHAMPAGNE NICOLAS 1ERE CUV 1CT X 375ML</c:v>
                  </c:pt>
                  <c:pt idx="3">
                    <c:v>CHAMPAGNE E.NICOLAS BRUT 1CT X 750ML</c:v>
                  </c:pt>
                  <c:pt idx="4">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49</c:v>
                </c:pt>
                <c:pt idx="1">
                  <c:v>0.56000000000000005</c:v>
                </c:pt>
                <c:pt idx="2">
                  <c:v>0.76</c:v>
                </c:pt>
                <c:pt idx="3">
                  <c:v>1</c:v>
                </c:pt>
                <c:pt idx="4">
                  <c:v>0.51</c:v>
                </c:pt>
                <c:pt idx="5">
                  <c:v>0.85</c:v>
                </c:pt>
              </c:numCache>
            </c:numRef>
          </c:xVal>
          <c:yVal>
            <c:numRef>
              <c:f>Sheet1!$B$2:$B$7</c:f>
              <c:numCache>
                <c:formatCode>General</c:formatCode>
                <c:ptCount val="6"/>
                <c:pt idx="0">
                  <c:v>38.551020408163268</c:v>
                </c:pt>
                <c:pt idx="1">
                  <c:v>63.303571428571423</c:v>
                </c:pt>
                <c:pt idx="2">
                  <c:v>48.723684210526322</c:v>
                </c:pt>
                <c:pt idx="3">
                  <c:v>635.45000000000005</c:v>
                </c:pt>
                <c:pt idx="4">
                  <c:v>56.411764705882362</c:v>
                </c:pt>
                <c:pt idx="5">
                  <c:v>18.564705882352939</c:v>
                </c:pt>
              </c:numCache>
            </c:numRef>
          </c:yVal>
          <c:bubbleSize>
            <c:numRef>
              <c:f>Sheet1!$C$2:$C$7</c:f>
              <c:numCache>
                <c:formatCode>General</c:formatCode>
                <c:ptCount val="6"/>
                <c:pt idx="0">
                  <c:v>1505.4170999999999</c:v>
                </c:pt>
                <c:pt idx="1">
                  <c:v>2874.9953999999998</c:v>
                </c:pt>
                <c:pt idx="2">
                  <c:v>3271.8853000000008</c:v>
                </c:pt>
                <c:pt idx="3">
                  <c:v>50783.436800000003</c:v>
                </c:pt>
                <c:pt idx="4">
                  <c:v>2124.1763999999998</c:v>
                </c:pt>
                <c:pt idx="5">
                  <c:v>1292.4392</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E.NICOLAS ROSE 1CT X 750ML</c:v>
                  </c:pt>
                  <c:pt idx="2">
                    <c:v>CHAMPAGNE NICOLAS 1ERE CUVEE 1CT X 750ML</c:v>
                  </c:pt>
                  <c:pt idx="3">
                    <c:v>CHAMPAGNE E.NICOLAS BRUT 1CT X 750ML</c:v>
                  </c:pt>
                  <c:pt idx="4">
                    <c:v>CHAMPAGNE NICOLAS BLC/BLC BS 1CT X 750ML</c:v>
                  </c:pt>
                  <c:pt idx="5">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6</c:v>
                </c:pt>
                <c:pt idx="1">
                  <c:v>0.69</c:v>
                </c:pt>
                <c:pt idx="2">
                  <c:v>1</c:v>
                </c:pt>
                <c:pt idx="3">
                  <c:v>0.69</c:v>
                </c:pt>
              </c:numCache>
            </c:numRef>
          </c:xVal>
          <c:yVal>
            <c:numRef>
              <c:f>Sheet1!$B$2:$B$5</c:f>
              <c:numCache>
                <c:formatCode>General</c:formatCode>
                <c:ptCount val="4"/>
                <c:pt idx="0">
                  <c:v>39.9</c:v>
                </c:pt>
                <c:pt idx="1">
                  <c:v>43.115942028985508</c:v>
                </c:pt>
                <c:pt idx="2">
                  <c:v>391.8</c:v>
                </c:pt>
                <c:pt idx="3">
                  <c:v>59.420289855072461</c:v>
                </c:pt>
              </c:numCache>
            </c:numRef>
          </c:yVal>
          <c:bubbleSize>
            <c:numRef>
              <c:f>Sheet1!$C$2:$C$5</c:f>
              <c:numCache>
                <c:formatCode>General</c:formatCode>
                <c:ptCount val="4"/>
                <c:pt idx="0">
                  <c:v>1895.830300000001</c:v>
                </c:pt>
                <c:pt idx="1">
                  <c:v>2453.0792000000001</c:v>
                </c:pt>
                <c:pt idx="2">
                  <c:v>31331.627499999999</c:v>
                </c:pt>
                <c:pt idx="3">
                  <c:v>3020.8625999999999</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1ERE CUVEE 1CT X 750ML</c:v>
                  </c:pt>
                  <c:pt idx="2">
                    <c:v>CHAMPAGNE E.NICOLAS BRUT 1CT X 750ML</c:v>
                  </c:pt>
                  <c:pt idx="3">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1</c:v>
                </c:pt>
                <c:pt idx="1">
                  <c:v>0.8</c:v>
                </c:pt>
              </c:numCache>
            </c:numRef>
          </c:xVal>
          <c:yVal>
            <c:numRef>
              <c:f>Sheet1!$B$2:$B$3</c:f>
              <c:numCache>
                <c:formatCode>General</c:formatCode>
                <c:ptCount val="2"/>
                <c:pt idx="0">
                  <c:v>196.9</c:v>
                </c:pt>
                <c:pt idx="1">
                  <c:v>33.737499999999997</c:v>
                </c:pt>
              </c:numCache>
            </c:numRef>
          </c:yVal>
          <c:bubbleSize>
            <c:numRef>
              <c:f>Sheet1!$C$2:$C$3</c:f>
              <c:numCache>
                <c:formatCode>General</c:formatCode>
                <c:ptCount val="2"/>
                <c:pt idx="0">
                  <c:v>15643.313599999999</c:v>
                </c:pt>
                <c:pt idx="1">
                  <c:v>1980.9558</c:v>
                </c:pt>
              </c:numCache>
            </c:numRef>
          </c:bubbleSize>
          <c:bubble3D val="0"/>
          <c:extLst>
            <c:ext xmlns:c15="http://schemas.microsoft.com/office/drawing/2012/chart" uri="{02D57815-91ED-43cb-92C2-25804820EDAC}">
              <c15:datalabelsRange>
                <c15:f>Sheet1!$E$2:$E$21</c15:f>
                <c15:dlblRangeCache>
                  <c:ptCount val="20"/>
                  <c:pt idx="0">
                    <c:v>CHAMPAGNE E.NICOLAS BRUT 1CT X 75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Besserat De Bellefon</c:v>
                </c:pt>
                <c:pt idx="3">
                  <c:v>Nicolas</c:v>
                </c:pt>
                <c:pt idx="4">
                  <c:v>Henriot</c:v>
                </c:pt>
                <c:pt idx="5">
                  <c:v>De Bligny</c:v>
                </c:pt>
                <c:pt idx="6">
                  <c:v>Delamotte</c:v>
                </c:pt>
                <c:pt idx="7">
                  <c:v>Ayala</c:v>
                </c:pt>
                <c:pt idx="8">
                  <c:v>Deutz</c:v>
                </c:pt>
                <c:pt idx="9">
                  <c:v>Others</c:v>
                </c:pt>
              </c:strCache>
            </c:strRef>
          </c:cat>
          <c:val>
            <c:numRef>
              <c:f>Sheet1!$B$2:$B$11</c:f>
              <c:numCache>
                <c:formatCode>General</c:formatCode>
                <c:ptCount val="10"/>
                <c:pt idx="0">
                  <c:v>0.58987146738028629</c:v>
                </c:pt>
                <c:pt idx="1">
                  <c:v>9.6149427617618841E-2</c:v>
                </c:pt>
                <c:pt idx="2">
                  <c:v>8.5147792239386941E-2</c:v>
                </c:pt>
                <c:pt idx="3">
                  <c:v>7.5132790009325712E-2</c:v>
                </c:pt>
                <c:pt idx="4">
                  <c:v>5.0602116530835663E-2</c:v>
                </c:pt>
                <c:pt idx="5">
                  <c:v>3.5937774534052357E-2</c:v>
                </c:pt>
                <c:pt idx="6">
                  <c:v>2.3841381827028343E-2</c:v>
                </c:pt>
                <c:pt idx="7">
                  <c:v>1.9313681763505387E-2</c:v>
                </c:pt>
                <c:pt idx="8">
                  <c:v>1.0271797159037154E-2</c:v>
                </c:pt>
                <c:pt idx="9">
                  <c:v>1.373177093892335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Besserat De Bellefon</c:v>
                </c:pt>
                <c:pt idx="3">
                  <c:v>Nicolas</c:v>
                </c:pt>
                <c:pt idx="4">
                  <c:v>Henriot</c:v>
                </c:pt>
                <c:pt idx="5">
                  <c:v>De Bligny</c:v>
                </c:pt>
                <c:pt idx="6">
                  <c:v>Delamotte</c:v>
                </c:pt>
                <c:pt idx="7">
                  <c:v>Ayala</c:v>
                </c:pt>
                <c:pt idx="8">
                  <c:v>Deutz</c:v>
                </c:pt>
                <c:pt idx="9">
                  <c:v>Others</c:v>
                </c:pt>
              </c:strCache>
            </c:strRef>
          </c:cat>
          <c:val>
            <c:numRef>
              <c:f>Sheet1!$C$2:$C$11</c:f>
              <c:numCache>
                <c:formatCode>General</c:formatCode>
                <c:ptCount val="10"/>
                <c:pt idx="0">
                  <c:v>0.24192059095106186</c:v>
                </c:pt>
                <c:pt idx="1">
                  <c:v>7.571560480147739E-2</c:v>
                </c:pt>
                <c:pt idx="2">
                  <c:v>9.6952908587257622E-2</c:v>
                </c:pt>
                <c:pt idx="3">
                  <c:v>0.13388734995383197</c:v>
                </c:pt>
                <c:pt idx="4">
                  <c:v>8.5872576177285331E-2</c:v>
                </c:pt>
                <c:pt idx="5">
                  <c:v>6.6481994459833799E-2</c:v>
                </c:pt>
                <c:pt idx="6">
                  <c:v>7.2022160664819951E-2</c:v>
                </c:pt>
                <c:pt idx="7">
                  <c:v>5.1708217913204076E-2</c:v>
                </c:pt>
                <c:pt idx="8">
                  <c:v>2.4007386888273318E-2</c:v>
                </c:pt>
                <c:pt idx="9">
                  <c:v>0.151431209602954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Besserat De Bellefon</c:v>
                </c:pt>
                <c:pt idx="3">
                  <c:v>Nicolas</c:v>
                </c:pt>
                <c:pt idx="4">
                  <c:v>Henriot</c:v>
                </c:pt>
                <c:pt idx="5">
                  <c:v>De Bligny</c:v>
                </c:pt>
                <c:pt idx="6">
                  <c:v>Delamotte</c:v>
                </c:pt>
                <c:pt idx="7">
                  <c:v>Ayala</c:v>
                </c:pt>
                <c:pt idx="8">
                  <c:v>Deutz</c:v>
                </c:pt>
                <c:pt idx="9">
                  <c:v>Others</c:v>
                </c:pt>
              </c:strCache>
            </c:strRef>
          </c:cat>
          <c:val>
            <c:numRef>
              <c:f>Sheet1!$D$2:$D$11</c:f>
              <c:numCache>
                <c:formatCode>General</c:formatCode>
                <c:ptCount val="10"/>
                <c:pt idx="0">
                  <c:v>41.012424626244417</c:v>
                </c:pt>
                <c:pt idx="1">
                  <c:v>78.747847675801381</c:v>
                </c:pt>
                <c:pt idx="2">
                  <c:v>113.86426592797785</c:v>
                </c:pt>
                <c:pt idx="3">
                  <c:v>178.20095585058598</c:v>
                </c:pt>
                <c:pt idx="4">
                  <c:v>169.70155018112087</c:v>
                </c:pt>
                <c:pt idx="5">
                  <c:v>184.99196269607535</c:v>
                </c:pt>
                <c:pt idx="6">
                  <c:v>302.08886878851263</c:v>
                </c:pt>
                <c:pt idx="7">
                  <c:v>267.72843493212429</c:v>
                </c:pt>
                <c:pt idx="8">
                  <c:v>233.72138795742825</c:v>
                </c:pt>
                <c:pt idx="9">
                  <c:v>1102.77989835758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1</c:v>
                </c:pt>
                <c:pt idx="1">
                  <c:v>0.62</c:v>
                </c:pt>
                <c:pt idx="2">
                  <c:v>1</c:v>
                </c:pt>
              </c:numCache>
            </c:numRef>
          </c:xVal>
          <c:yVal>
            <c:numRef>
              <c:f>Sheet1!$B$2:$B$4</c:f>
              <c:numCache>
                <c:formatCode>General</c:formatCode>
                <c:ptCount val="3"/>
                <c:pt idx="0">
                  <c:v>29.83606557377049</c:v>
                </c:pt>
                <c:pt idx="1">
                  <c:v>46.70967741935484</c:v>
                </c:pt>
                <c:pt idx="2">
                  <c:v>180.58</c:v>
                </c:pt>
              </c:numCache>
            </c:numRef>
          </c:yVal>
          <c:bubbleSize>
            <c:numRef>
              <c:f>Sheet1!$C$2:$C$4</c:f>
              <c:numCache>
                <c:formatCode>General</c:formatCode>
                <c:ptCount val="3"/>
                <c:pt idx="0">
                  <c:v>1416.6643999999999</c:v>
                </c:pt>
                <c:pt idx="1">
                  <c:v>2433.6008999999999</c:v>
                </c:pt>
                <c:pt idx="2">
                  <c:v>14397.3907</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1ERE CUVEE 1CT X 750ML</c:v>
                  </c:pt>
                  <c:pt idx="2">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38</c:v>
                </c:pt>
                <c:pt idx="1">
                  <c:v>0.41</c:v>
                </c:pt>
                <c:pt idx="2">
                  <c:v>0.16</c:v>
                </c:pt>
                <c:pt idx="3">
                  <c:v>0.48</c:v>
                </c:pt>
                <c:pt idx="4">
                  <c:v>0.83</c:v>
                </c:pt>
                <c:pt idx="5">
                  <c:v>0.75</c:v>
                </c:pt>
                <c:pt idx="6">
                  <c:v>0.23</c:v>
                </c:pt>
                <c:pt idx="7">
                  <c:v>0.49</c:v>
                </c:pt>
                <c:pt idx="8">
                  <c:v>0.99</c:v>
                </c:pt>
                <c:pt idx="9">
                  <c:v>0.73</c:v>
                </c:pt>
                <c:pt idx="10">
                  <c:v>0.43</c:v>
                </c:pt>
              </c:numCache>
            </c:numRef>
          </c:xVal>
          <c:yVal>
            <c:numRef>
              <c:f>Sheet1!$B$2:$B$12</c:f>
              <c:numCache>
                <c:formatCode>General</c:formatCode>
                <c:ptCount val="11"/>
                <c:pt idx="0">
                  <c:v>73.526315789473685</c:v>
                </c:pt>
                <c:pt idx="1">
                  <c:v>40.512195121951223</c:v>
                </c:pt>
                <c:pt idx="2">
                  <c:v>134.25</c:v>
                </c:pt>
                <c:pt idx="3">
                  <c:v>100.6666666666667</c:v>
                </c:pt>
                <c:pt idx="4">
                  <c:v>181.18072289156629</c:v>
                </c:pt>
                <c:pt idx="5">
                  <c:v>155.21333333333331</c:v>
                </c:pt>
                <c:pt idx="6">
                  <c:v>108.17391304347829</c:v>
                </c:pt>
                <c:pt idx="7">
                  <c:v>107.91836734693879</c:v>
                </c:pt>
                <c:pt idx="8">
                  <c:v>2042.434343434343</c:v>
                </c:pt>
                <c:pt idx="9">
                  <c:v>157.7397260273973</c:v>
                </c:pt>
                <c:pt idx="10">
                  <c:v>49.186046511627907</c:v>
                </c:pt>
              </c:numCache>
            </c:numRef>
          </c:yVal>
          <c:bubbleSize>
            <c:numRef>
              <c:f>Sheet1!$C$2:$C$12</c:f>
              <c:numCache>
                <c:formatCode>General</c:formatCode>
                <c:ptCount val="11"/>
                <c:pt idx="0">
                  <c:v>1419.2177999999999</c:v>
                </c:pt>
                <c:pt idx="1">
                  <c:v>1203.7316000000001</c:v>
                </c:pt>
                <c:pt idx="2">
                  <c:v>1560.2153000000001</c:v>
                </c:pt>
                <c:pt idx="3">
                  <c:v>3877.0844999999999</c:v>
                </c:pt>
                <c:pt idx="4">
                  <c:v>12437.480100000001</c:v>
                </c:pt>
                <c:pt idx="5">
                  <c:v>9648.4393000000018</c:v>
                </c:pt>
                <c:pt idx="6">
                  <c:v>1278.75</c:v>
                </c:pt>
                <c:pt idx="7">
                  <c:v>4171.1099999999997</c:v>
                </c:pt>
                <c:pt idx="8">
                  <c:v>163212.90659999999</c:v>
                </c:pt>
                <c:pt idx="9">
                  <c:v>8664.1614000000009</c:v>
                </c:pt>
                <c:pt idx="10">
                  <c:v>1583.4626000000001</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1/2 CHAMP NICOLAS ROSE 1E C BS 1CT X 375ML</c:v>
                  </c:pt>
                  <c:pt idx="2">
                    <c:v>MG CHAMPAGNE NICOLAS BLC/BL BS 1CT X 1500ML</c:v>
                  </c:pt>
                  <c:pt idx="3">
                    <c:v>MG CHAMPAGNE E.NICOLAS BRUT 1CT X 1500ML</c:v>
                  </c:pt>
                  <c:pt idx="4">
                    <c:v>CHAMPAGNE E.NICOLAS ROSE 1CT X 750ML</c:v>
                  </c:pt>
                  <c:pt idx="5">
                    <c:v>CHAMPAGNE NICOLAS 1ERE CUVEE 1CT X 750ML</c:v>
                  </c:pt>
                  <c:pt idx="6">
                    <c:v>CHAMPAGNE NICOLAS BIO NAT 2017 1CT X 750ML</c:v>
                  </c:pt>
                  <c:pt idx="7">
                    <c:v>1/2 CHAMPAGNE NICOLAS 1ERE CUV 1CT X 375ML</c:v>
                  </c:pt>
                  <c:pt idx="8">
                    <c:v>CHAMPAGNE E.NICOLAS BRUT 1CT X 750ML</c:v>
                  </c:pt>
                  <c:pt idx="9">
                    <c:v>CHAMPAGNE NICOLAS BLC/BLC BS 1CT X 750ML</c:v>
                  </c:pt>
                  <c:pt idx="10">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31</c:v>
                </c:pt>
                <c:pt idx="1">
                  <c:v>0.49</c:v>
                </c:pt>
                <c:pt idx="2">
                  <c:v>0.64</c:v>
                </c:pt>
                <c:pt idx="3">
                  <c:v>0.52</c:v>
                </c:pt>
                <c:pt idx="4">
                  <c:v>0.37</c:v>
                </c:pt>
                <c:pt idx="5">
                  <c:v>1</c:v>
                </c:pt>
                <c:pt idx="6">
                  <c:v>0.63</c:v>
                </c:pt>
                <c:pt idx="7">
                  <c:v>0.41</c:v>
                </c:pt>
                <c:pt idx="8">
                  <c:v>0.3</c:v>
                </c:pt>
                <c:pt idx="9">
                  <c:v>0.22</c:v>
                </c:pt>
              </c:numCache>
            </c:numRef>
          </c:xVal>
          <c:yVal>
            <c:numRef>
              <c:f>Sheet1!$B$2:$B$11</c:f>
              <c:numCache>
                <c:formatCode>General</c:formatCode>
                <c:ptCount val="10"/>
                <c:pt idx="0">
                  <c:v>105.258064516129</c:v>
                </c:pt>
                <c:pt idx="1">
                  <c:v>175.91836734693879</c:v>
                </c:pt>
                <c:pt idx="2">
                  <c:v>167.5</c:v>
                </c:pt>
                <c:pt idx="3">
                  <c:v>219.21153846153851</c:v>
                </c:pt>
                <c:pt idx="4">
                  <c:v>82.675675675675677</c:v>
                </c:pt>
                <c:pt idx="5">
                  <c:v>1829.28</c:v>
                </c:pt>
                <c:pt idx="6">
                  <c:v>348.38095238095241</c:v>
                </c:pt>
                <c:pt idx="7">
                  <c:v>57.31707317073171</c:v>
                </c:pt>
                <c:pt idx="8">
                  <c:v>72.066666666666663</c:v>
                </c:pt>
                <c:pt idx="9">
                  <c:v>69.090909090909093</c:v>
                </c:pt>
              </c:numCache>
            </c:numRef>
          </c:yVal>
          <c:bubbleSize>
            <c:numRef>
              <c:f>Sheet1!$C$2:$C$11</c:f>
              <c:numCache>
                <c:formatCode>General</c:formatCode>
                <c:ptCount val="10"/>
                <c:pt idx="0">
                  <c:v>2232.8229000000001</c:v>
                </c:pt>
                <c:pt idx="1">
                  <c:v>7042.5024000000003</c:v>
                </c:pt>
                <c:pt idx="2">
                  <c:v>8833.3191999999999</c:v>
                </c:pt>
                <c:pt idx="3">
                  <c:v>9807.258600000001</c:v>
                </c:pt>
                <c:pt idx="4">
                  <c:v>2404.0725000000002</c:v>
                </c:pt>
                <c:pt idx="5">
                  <c:v>146068.99830000001</c:v>
                </c:pt>
                <c:pt idx="6">
                  <c:v>16531.504199999999</c:v>
                </c:pt>
                <c:pt idx="7">
                  <c:v>1731.9738</c:v>
                </c:pt>
                <c:pt idx="8">
                  <c:v>1669.8806</c:v>
                </c:pt>
                <c:pt idx="9">
                  <c:v>1120.717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ROSE 1ERE CU 1CT X 750ML</c:v>
                  </c:pt>
                  <c:pt idx="8">
                    <c:v>CHAMPAGNE NICOLAS 1ER CRU BS 1CT X 750ML</c:v>
                  </c:pt>
                  <c:pt idx="9">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4</c:v>
                </c:pt>
                <c:pt idx="1">
                  <c:v>0.68</c:v>
                </c:pt>
                <c:pt idx="2">
                  <c:v>0.9</c:v>
                </c:pt>
                <c:pt idx="3">
                  <c:v>0.61</c:v>
                </c:pt>
                <c:pt idx="4">
                  <c:v>1</c:v>
                </c:pt>
                <c:pt idx="5">
                  <c:v>0.67</c:v>
                </c:pt>
                <c:pt idx="6">
                  <c:v>0.52</c:v>
                </c:pt>
              </c:numCache>
            </c:numRef>
          </c:xVal>
          <c:yVal>
            <c:numRef>
              <c:f>Sheet1!$B$2:$B$8</c:f>
              <c:numCache>
                <c:formatCode>General</c:formatCode>
                <c:ptCount val="7"/>
                <c:pt idx="0">
                  <c:v>42.558823529411768</c:v>
                </c:pt>
                <c:pt idx="1">
                  <c:v>69.044117647058826</c:v>
                </c:pt>
                <c:pt idx="2">
                  <c:v>67.266666666666666</c:v>
                </c:pt>
                <c:pt idx="3">
                  <c:v>45.557377049180317</c:v>
                </c:pt>
                <c:pt idx="4">
                  <c:v>956.39</c:v>
                </c:pt>
                <c:pt idx="5">
                  <c:v>118.1791044776119</c:v>
                </c:pt>
                <c:pt idx="6">
                  <c:v>36.769230769230766</c:v>
                </c:pt>
              </c:numCache>
            </c:numRef>
          </c:yVal>
          <c:bubbleSize>
            <c:numRef>
              <c:f>Sheet1!$C$2:$C$8</c:f>
              <c:numCache>
                <c:formatCode>General</c:formatCode>
                <c:ptCount val="7"/>
                <c:pt idx="0">
                  <c:v>1131.6672000000001</c:v>
                </c:pt>
                <c:pt idx="1">
                  <c:v>3791.6606000000002</c:v>
                </c:pt>
                <c:pt idx="2">
                  <c:v>4882.7226000000001</c:v>
                </c:pt>
                <c:pt idx="3">
                  <c:v>2151.1799999999998</c:v>
                </c:pt>
                <c:pt idx="4">
                  <c:v>76538.395900000003</c:v>
                </c:pt>
                <c:pt idx="5">
                  <c:v>5937.3135000000002</c:v>
                </c:pt>
                <c:pt idx="6">
                  <c:v>1434.489399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E.NICOLAS ROSE 1CT X 750ML</c:v>
                  </c:pt>
                  <c:pt idx="2">
                    <c:v>CHAMPAGNE NICOLAS 1ERE CUVEE 1CT X 750ML</c:v>
                  </c:pt>
                  <c:pt idx="3">
                    <c:v>1/2 CHAMPAGNE NICOLAS 1ERE CUV 1CT X 375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63</c:v>
                </c:pt>
                <c:pt idx="1">
                  <c:v>0.62</c:v>
                </c:pt>
                <c:pt idx="2">
                  <c:v>0.84</c:v>
                </c:pt>
                <c:pt idx="3">
                  <c:v>0.54</c:v>
                </c:pt>
                <c:pt idx="4">
                  <c:v>1</c:v>
                </c:pt>
                <c:pt idx="5">
                  <c:v>0.87</c:v>
                </c:pt>
                <c:pt idx="6">
                  <c:v>0.62</c:v>
                </c:pt>
              </c:numCache>
            </c:numRef>
          </c:xVal>
          <c:yVal>
            <c:numRef>
              <c:f>Sheet1!$B$2:$B$8</c:f>
              <c:numCache>
                <c:formatCode>General</c:formatCode>
                <c:ptCount val="7"/>
                <c:pt idx="0">
                  <c:v>35.460317460317462</c:v>
                </c:pt>
                <c:pt idx="1">
                  <c:v>26.14516129032258</c:v>
                </c:pt>
                <c:pt idx="2">
                  <c:v>63.61904761904762</c:v>
                </c:pt>
                <c:pt idx="3">
                  <c:v>39.296296296296298</c:v>
                </c:pt>
                <c:pt idx="4">
                  <c:v>561.4</c:v>
                </c:pt>
                <c:pt idx="5">
                  <c:v>92.183908045977006</c:v>
                </c:pt>
                <c:pt idx="6">
                  <c:v>23.35483870967742</c:v>
                </c:pt>
              </c:numCache>
            </c:numRef>
          </c:yVal>
          <c:bubbleSize>
            <c:numRef>
              <c:f>Sheet1!$C$2:$C$8</c:f>
              <c:numCache>
                <c:formatCode>General</c:formatCode>
                <c:ptCount val="7"/>
                <c:pt idx="0">
                  <c:v>1650.7646</c:v>
                </c:pt>
                <c:pt idx="1">
                  <c:v>1244.5839000000001</c:v>
                </c:pt>
                <c:pt idx="2">
                  <c:v>4374.9930000000004</c:v>
                </c:pt>
                <c:pt idx="3">
                  <c:v>1768.5559000000001</c:v>
                </c:pt>
                <c:pt idx="4">
                  <c:v>44770.593800000002</c:v>
                </c:pt>
                <c:pt idx="5">
                  <c:v>5867.2008000000014</c:v>
                </c:pt>
                <c:pt idx="6">
                  <c:v>1068.3076000000001</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CHAMPAGNE E.NICOLAS BRUT 1CT X 750ML</c:v>
                  </c:pt>
                  <c:pt idx="5">
                    <c:v>CHAMPAGNE NICOLAS BLC/BLC BS 1CT X 750ML</c:v>
                  </c:pt>
                  <c:pt idx="6">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4</c:v>
                </c:pt>
                <c:pt idx="1">
                  <c:v>0.46</c:v>
                </c:pt>
                <c:pt idx="2">
                  <c:v>0.75</c:v>
                </c:pt>
                <c:pt idx="3">
                  <c:v>0.75</c:v>
                </c:pt>
                <c:pt idx="4">
                  <c:v>0.61</c:v>
                </c:pt>
                <c:pt idx="5">
                  <c:v>1</c:v>
                </c:pt>
                <c:pt idx="6">
                  <c:v>0.55000000000000004</c:v>
                </c:pt>
                <c:pt idx="7">
                  <c:v>0.56000000000000005</c:v>
                </c:pt>
              </c:numCache>
            </c:numRef>
          </c:xVal>
          <c:yVal>
            <c:numRef>
              <c:f>Sheet1!$B$2:$B$9</c:f>
              <c:numCache>
                <c:formatCode>General</c:formatCode>
                <c:ptCount val="8"/>
                <c:pt idx="0">
                  <c:v>53.7</c:v>
                </c:pt>
                <c:pt idx="1">
                  <c:v>98.978260869565219</c:v>
                </c:pt>
                <c:pt idx="2">
                  <c:v>91.92</c:v>
                </c:pt>
                <c:pt idx="3">
                  <c:v>75.293333333333337</c:v>
                </c:pt>
                <c:pt idx="4">
                  <c:v>36.295081967213108</c:v>
                </c:pt>
                <c:pt idx="5">
                  <c:v>1149.8800000000001</c:v>
                </c:pt>
                <c:pt idx="6">
                  <c:v>169.1454545454545</c:v>
                </c:pt>
                <c:pt idx="7">
                  <c:v>27.125</c:v>
                </c:pt>
              </c:numCache>
            </c:numRef>
          </c:yVal>
          <c:bubbleSize>
            <c:numRef>
              <c:f>Sheet1!$C$2:$C$9</c:f>
              <c:numCache>
                <c:formatCode>General</c:formatCode>
                <c:ptCount val="8"/>
                <c:pt idx="0">
                  <c:v>1541.3326999999999</c:v>
                </c:pt>
                <c:pt idx="1">
                  <c:v>3724.1676000000002</c:v>
                </c:pt>
                <c:pt idx="2">
                  <c:v>5666.6575999999995</c:v>
                </c:pt>
                <c:pt idx="3">
                  <c:v>4993.5696000000007</c:v>
                </c:pt>
                <c:pt idx="4">
                  <c:v>1714.905</c:v>
                </c:pt>
                <c:pt idx="5">
                  <c:v>91989.461899999995</c:v>
                </c:pt>
                <c:pt idx="6">
                  <c:v>6924.7790999999997</c:v>
                </c:pt>
                <c:pt idx="7">
                  <c:v>1406.8531</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1/2 CHAMPAGNE NICOLAS 1ERE CUV 1CT X 375ML</c:v>
                  </c:pt>
                  <c:pt idx="5">
                    <c:v>CHAMPAGNE E.NICOLAS BRUT 1CT X 750ML</c:v>
                  </c:pt>
                  <c:pt idx="6">
                    <c:v>CHAMPAGNE NICOLAS BLC/BLC BS 1CT X 750ML</c:v>
                  </c:pt>
                  <c:pt idx="7">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0</c:f>
              <c:numCache>
                <c:formatCode>General</c:formatCode>
                <c:ptCount val="9"/>
                <c:pt idx="0">
                  <c:v>0.4</c:v>
                </c:pt>
                <c:pt idx="1">
                  <c:v>0.35</c:v>
                </c:pt>
                <c:pt idx="2">
                  <c:v>0.71</c:v>
                </c:pt>
                <c:pt idx="3">
                  <c:v>0.87</c:v>
                </c:pt>
                <c:pt idx="4">
                  <c:v>0.45</c:v>
                </c:pt>
                <c:pt idx="5">
                  <c:v>0.43</c:v>
                </c:pt>
                <c:pt idx="6">
                  <c:v>1</c:v>
                </c:pt>
                <c:pt idx="7">
                  <c:v>0.65</c:v>
                </c:pt>
                <c:pt idx="8">
                  <c:v>0.28000000000000003</c:v>
                </c:pt>
              </c:numCache>
            </c:numRef>
          </c:xVal>
          <c:yVal>
            <c:numRef>
              <c:f>Sheet1!$B$2:$B$10</c:f>
              <c:numCache>
                <c:formatCode>General</c:formatCode>
                <c:ptCount val="9"/>
                <c:pt idx="0">
                  <c:v>70.8</c:v>
                </c:pt>
                <c:pt idx="1">
                  <c:v>67.114285714285714</c:v>
                </c:pt>
                <c:pt idx="2">
                  <c:v>121.4225352112676</c:v>
                </c:pt>
                <c:pt idx="3">
                  <c:v>91.298850574712645</c:v>
                </c:pt>
                <c:pt idx="4">
                  <c:v>62.244444444444447</c:v>
                </c:pt>
                <c:pt idx="5">
                  <c:v>54.046511627906973</c:v>
                </c:pt>
                <c:pt idx="6">
                  <c:v>1137.1300000000001</c:v>
                </c:pt>
                <c:pt idx="7">
                  <c:v>237.92307692307691</c:v>
                </c:pt>
                <c:pt idx="8">
                  <c:v>42.464285714285708</c:v>
                </c:pt>
              </c:numCache>
            </c:numRef>
          </c:yVal>
          <c:bubbleSize>
            <c:numRef>
              <c:f>Sheet1!$C$2:$C$10</c:f>
              <c:numCache>
                <c:formatCode>General</c:formatCode>
                <c:ptCount val="9"/>
                <c:pt idx="0">
                  <c:v>1918.5488</c:v>
                </c:pt>
                <c:pt idx="1">
                  <c:v>1846.6674</c:v>
                </c:pt>
                <c:pt idx="2">
                  <c:v>7083.3220000000001</c:v>
                </c:pt>
                <c:pt idx="3">
                  <c:v>6755.3112000000001</c:v>
                </c:pt>
                <c:pt idx="4">
                  <c:v>1382.94</c:v>
                </c:pt>
                <c:pt idx="5">
                  <c:v>1827.87</c:v>
                </c:pt>
                <c:pt idx="6">
                  <c:v>90795.169100000014</c:v>
                </c:pt>
                <c:pt idx="7">
                  <c:v>11660.7888</c:v>
                </c:pt>
                <c:pt idx="8">
                  <c:v>1024.5273</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MG CHAMPAGNE E.NICOLAS BRUT 1CT X 1500ML</c:v>
                  </c:pt>
                  <c:pt idx="2">
                    <c:v>CHAMPAGNE E.NICOLAS ROSE 1CT X 750ML</c:v>
                  </c:pt>
                  <c:pt idx="3">
                    <c:v>CHAMPAGNE NICOLAS 1ERE CUVEE 1CT X 750ML</c:v>
                  </c:pt>
                  <c:pt idx="4">
                    <c:v>MG CHAMPAGNE NICOLAS 1ERE CUVE 1CT X 1500ML</c:v>
                  </c:pt>
                  <c:pt idx="5">
                    <c:v>1/2 CHAMPAGNE NICOLAS 1ERE CUV 1CT X 375ML</c:v>
                  </c:pt>
                  <c:pt idx="6">
                    <c:v>CHAMPAGNE E.NICOLAS BRUT 1CT X 750ML</c:v>
                  </c:pt>
                  <c:pt idx="7">
                    <c:v>CHAMPAGNE NICOLAS BLC/BLC BS 1CT X 750ML</c:v>
                  </c:pt>
                  <c:pt idx="8">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56000000000000005</c:v>
                </c:pt>
                <c:pt idx="1">
                  <c:v>0.79</c:v>
                </c:pt>
                <c:pt idx="2">
                  <c:v>0.56999999999999995</c:v>
                </c:pt>
                <c:pt idx="3">
                  <c:v>1</c:v>
                </c:pt>
                <c:pt idx="4">
                  <c:v>0.63</c:v>
                </c:pt>
              </c:numCache>
            </c:numRef>
          </c:xVal>
          <c:yVal>
            <c:numRef>
              <c:f>Sheet1!$B$2:$B$6</c:f>
              <c:numCache>
                <c:formatCode>General</c:formatCode>
                <c:ptCount val="5"/>
                <c:pt idx="0">
                  <c:v>70.892857142857139</c:v>
                </c:pt>
                <c:pt idx="1">
                  <c:v>90.835443037974684</c:v>
                </c:pt>
                <c:pt idx="2">
                  <c:v>37.807017543859651</c:v>
                </c:pt>
                <c:pt idx="3">
                  <c:v>844.86</c:v>
                </c:pt>
                <c:pt idx="4">
                  <c:v>125.50793650793651</c:v>
                </c:pt>
              </c:numCache>
            </c:numRef>
          </c:yVal>
          <c:bubbleSize>
            <c:numRef>
              <c:f>Sheet1!$C$2:$C$6</c:f>
              <c:numCache>
                <c:formatCode>General</c:formatCode>
                <c:ptCount val="5"/>
                <c:pt idx="0">
                  <c:v>3208.3281999999999</c:v>
                </c:pt>
                <c:pt idx="1">
                  <c:v>5936.1959000000006</c:v>
                </c:pt>
                <c:pt idx="2">
                  <c:v>1660.0274999999999</c:v>
                </c:pt>
                <c:pt idx="3">
                  <c:v>67650.225100000011</c:v>
                </c:pt>
                <c:pt idx="4">
                  <c:v>5885.8821000000007</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1ERE CUVEE 1CT X 750ML</c:v>
                  </c:pt>
                  <c:pt idx="2">
                    <c:v>1/2 CHAMPAGNE NICOLAS 1ERE CUV 1CT X 375ML</c:v>
                  </c:pt>
                  <c:pt idx="3">
                    <c:v>CHAMPAGNE E.NICOLAS BRUT 1CT X 750ML</c:v>
                  </c:pt>
                  <c:pt idx="4">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49</c:v>
                </c:pt>
                <c:pt idx="1">
                  <c:v>0.56000000000000005</c:v>
                </c:pt>
                <c:pt idx="2">
                  <c:v>0.76</c:v>
                </c:pt>
                <c:pt idx="3">
                  <c:v>1</c:v>
                </c:pt>
                <c:pt idx="4">
                  <c:v>0.51</c:v>
                </c:pt>
                <c:pt idx="5">
                  <c:v>0.85</c:v>
                </c:pt>
              </c:numCache>
            </c:numRef>
          </c:xVal>
          <c:yVal>
            <c:numRef>
              <c:f>Sheet1!$B$2:$B$7</c:f>
              <c:numCache>
                <c:formatCode>General</c:formatCode>
                <c:ptCount val="6"/>
                <c:pt idx="0">
                  <c:v>38.551020408163268</c:v>
                </c:pt>
                <c:pt idx="1">
                  <c:v>63.303571428571423</c:v>
                </c:pt>
                <c:pt idx="2">
                  <c:v>48.723684210526322</c:v>
                </c:pt>
                <c:pt idx="3">
                  <c:v>635.45000000000005</c:v>
                </c:pt>
                <c:pt idx="4">
                  <c:v>56.411764705882362</c:v>
                </c:pt>
                <c:pt idx="5">
                  <c:v>18.564705882352939</c:v>
                </c:pt>
              </c:numCache>
            </c:numRef>
          </c:yVal>
          <c:bubbleSize>
            <c:numRef>
              <c:f>Sheet1!$C$2:$C$7</c:f>
              <c:numCache>
                <c:formatCode>General</c:formatCode>
                <c:ptCount val="6"/>
                <c:pt idx="0">
                  <c:v>1505.4170999999999</c:v>
                </c:pt>
                <c:pt idx="1">
                  <c:v>2874.9953999999998</c:v>
                </c:pt>
                <c:pt idx="2">
                  <c:v>3271.8853000000008</c:v>
                </c:pt>
                <c:pt idx="3">
                  <c:v>50783.436800000003</c:v>
                </c:pt>
                <c:pt idx="4">
                  <c:v>2124.1763999999998</c:v>
                </c:pt>
                <c:pt idx="5">
                  <c:v>1292.4392</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E.NICOLAS ROSE 1CT X 750ML</c:v>
                  </c:pt>
                  <c:pt idx="2">
                    <c:v>CHAMPAGNE NICOLAS 1ERE CUVEE 1CT X 750ML</c:v>
                  </c:pt>
                  <c:pt idx="3">
                    <c:v>CHAMPAGNE E.NICOLAS BRUT 1CT X 750ML</c:v>
                  </c:pt>
                  <c:pt idx="4">
                    <c:v>CHAMPAGNE NICOLAS BLC/BLC BS 1CT X 750ML</c:v>
                  </c:pt>
                  <c:pt idx="5">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6</c:v>
                </c:pt>
                <c:pt idx="1">
                  <c:v>0.69</c:v>
                </c:pt>
                <c:pt idx="2">
                  <c:v>1</c:v>
                </c:pt>
                <c:pt idx="3">
                  <c:v>0.69</c:v>
                </c:pt>
              </c:numCache>
            </c:numRef>
          </c:xVal>
          <c:yVal>
            <c:numRef>
              <c:f>Sheet1!$B$2:$B$5</c:f>
              <c:numCache>
                <c:formatCode>General</c:formatCode>
                <c:ptCount val="4"/>
                <c:pt idx="0">
                  <c:v>39.9</c:v>
                </c:pt>
                <c:pt idx="1">
                  <c:v>43.115942028985508</c:v>
                </c:pt>
                <c:pt idx="2">
                  <c:v>391.8</c:v>
                </c:pt>
                <c:pt idx="3">
                  <c:v>59.420289855072461</c:v>
                </c:pt>
              </c:numCache>
            </c:numRef>
          </c:yVal>
          <c:bubbleSize>
            <c:numRef>
              <c:f>Sheet1!$C$2:$C$5</c:f>
              <c:numCache>
                <c:formatCode>General</c:formatCode>
                <c:ptCount val="4"/>
                <c:pt idx="0">
                  <c:v>1895.830300000001</c:v>
                </c:pt>
                <c:pt idx="1">
                  <c:v>2453.0792000000001</c:v>
                </c:pt>
                <c:pt idx="2">
                  <c:v>31331.627499999999</c:v>
                </c:pt>
                <c:pt idx="3">
                  <c:v>3020.8625999999999</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1ERE CUVEE 1CT X 750ML</c:v>
                  </c:pt>
                  <c:pt idx="2">
                    <c:v>CHAMPAGNE E.NICOLAS BRUT 1CT X 750ML</c:v>
                  </c:pt>
                  <c:pt idx="3">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Henriot</c:v>
                </c:pt>
                <c:pt idx="4">
                  <c:v>Delamotte</c:v>
                </c:pt>
                <c:pt idx="5">
                  <c:v>Ayala</c:v>
                </c:pt>
                <c:pt idx="6">
                  <c:v>Besserat De Bellefon</c:v>
                </c:pt>
                <c:pt idx="7">
                  <c:v>De Bligny</c:v>
                </c:pt>
                <c:pt idx="8">
                  <c:v>De Venoge</c:v>
                </c:pt>
                <c:pt idx="9">
                  <c:v>Others</c:v>
                </c:pt>
              </c:strCache>
            </c:strRef>
          </c:cat>
          <c:val>
            <c:numRef>
              <c:f>Sheet1!$B$2:$B$11</c:f>
              <c:numCache>
                <c:formatCode>General</c:formatCode>
                <c:ptCount val="10"/>
                <c:pt idx="0">
                  <c:v>0.55322461921748489</c:v>
                </c:pt>
                <c:pt idx="1">
                  <c:v>0.10540173263122134</c:v>
                </c:pt>
                <c:pt idx="2">
                  <c:v>9.8493856520015854E-2</c:v>
                </c:pt>
                <c:pt idx="3">
                  <c:v>8.6603250099088383E-2</c:v>
                </c:pt>
                <c:pt idx="4">
                  <c:v>4.0116641186795768E-2</c:v>
                </c:pt>
                <c:pt idx="5">
                  <c:v>3.9663665704093763E-2</c:v>
                </c:pt>
                <c:pt idx="6">
                  <c:v>2.5083517354623181E-2</c:v>
                </c:pt>
                <c:pt idx="7">
                  <c:v>1.4268727705112961E-2</c:v>
                </c:pt>
                <c:pt idx="8">
                  <c:v>1.3504331578053337E-2</c:v>
                </c:pt>
                <c:pt idx="9">
                  <c:v>2.363965800351056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Henriot</c:v>
                </c:pt>
                <c:pt idx="4">
                  <c:v>Delamotte</c:v>
                </c:pt>
                <c:pt idx="5">
                  <c:v>Ayala</c:v>
                </c:pt>
                <c:pt idx="6">
                  <c:v>Besserat De Bellefon</c:v>
                </c:pt>
                <c:pt idx="7">
                  <c:v>De Bligny</c:v>
                </c:pt>
                <c:pt idx="8">
                  <c:v>De Venoge</c:v>
                </c:pt>
                <c:pt idx="9">
                  <c:v>Others</c:v>
                </c:pt>
              </c:strCache>
            </c:strRef>
          </c:cat>
          <c:val>
            <c:numRef>
              <c:f>Sheet1!$C$2:$C$11</c:f>
              <c:numCache>
                <c:formatCode>General</c:formatCode>
                <c:ptCount val="10"/>
                <c:pt idx="0">
                  <c:v>0.20780399274047193</c:v>
                </c:pt>
                <c:pt idx="1">
                  <c:v>7.2595281306715082E-2</c:v>
                </c:pt>
                <c:pt idx="2">
                  <c:v>0.18058076225045375</c:v>
                </c:pt>
                <c:pt idx="3">
                  <c:v>0.11978221415607987</c:v>
                </c:pt>
                <c:pt idx="4">
                  <c:v>7.5317604355716897E-2</c:v>
                </c:pt>
                <c:pt idx="5">
                  <c:v>8.166969147005447E-2</c:v>
                </c:pt>
                <c:pt idx="6">
                  <c:v>9.346642468239566E-2</c:v>
                </c:pt>
                <c:pt idx="7">
                  <c:v>3.9019963702359356E-2</c:v>
                </c:pt>
                <c:pt idx="8">
                  <c:v>3.9019963702359356E-2</c:v>
                </c:pt>
                <c:pt idx="9">
                  <c:v>9.074410163339384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Nicolas</c:v>
                </c:pt>
                <c:pt idx="3">
                  <c:v>Henriot</c:v>
                </c:pt>
                <c:pt idx="4">
                  <c:v>Delamotte</c:v>
                </c:pt>
                <c:pt idx="5">
                  <c:v>Ayala</c:v>
                </c:pt>
                <c:pt idx="6">
                  <c:v>Besserat De Bellefon</c:v>
                </c:pt>
                <c:pt idx="7">
                  <c:v>De Bligny</c:v>
                </c:pt>
                <c:pt idx="8">
                  <c:v>De Venoge</c:v>
                </c:pt>
                <c:pt idx="9">
                  <c:v>Others</c:v>
                </c:pt>
              </c:strCache>
            </c:strRef>
          </c:cat>
          <c:val>
            <c:numRef>
              <c:f>Sheet1!$D$2:$D$11</c:f>
              <c:numCache>
                <c:formatCode>General</c:formatCode>
                <c:ptCount val="10"/>
                <c:pt idx="0">
                  <c:v>37.562318364356734</c:v>
                </c:pt>
                <c:pt idx="1">
                  <c:v>68.87484626150389</c:v>
                </c:pt>
                <c:pt idx="2">
                  <c:v>183.34215821243251</c:v>
                </c:pt>
                <c:pt idx="3">
                  <c:v>138.31145369143684</c:v>
                </c:pt>
                <c:pt idx="4">
                  <c:v>187.7465364186755</c:v>
                </c:pt>
                <c:pt idx="5">
                  <c:v>205.9055561816748</c:v>
                </c:pt>
                <c:pt idx="6">
                  <c:v>372.62088630153272</c:v>
                </c:pt>
                <c:pt idx="7">
                  <c:v>273.46491228070181</c:v>
                </c:pt>
                <c:pt idx="8">
                  <c:v>288.94405825885474</c:v>
                </c:pt>
                <c:pt idx="9">
                  <c:v>383.863851244878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1</c:v>
                </c:pt>
                <c:pt idx="1">
                  <c:v>0.8</c:v>
                </c:pt>
              </c:numCache>
            </c:numRef>
          </c:xVal>
          <c:yVal>
            <c:numRef>
              <c:f>Sheet1!$B$2:$B$3</c:f>
              <c:numCache>
                <c:formatCode>General</c:formatCode>
                <c:ptCount val="2"/>
                <c:pt idx="0">
                  <c:v>196.9</c:v>
                </c:pt>
                <c:pt idx="1">
                  <c:v>33.737499999999997</c:v>
                </c:pt>
              </c:numCache>
            </c:numRef>
          </c:yVal>
          <c:bubbleSize>
            <c:numRef>
              <c:f>Sheet1!$C$2:$C$3</c:f>
              <c:numCache>
                <c:formatCode>General</c:formatCode>
                <c:ptCount val="2"/>
                <c:pt idx="0">
                  <c:v>15643.313599999999</c:v>
                </c:pt>
                <c:pt idx="1">
                  <c:v>1980.9558</c:v>
                </c:pt>
              </c:numCache>
            </c:numRef>
          </c:bubbleSize>
          <c:bubble3D val="0"/>
          <c:extLst>
            <c:ext xmlns:c15="http://schemas.microsoft.com/office/drawing/2012/chart" uri="{02D57815-91ED-43cb-92C2-25804820EDAC}">
              <c15:datalabelsRange>
                <c15:f>Sheet1!$E$2:$E$21</c15:f>
                <c15:dlblRangeCache>
                  <c:ptCount val="20"/>
                  <c:pt idx="0">
                    <c:v>CHAMPAGNE E.NICOLAS BRUT 1CT X 75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1</c:v>
                </c:pt>
                <c:pt idx="1">
                  <c:v>0.62</c:v>
                </c:pt>
                <c:pt idx="2">
                  <c:v>1</c:v>
                </c:pt>
              </c:numCache>
            </c:numRef>
          </c:xVal>
          <c:yVal>
            <c:numRef>
              <c:f>Sheet1!$B$2:$B$4</c:f>
              <c:numCache>
                <c:formatCode>General</c:formatCode>
                <c:ptCount val="3"/>
                <c:pt idx="0">
                  <c:v>29.83606557377049</c:v>
                </c:pt>
                <c:pt idx="1">
                  <c:v>46.70967741935484</c:v>
                </c:pt>
                <c:pt idx="2">
                  <c:v>180.58</c:v>
                </c:pt>
              </c:numCache>
            </c:numRef>
          </c:yVal>
          <c:bubbleSize>
            <c:numRef>
              <c:f>Sheet1!$C$2:$C$4</c:f>
              <c:numCache>
                <c:formatCode>General</c:formatCode>
                <c:ptCount val="3"/>
                <c:pt idx="0">
                  <c:v>1416.6643999999999</c:v>
                </c:pt>
                <c:pt idx="1">
                  <c:v>2433.6008999999999</c:v>
                </c:pt>
                <c:pt idx="2">
                  <c:v>14397.3907</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1ERE CUVEE 1CT X 750ML</c:v>
                  </c:pt>
                  <c:pt idx="2">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38</c:v>
                </c:pt>
                <c:pt idx="1">
                  <c:v>0.16</c:v>
                </c:pt>
                <c:pt idx="2">
                  <c:v>0.73</c:v>
                </c:pt>
              </c:numCache>
            </c:numRef>
          </c:xVal>
          <c:yVal>
            <c:numRef>
              <c:f>Sheet1!$B$2:$B$4</c:f>
              <c:numCache>
                <c:formatCode>General</c:formatCode>
                <c:ptCount val="3"/>
                <c:pt idx="0">
                  <c:v>73.526315789473685</c:v>
                </c:pt>
                <c:pt idx="1">
                  <c:v>134.25</c:v>
                </c:pt>
                <c:pt idx="2">
                  <c:v>157.7397260273973</c:v>
                </c:pt>
              </c:numCache>
            </c:numRef>
          </c:yVal>
          <c:bubbleSize>
            <c:numRef>
              <c:f>Sheet1!$C$2:$C$4</c:f>
              <c:numCache>
                <c:formatCode>General</c:formatCode>
                <c:ptCount val="3"/>
                <c:pt idx="0">
                  <c:v>1419.2177999999999</c:v>
                </c:pt>
                <c:pt idx="1">
                  <c:v>1560.2153000000001</c:v>
                </c:pt>
                <c:pt idx="2">
                  <c:v>8664.1614000000009</c:v>
                </c:pt>
              </c:numCache>
            </c:numRef>
          </c:bubbleSize>
          <c:bubble3D val="0"/>
          <c:extLst>
            <c:ext xmlns:c15="http://schemas.microsoft.com/office/drawing/2012/chart" uri="{02D57815-91ED-43cb-92C2-25804820EDAC}">
              <c15:datalabelsRange>
                <c15:f>Sheet1!$E$2:$E$21</c15:f>
                <c15:dlblRangeCache>
                  <c:ptCount val="20"/>
                  <c:pt idx="0">
                    <c:v>1/2 CHAMP NICOLAS BLC/BLC BS 1CT X 375ML</c:v>
                  </c:pt>
                  <c:pt idx="1">
                    <c:v>MG CHAMPAGNE NICOLAS BLC/BL BS 1CT X 1500ML</c:v>
                  </c:pt>
                  <c:pt idx="2">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31</c:v>
                </c:pt>
                <c:pt idx="1">
                  <c:v>0.63</c:v>
                </c:pt>
              </c:numCache>
            </c:numRef>
          </c:xVal>
          <c:yVal>
            <c:numRef>
              <c:f>Sheet1!$B$2:$B$3</c:f>
              <c:numCache>
                <c:formatCode>General</c:formatCode>
                <c:ptCount val="2"/>
                <c:pt idx="0">
                  <c:v>105.258064516129</c:v>
                </c:pt>
                <c:pt idx="1">
                  <c:v>348.38095238095241</c:v>
                </c:pt>
              </c:numCache>
            </c:numRef>
          </c:yVal>
          <c:bubbleSize>
            <c:numRef>
              <c:f>Sheet1!$C$2:$C$3</c:f>
              <c:numCache>
                <c:formatCode>General</c:formatCode>
                <c:ptCount val="2"/>
                <c:pt idx="0">
                  <c:v>2232.8229000000001</c:v>
                </c:pt>
                <c:pt idx="1">
                  <c:v>16531.504199999999</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7</c:v>
                </c:pt>
              </c:numCache>
            </c:numRef>
          </c:xVal>
          <c:yVal>
            <c:numRef>
              <c:f>Sheet1!$B$2:$B$2</c:f>
              <c:numCache>
                <c:formatCode>General</c:formatCode>
                <c:ptCount val="1"/>
                <c:pt idx="0">
                  <c:v>118.1791044776119</c:v>
                </c:pt>
              </c:numCache>
            </c:numRef>
          </c:yVal>
          <c:bubbleSize>
            <c:numRef>
              <c:f>Sheet1!$C$2:$C$2</c:f>
              <c:numCache>
                <c:formatCode>General</c:formatCode>
                <c:ptCount val="1"/>
                <c:pt idx="0">
                  <c:v>5937.3135000000002</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3</c:v>
                </c:pt>
                <c:pt idx="1">
                  <c:v>0.87</c:v>
                </c:pt>
              </c:numCache>
            </c:numRef>
          </c:xVal>
          <c:yVal>
            <c:numRef>
              <c:f>Sheet1!$B$2:$B$3</c:f>
              <c:numCache>
                <c:formatCode>General</c:formatCode>
                <c:ptCount val="2"/>
                <c:pt idx="0">
                  <c:v>35.460317460317462</c:v>
                </c:pt>
                <c:pt idx="1">
                  <c:v>92.183908045977006</c:v>
                </c:pt>
              </c:numCache>
            </c:numRef>
          </c:yVal>
          <c:bubbleSize>
            <c:numRef>
              <c:f>Sheet1!$C$2:$C$3</c:f>
              <c:numCache>
                <c:formatCode>General</c:formatCode>
                <c:ptCount val="2"/>
                <c:pt idx="0">
                  <c:v>1650.7646</c:v>
                </c:pt>
                <c:pt idx="1">
                  <c:v>5867.2008000000014</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4</c:v>
                </c:pt>
                <c:pt idx="1">
                  <c:v>0.55000000000000004</c:v>
                </c:pt>
              </c:numCache>
            </c:numRef>
          </c:xVal>
          <c:yVal>
            <c:numRef>
              <c:f>Sheet1!$B$2:$B$3</c:f>
              <c:numCache>
                <c:formatCode>General</c:formatCode>
                <c:ptCount val="2"/>
                <c:pt idx="0">
                  <c:v>53.7</c:v>
                </c:pt>
                <c:pt idx="1">
                  <c:v>169.1454545454545</c:v>
                </c:pt>
              </c:numCache>
            </c:numRef>
          </c:yVal>
          <c:bubbleSize>
            <c:numRef>
              <c:f>Sheet1!$C$2:$C$3</c:f>
              <c:numCache>
                <c:formatCode>General</c:formatCode>
                <c:ptCount val="2"/>
                <c:pt idx="0">
                  <c:v>1541.3326999999999</c:v>
                </c:pt>
                <c:pt idx="1">
                  <c:v>6924.7790999999997</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4</c:v>
                </c:pt>
                <c:pt idx="1">
                  <c:v>0.65</c:v>
                </c:pt>
              </c:numCache>
            </c:numRef>
          </c:xVal>
          <c:yVal>
            <c:numRef>
              <c:f>Sheet1!$B$2:$B$3</c:f>
              <c:numCache>
                <c:formatCode>General</c:formatCode>
                <c:ptCount val="2"/>
                <c:pt idx="0">
                  <c:v>70.8</c:v>
                </c:pt>
                <c:pt idx="1">
                  <c:v>237.92307692307691</c:v>
                </c:pt>
              </c:numCache>
            </c:numRef>
          </c:yVal>
          <c:bubbleSize>
            <c:numRef>
              <c:f>Sheet1!$C$2:$C$3</c:f>
              <c:numCache>
                <c:formatCode>General</c:formatCode>
                <c:ptCount val="2"/>
                <c:pt idx="0">
                  <c:v>1918.5488</c:v>
                </c:pt>
                <c:pt idx="1">
                  <c:v>11660.7888</c:v>
                </c:pt>
              </c:numCache>
            </c:numRef>
          </c:bubbleSize>
          <c:bubble3D val="0"/>
          <c:extLst>
            <c:ext xmlns:c15="http://schemas.microsoft.com/office/drawing/2012/chart" uri="{02D57815-91ED-43cb-92C2-25804820EDAC}">
              <c15:datalabelsRange>
                <c15:f>Sheet1!$E$2:$E$21</c15:f>
                <c15:dlblRangeCache>
                  <c:ptCount val="20"/>
                  <c:pt idx="0">
                    <c:v>MG CHAMPAGNE NICOLAS BLC/BL BS 1CT X 1500ML</c:v>
                  </c:pt>
                  <c:pt idx="1">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3</c:v>
                </c:pt>
              </c:numCache>
            </c:numRef>
          </c:xVal>
          <c:yVal>
            <c:numRef>
              <c:f>Sheet1!$B$2:$B$2</c:f>
              <c:numCache>
                <c:formatCode>General</c:formatCode>
                <c:ptCount val="1"/>
                <c:pt idx="0">
                  <c:v>125.50793650793651</c:v>
                </c:pt>
              </c:numCache>
            </c:numRef>
          </c:yVal>
          <c:bubbleSize>
            <c:numRef>
              <c:f>Sheet1!$C$2:$C$2</c:f>
              <c:numCache>
                <c:formatCode>General</c:formatCode>
                <c:ptCount val="1"/>
                <c:pt idx="0">
                  <c:v>5885.8821000000007</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1</c:v>
                </c:pt>
              </c:numCache>
            </c:numRef>
          </c:xVal>
          <c:yVal>
            <c:numRef>
              <c:f>Sheet1!$B$2:$B$2</c:f>
              <c:numCache>
                <c:formatCode>General</c:formatCode>
                <c:ptCount val="1"/>
                <c:pt idx="0">
                  <c:v>56.411764705882362</c:v>
                </c:pt>
              </c:numCache>
            </c:numRef>
          </c:yVal>
          <c:bubbleSize>
            <c:numRef>
              <c:f>Sheet1!$C$2:$C$2</c:f>
              <c:numCache>
                <c:formatCode>General</c:formatCode>
                <c:ptCount val="1"/>
                <c:pt idx="0">
                  <c:v>2124.1763999999998</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Ayala</c:v>
                </c:pt>
                <c:pt idx="3">
                  <c:v>Nicolas</c:v>
                </c:pt>
                <c:pt idx="4">
                  <c:v>De Bligny</c:v>
                </c:pt>
                <c:pt idx="5">
                  <c:v>Besserat De Bellefon</c:v>
                </c:pt>
                <c:pt idx="6">
                  <c:v>Henriot</c:v>
                </c:pt>
                <c:pt idx="7">
                  <c:v>Delamotte</c:v>
                </c:pt>
                <c:pt idx="8">
                  <c:v>Deutz</c:v>
                </c:pt>
                <c:pt idx="9">
                  <c:v>Others</c:v>
                </c:pt>
              </c:strCache>
            </c:strRef>
          </c:cat>
          <c:val>
            <c:numRef>
              <c:f>Sheet1!$B$2:$B$11</c:f>
              <c:numCache>
                <c:formatCode>General</c:formatCode>
                <c:ptCount val="10"/>
                <c:pt idx="0">
                  <c:v>0.80194812680115268</c:v>
                </c:pt>
                <c:pt idx="1">
                  <c:v>4.2466858789625361E-2</c:v>
                </c:pt>
                <c:pt idx="2">
                  <c:v>2.5544668587896252E-2</c:v>
                </c:pt>
                <c:pt idx="3">
                  <c:v>2.0714697406340056E-2</c:v>
                </c:pt>
                <c:pt idx="4">
                  <c:v>1.9204610951008647E-2</c:v>
                </c:pt>
                <c:pt idx="5">
                  <c:v>1.8132564841498559E-2</c:v>
                </c:pt>
                <c:pt idx="6">
                  <c:v>1.6541786743515849E-2</c:v>
                </c:pt>
                <c:pt idx="7">
                  <c:v>1.6414985590778097E-2</c:v>
                </c:pt>
                <c:pt idx="8">
                  <c:v>1.0927953890489913E-2</c:v>
                </c:pt>
                <c:pt idx="9">
                  <c:v>2.810374639769452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Ayala</c:v>
                </c:pt>
                <c:pt idx="3">
                  <c:v>Nicolas</c:v>
                </c:pt>
                <c:pt idx="4">
                  <c:v>De Bligny</c:v>
                </c:pt>
                <c:pt idx="5">
                  <c:v>Besserat De Bellefon</c:v>
                </c:pt>
                <c:pt idx="6">
                  <c:v>Henriot</c:v>
                </c:pt>
                <c:pt idx="7">
                  <c:v>Delamotte</c:v>
                </c:pt>
                <c:pt idx="8">
                  <c:v>Deutz</c:v>
                </c:pt>
                <c:pt idx="9">
                  <c:v>Others</c:v>
                </c:pt>
              </c:strCache>
            </c:strRef>
          </c:cat>
          <c:val>
            <c:numRef>
              <c:f>Sheet1!$C$2:$C$11</c:f>
              <c:numCache>
                <c:formatCode>General</c:formatCode>
                <c:ptCount val="10"/>
                <c:pt idx="0">
                  <c:v>0.25358851674641142</c:v>
                </c:pt>
                <c:pt idx="1">
                  <c:v>6.7783094098883556E-2</c:v>
                </c:pt>
                <c:pt idx="2">
                  <c:v>0.10366826156299838</c:v>
                </c:pt>
                <c:pt idx="3">
                  <c:v>0.1347687400318979</c:v>
                </c:pt>
                <c:pt idx="4">
                  <c:v>4.3062200956937795E-2</c:v>
                </c:pt>
                <c:pt idx="5">
                  <c:v>6.1403508771929814E-2</c:v>
                </c:pt>
                <c:pt idx="6">
                  <c:v>7.5757575757575746E-2</c:v>
                </c:pt>
                <c:pt idx="7">
                  <c:v>4.0669856459330134E-2</c:v>
                </c:pt>
                <c:pt idx="8">
                  <c:v>4.3062200956937795E-2</c:v>
                </c:pt>
                <c:pt idx="9">
                  <c:v>0.176236044657097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Malard</c:v>
                </c:pt>
                <c:pt idx="2">
                  <c:v>Ayala</c:v>
                </c:pt>
                <c:pt idx="3">
                  <c:v>Nicolas</c:v>
                </c:pt>
                <c:pt idx="4">
                  <c:v>De Bligny</c:v>
                </c:pt>
                <c:pt idx="5">
                  <c:v>Besserat De Bellefon</c:v>
                </c:pt>
                <c:pt idx="6">
                  <c:v>Henriot</c:v>
                </c:pt>
                <c:pt idx="7">
                  <c:v>Delamotte</c:v>
                </c:pt>
                <c:pt idx="8">
                  <c:v>Deutz</c:v>
                </c:pt>
                <c:pt idx="9">
                  <c:v>Others</c:v>
                </c:pt>
              </c:strCache>
            </c:strRef>
          </c:cat>
          <c:val>
            <c:numRef>
              <c:f>Sheet1!$D$2:$D$11</c:f>
              <c:numCache>
                <c:formatCode>General</c:formatCode>
                <c:ptCount val="10"/>
                <c:pt idx="0">
                  <c:v>31.621561080008615</c:v>
                </c:pt>
                <c:pt idx="1">
                  <c:v>159.61409916064463</c:v>
                </c:pt>
                <c:pt idx="2">
                  <c:v>405.83130372699054</c:v>
                </c:pt>
                <c:pt idx="3">
                  <c:v>650.59478006494965</c:v>
                </c:pt>
                <c:pt idx="4">
                  <c:v>224.2284473598051</c:v>
                </c:pt>
                <c:pt idx="5">
                  <c:v>338.63664246439362</c:v>
                </c:pt>
                <c:pt idx="6">
                  <c:v>457.97698236722624</c:v>
                </c:pt>
                <c:pt idx="7">
                  <c:v>247.76053706789955</c:v>
                </c:pt>
                <c:pt idx="8">
                  <c:v>394.05547816607105</c:v>
                </c:pt>
                <c:pt idx="9">
                  <c:v>627.090930024740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9</c:v>
                </c:pt>
              </c:numCache>
            </c:numRef>
          </c:xVal>
          <c:yVal>
            <c:numRef>
              <c:f>Sheet1!$B$2:$B$2</c:f>
              <c:numCache>
                <c:formatCode>General</c:formatCode>
                <c:ptCount val="1"/>
                <c:pt idx="0">
                  <c:v>59.420289855072461</c:v>
                </c:pt>
              </c:numCache>
            </c:numRef>
          </c:yVal>
          <c:bubbleSize>
            <c:numRef>
              <c:f>Sheet1!$C$2:$C$2</c:f>
              <c:numCache>
                <c:formatCode>General</c:formatCode>
                <c:ptCount val="1"/>
                <c:pt idx="0">
                  <c:v>3020.8625999999999</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c:v>
                </c:pt>
              </c:numCache>
            </c:numRef>
          </c:xVal>
          <c:yVal>
            <c:numRef>
              <c:f>Sheet1!$B$2:$B$2</c:f>
              <c:numCache>
                <c:formatCode>General</c:formatCode>
                <c:ptCount val="1"/>
                <c:pt idx="0">
                  <c:v>33.737499999999997</c:v>
                </c:pt>
              </c:numCache>
            </c:numRef>
          </c:yVal>
          <c:bubbleSize>
            <c:numRef>
              <c:f>Sheet1!$C$2:$C$2</c:f>
              <c:numCache>
                <c:formatCode>General</c:formatCode>
                <c:ptCount val="1"/>
                <c:pt idx="0">
                  <c:v>1980.9558</c:v>
                </c:pt>
              </c:numCache>
            </c:numRef>
          </c:bubbleSize>
          <c:bubble3D val="0"/>
          <c:extLst>
            <c:ext xmlns:c15="http://schemas.microsoft.com/office/drawing/2012/chart" uri="{02D57815-91ED-43cb-92C2-25804820EDAC}">
              <c15:datalabelsRange>
                <c15:f>Sheet1!$E$2:$E$21</c15:f>
                <c15:dlblRangeCache>
                  <c:ptCount val="20"/>
                  <c:pt idx="0">
                    <c:v>CHAMPAGNE NICOLAS BLC/BLC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48</c:v>
                </c:pt>
                <c:pt idx="1">
                  <c:v>0.75</c:v>
                </c:pt>
                <c:pt idx="2">
                  <c:v>0.23</c:v>
                </c:pt>
                <c:pt idx="3">
                  <c:v>0.49</c:v>
                </c:pt>
                <c:pt idx="4">
                  <c:v>0.99</c:v>
                </c:pt>
              </c:numCache>
            </c:numRef>
          </c:xVal>
          <c:yVal>
            <c:numRef>
              <c:f>Sheet1!$B$2:$B$6</c:f>
              <c:numCache>
                <c:formatCode>General</c:formatCode>
                <c:ptCount val="5"/>
                <c:pt idx="0">
                  <c:v>100.6666666666667</c:v>
                </c:pt>
                <c:pt idx="1">
                  <c:v>155.21333333333331</c:v>
                </c:pt>
                <c:pt idx="2">
                  <c:v>108.17391304347829</c:v>
                </c:pt>
                <c:pt idx="3">
                  <c:v>107.91836734693879</c:v>
                </c:pt>
                <c:pt idx="4">
                  <c:v>2042.434343434343</c:v>
                </c:pt>
              </c:numCache>
            </c:numRef>
          </c:yVal>
          <c:bubbleSize>
            <c:numRef>
              <c:f>Sheet1!$C$2:$C$6</c:f>
              <c:numCache>
                <c:formatCode>General</c:formatCode>
                <c:ptCount val="5"/>
                <c:pt idx="0">
                  <c:v>3877.0844999999999</c:v>
                </c:pt>
                <c:pt idx="1">
                  <c:v>9648.4393000000018</c:v>
                </c:pt>
                <c:pt idx="2">
                  <c:v>1278.75</c:v>
                </c:pt>
                <c:pt idx="3">
                  <c:v>4171.1099999999997</c:v>
                </c:pt>
                <c:pt idx="4">
                  <c:v>163212.90659999999</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NICOLAS BIO NAT 2017 1CT X 75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49</c:v>
                </c:pt>
                <c:pt idx="1">
                  <c:v>0.52</c:v>
                </c:pt>
                <c:pt idx="2">
                  <c:v>0.37</c:v>
                </c:pt>
                <c:pt idx="3">
                  <c:v>1</c:v>
                </c:pt>
              </c:numCache>
            </c:numRef>
          </c:xVal>
          <c:yVal>
            <c:numRef>
              <c:f>Sheet1!$B$2:$B$5</c:f>
              <c:numCache>
                <c:formatCode>General</c:formatCode>
                <c:ptCount val="4"/>
                <c:pt idx="0">
                  <c:v>175.91836734693879</c:v>
                </c:pt>
                <c:pt idx="1">
                  <c:v>219.21153846153851</c:v>
                </c:pt>
                <c:pt idx="2">
                  <c:v>82.675675675675677</c:v>
                </c:pt>
                <c:pt idx="3">
                  <c:v>1829.28</c:v>
                </c:pt>
              </c:numCache>
            </c:numRef>
          </c:yVal>
          <c:bubbleSize>
            <c:numRef>
              <c:f>Sheet1!$C$2:$C$5</c:f>
              <c:numCache>
                <c:formatCode>General</c:formatCode>
                <c:ptCount val="4"/>
                <c:pt idx="0">
                  <c:v>7042.5024000000003</c:v>
                </c:pt>
                <c:pt idx="1">
                  <c:v>9807.258600000001</c:v>
                </c:pt>
                <c:pt idx="2">
                  <c:v>2404.0725000000002</c:v>
                </c:pt>
                <c:pt idx="3">
                  <c:v>146068.99830000001</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34</c:v>
                </c:pt>
                <c:pt idx="1">
                  <c:v>0.9</c:v>
                </c:pt>
                <c:pt idx="2">
                  <c:v>0.61</c:v>
                </c:pt>
                <c:pt idx="3">
                  <c:v>1</c:v>
                </c:pt>
              </c:numCache>
            </c:numRef>
          </c:xVal>
          <c:yVal>
            <c:numRef>
              <c:f>Sheet1!$B$2:$B$5</c:f>
              <c:numCache>
                <c:formatCode>General</c:formatCode>
                <c:ptCount val="4"/>
                <c:pt idx="0">
                  <c:v>42.558823529411768</c:v>
                </c:pt>
                <c:pt idx="1">
                  <c:v>67.266666666666666</c:v>
                </c:pt>
                <c:pt idx="2">
                  <c:v>45.557377049180317</c:v>
                </c:pt>
                <c:pt idx="3">
                  <c:v>956.39</c:v>
                </c:pt>
              </c:numCache>
            </c:numRef>
          </c:yVal>
          <c:bubbleSize>
            <c:numRef>
              <c:f>Sheet1!$C$2:$C$5</c:f>
              <c:numCache>
                <c:formatCode>General</c:formatCode>
                <c:ptCount val="4"/>
                <c:pt idx="0">
                  <c:v>1131.6672000000001</c:v>
                </c:pt>
                <c:pt idx="1">
                  <c:v>4882.7226000000001</c:v>
                </c:pt>
                <c:pt idx="2">
                  <c:v>2151.1799999999998</c:v>
                </c:pt>
                <c:pt idx="3">
                  <c:v>76538.395900000003</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2</c:v>
                </c:pt>
                <c:pt idx="1">
                  <c:v>0.54</c:v>
                </c:pt>
                <c:pt idx="2">
                  <c:v>1</c:v>
                </c:pt>
              </c:numCache>
            </c:numRef>
          </c:xVal>
          <c:yVal>
            <c:numRef>
              <c:f>Sheet1!$B$2:$B$4</c:f>
              <c:numCache>
                <c:formatCode>General</c:formatCode>
                <c:ptCount val="3"/>
                <c:pt idx="0">
                  <c:v>26.14516129032258</c:v>
                </c:pt>
                <c:pt idx="1">
                  <c:v>39.296296296296298</c:v>
                </c:pt>
                <c:pt idx="2">
                  <c:v>561.4</c:v>
                </c:pt>
              </c:numCache>
            </c:numRef>
          </c:yVal>
          <c:bubbleSize>
            <c:numRef>
              <c:f>Sheet1!$C$2:$C$4</c:f>
              <c:numCache>
                <c:formatCode>General</c:formatCode>
                <c:ptCount val="3"/>
                <c:pt idx="0">
                  <c:v>1244.5839000000001</c:v>
                </c:pt>
                <c:pt idx="1">
                  <c:v>1768.5559000000001</c:v>
                </c:pt>
                <c:pt idx="2">
                  <c:v>44770.593800000002</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46</c:v>
                </c:pt>
                <c:pt idx="1">
                  <c:v>0.75</c:v>
                </c:pt>
                <c:pt idx="2">
                  <c:v>0.61</c:v>
                </c:pt>
                <c:pt idx="3">
                  <c:v>1</c:v>
                </c:pt>
              </c:numCache>
            </c:numRef>
          </c:xVal>
          <c:yVal>
            <c:numRef>
              <c:f>Sheet1!$B$2:$B$5</c:f>
              <c:numCache>
                <c:formatCode>General</c:formatCode>
                <c:ptCount val="4"/>
                <c:pt idx="0">
                  <c:v>98.978260869565219</c:v>
                </c:pt>
                <c:pt idx="1">
                  <c:v>75.293333333333337</c:v>
                </c:pt>
                <c:pt idx="2">
                  <c:v>36.295081967213108</c:v>
                </c:pt>
                <c:pt idx="3">
                  <c:v>1149.8800000000001</c:v>
                </c:pt>
              </c:numCache>
            </c:numRef>
          </c:yVal>
          <c:bubbleSize>
            <c:numRef>
              <c:f>Sheet1!$C$2:$C$5</c:f>
              <c:numCache>
                <c:formatCode>General</c:formatCode>
                <c:ptCount val="4"/>
                <c:pt idx="0">
                  <c:v>3724.1676000000002</c:v>
                </c:pt>
                <c:pt idx="1">
                  <c:v>4993.5696000000007</c:v>
                </c:pt>
                <c:pt idx="2">
                  <c:v>1714.905</c:v>
                </c:pt>
                <c:pt idx="3">
                  <c:v>91989.461899999995</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1/2 CHAMPAGNE NICOLAS 1ERE CUV 1CT X 375ML</c:v>
                  </c:pt>
                  <c:pt idx="3">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35</c:v>
                </c:pt>
                <c:pt idx="1">
                  <c:v>0.87</c:v>
                </c:pt>
                <c:pt idx="2">
                  <c:v>0.45</c:v>
                </c:pt>
                <c:pt idx="3">
                  <c:v>0.43</c:v>
                </c:pt>
                <c:pt idx="4">
                  <c:v>1</c:v>
                </c:pt>
              </c:numCache>
            </c:numRef>
          </c:xVal>
          <c:yVal>
            <c:numRef>
              <c:f>Sheet1!$B$2:$B$6</c:f>
              <c:numCache>
                <c:formatCode>General</c:formatCode>
                <c:ptCount val="5"/>
                <c:pt idx="0">
                  <c:v>67.114285714285714</c:v>
                </c:pt>
                <c:pt idx="1">
                  <c:v>91.298850574712645</c:v>
                </c:pt>
                <c:pt idx="2">
                  <c:v>62.244444444444447</c:v>
                </c:pt>
                <c:pt idx="3">
                  <c:v>54.046511627906973</c:v>
                </c:pt>
                <c:pt idx="4">
                  <c:v>1137.1300000000001</c:v>
                </c:pt>
              </c:numCache>
            </c:numRef>
          </c:yVal>
          <c:bubbleSize>
            <c:numRef>
              <c:f>Sheet1!$C$2:$C$6</c:f>
              <c:numCache>
                <c:formatCode>General</c:formatCode>
                <c:ptCount val="5"/>
                <c:pt idx="0">
                  <c:v>1846.6674</c:v>
                </c:pt>
                <c:pt idx="1">
                  <c:v>6755.3112000000001</c:v>
                </c:pt>
                <c:pt idx="2">
                  <c:v>1382.94</c:v>
                </c:pt>
                <c:pt idx="3">
                  <c:v>1827.87</c:v>
                </c:pt>
                <c:pt idx="4">
                  <c:v>90795.169100000014</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MG CHAMPAGNE NICOLAS 1ERE CUVE 1CT X 1500ML</c:v>
                  </c:pt>
                  <c:pt idx="3">
                    <c:v>1/2 CHAMPAGNE NICOLAS 1ERE CUV 1CT X 375ML</c:v>
                  </c:pt>
                  <c:pt idx="4">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9</c:v>
                </c:pt>
                <c:pt idx="1">
                  <c:v>0.56999999999999995</c:v>
                </c:pt>
                <c:pt idx="2">
                  <c:v>1</c:v>
                </c:pt>
              </c:numCache>
            </c:numRef>
          </c:xVal>
          <c:yVal>
            <c:numRef>
              <c:f>Sheet1!$B$2:$B$4</c:f>
              <c:numCache>
                <c:formatCode>General</c:formatCode>
                <c:ptCount val="3"/>
                <c:pt idx="0">
                  <c:v>90.835443037974684</c:v>
                </c:pt>
                <c:pt idx="1">
                  <c:v>37.807017543859651</c:v>
                </c:pt>
                <c:pt idx="2">
                  <c:v>844.86</c:v>
                </c:pt>
              </c:numCache>
            </c:numRef>
          </c:yVal>
          <c:bubbleSize>
            <c:numRef>
              <c:f>Sheet1!$C$2:$C$4</c:f>
              <c:numCache>
                <c:formatCode>General</c:formatCode>
                <c:ptCount val="3"/>
                <c:pt idx="0">
                  <c:v>5936.1959000000006</c:v>
                </c:pt>
                <c:pt idx="1">
                  <c:v>1660.0274999999999</c:v>
                </c:pt>
                <c:pt idx="2">
                  <c:v>67650.225100000011</c:v>
                </c:pt>
              </c:numCache>
            </c:numRef>
          </c:bubbleSize>
          <c:bubble3D val="0"/>
          <c:extLst>
            <c:ext xmlns:c15="http://schemas.microsoft.com/office/drawing/2012/chart" uri="{02D57815-91ED-43cb-92C2-25804820EDAC}">
              <c15:datalabelsRange>
                <c15:f>Sheet1!$E$2:$E$21</c15:f>
                <c15:dlblRangeCache>
                  <c:ptCount val="20"/>
                  <c:pt idx="0">
                    <c:v>CHAMPAGNE NICOLAS 1ERE CUVEE 1CT X 750ML</c:v>
                  </c:pt>
                  <c:pt idx="1">
                    <c:v>1/2 CHAMPAGNE NICOLAS 1ERE CUV 1CT X 375ML</c:v>
                  </c:pt>
                  <c:pt idx="2">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9</c:v>
                </c:pt>
                <c:pt idx="1">
                  <c:v>0.76</c:v>
                </c:pt>
                <c:pt idx="2">
                  <c:v>1</c:v>
                </c:pt>
              </c:numCache>
            </c:numRef>
          </c:xVal>
          <c:yVal>
            <c:numRef>
              <c:f>Sheet1!$B$2:$B$4</c:f>
              <c:numCache>
                <c:formatCode>General</c:formatCode>
                <c:ptCount val="3"/>
                <c:pt idx="0">
                  <c:v>38.551020408163268</c:v>
                </c:pt>
                <c:pt idx="1">
                  <c:v>48.723684210526322</c:v>
                </c:pt>
                <c:pt idx="2">
                  <c:v>635.45000000000005</c:v>
                </c:pt>
              </c:numCache>
            </c:numRef>
          </c:yVal>
          <c:bubbleSize>
            <c:numRef>
              <c:f>Sheet1!$C$2:$C$4</c:f>
              <c:numCache>
                <c:formatCode>General</c:formatCode>
                <c:ptCount val="3"/>
                <c:pt idx="0">
                  <c:v>1505.4170999999999</c:v>
                </c:pt>
                <c:pt idx="1">
                  <c:v>3271.8853000000008</c:v>
                </c:pt>
                <c:pt idx="2">
                  <c:v>50783.436800000003</c:v>
                </c:pt>
              </c:numCache>
            </c:numRef>
          </c:bubbleSize>
          <c:bubble3D val="0"/>
          <c:extLst>
            <c:ext xmlns:c15="http://schemas.microsoft.com/office/drawing/2012/chart" uri="{02D57815-91ED-43cb-92C2-25804820EDAC}">
              <c15:datalabelsRange>
                <c15:f>Sheet1!$E$2:$E$21</c15:f>
                <c15:dlblRangeCache>
                  <c:ptCount val="20"/>
                  <c:pt idx="0">
                    <c:v>MG CHAMPAGNE E.NICOLAS BRUT 1CT X 1500ML</c:v>
                  </c:pt>
                  <c:pt idx="1">
                    <c:v>CHAMPAGNE NICOLAS 1ERE CUVEE 1CT X 750ML</c:v>
                  </c:pt>
                  <c:pt idx="2">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Ayala</c:v>
                </c:pt>
                <c:pt idx="6">
                  <c:v>De Bligny</c:v>
                </c:pt>
                <c:pt idx="7">
                  <c:v>Canard Duchêne</c:v>
                </c:pt>
                <c:pt idx="8">
                  <c:v>Roederer</c:v>
                </c:pt>
                <c:pt idx="9">
                  <c:v>Others</c:v>
                </c:pt>
              </c:strCache>
            </c:strRef>
          </c:cat>
          <c:val>
            <c:numRef>
              <c:f>Sheet1!$B$2:$B$11</c:f>
              <c:numCache>
                <c:formatCode>General</c:formatCode>
                <c:ptCount val="10"/>
                <c:pt idx="0">
                  <c:v>0.20681157001213463</c:v>
                </c:pt>
                <c:pt idx="1">
                  <c:v>0.13238481766563262</c:v>
                </c:pt>
                <c:pt idx="2">
                  <c:v>0.11108306712402111</c:v>
                </c:pt>
                <c:pt idx="3">
                  <c:v>5.6788496292321793E-2</c:v>
                </c:pt>
                <c:pt idx="4">
                  <c:v>4.6557510741264185E-2</c:v>
                </c:pt>
                <c:pt idx="5">
                  <c:v>4.4210864343276882E-2</c:v>
                </c:pt>
                <c:pt idx="6">
                  <c:v>4.3546087084088261E-2</c:v>
                </c:pt>
                <c:pt idx="7">
                  <c:v>3.8073659168525946E-2</c:v>
                </c:pt>
                <c:pt idx="8">
                  <c:v>3.6249131486704167E-2</c:v>
                </c:pt>
                <c:pt idx="9">
                  <c:v>0.284294796082030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Ayala</c:v>
                </c:pt>
                <c:pt idx="6">
                  <c:v>De Bligny</c:v>
                </c:pt>
                <c:pt idx="7">
                  <c:v>Canard Duchêne</c:v>
                </c:pt>
                <c:pt idx="8">
                  <c:v>Roederer</c:v>
                </c:pt>
                <c:pt idx="9">
                  <c:v>Others</c:v>
                </c:pt>
              </c:strCache>
            </c:strRef>
          </c:cat>
          <c:val>
            <c:numRef>
              <c:f>Sheet1!$C$2:$C$11</c:f>
              <c:numCache>
                <c:formatCode>General</c:formatCode>
                <c:ptCount val="10"/>
                <c:pt idx="0">
                  <c:v>7.9020828859780942E-2</c:v>
                </c:pt>
                <c:pt idx="1">
                  <c:v>7.3437835516426866E-2</c:v>
                </c:pt>
                <c:pt idx="2">
                  <c:v>5.6044663946746814E-2</c:v>
                </c:pt>
                <c:pt idx="3">
                  <c:v>2.0399398754563015E-2</c:v>
                </c:pt>
                <c:pt idx="4">
                  <c:v>5.926562164483571E-2</c:v>
                </c:pt>
                <c:pt idx="5">
                  <c:v>2.2331973373416355E-2</c:v>
                </c:pt>
                <c:pt idx="6">
                  <c:v>2.018466824135709E-2</c:v>
                </c:pt>
                <c:pt idx="7">
                  <c:v>6.4848614988189793E-2</c:v>
                </c:pt>
                <c:pt idx="8">
                  <c:v>8.3744900150311344E-2</c:v>
                </c:pt>
                <c:pt idx="9">
                  <c:v>0.520721494524371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Ayala</c:v>
                </c:pt>
                <c:pt idx="6">
                  <c:v>De Bligny</c:v>
                </c:pt>
                <c:pt idx="7">
                  <c:v>Canard Duchêne</c:v>
                </c:pt>
                <c:pt idx="8">
                  <c:v>Roederer</c:v>
                </c:pt>
                <c:pt idx="9">
                  <c:v>Others</c:v>
                </c:pt>
              </c:strCache>
            </c:strRef>
          </c:cat>
          <c:val>
            <c:numRef>
              <c:f>Sheet1!$D$2:$D$11</c:f>
              <c:numCache>
                <c:formatCode>General</c:formatCode>
                <c:ptCount val="10"/>
                <c:pt idx="0">
                  <c:v>38.2090948079667</c:v>
                </c:pt>
                <c:pt idx="1">
                  <c:v>55.473004239738799</c:v>
                </c:pt>
                <c:pt idx="2">
                  <c:v>50.452931664350366</c:v>
                </c:pt>
                <c:pt idx="3">
                  <c:v>35.921709653229819</c:v>
                </c:pt>
                <c:pt idx="4">
                  <c:v>127.29551194047892</c:v>
                </c:pt>
                <c:pt idx="5">
                  <c:v>50.512410705248655</c:v>
                </c:pt>
                <c:pt idx="6">
                  <c:v>46.352427032950494</c:v>
                </c:pt>
                <c:pt idx="7">
                  <c:v>170.32409388640451</c:v>
                </c:pt>
                <c:pt idx="8">
                  <c:v>231.02594935558156</c:v>
                </c:pt>
                <c:pt idx="9">
                  <c:v>183.162513595262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9</c:v>
                </c:pt>
                <c:pt idx="1">
                  <c:v>1</c:v>
                </c:pt>
              </c:numCache>
            </c:numRef>
          </c:xVal>
          <c:yVal>
            <c:numRef>
              <c:f>Sheet1!$B$2:$B$3</c:f>
              <c:numCache>
                <c:formatCode>General</c:formatCode>
                <c:ptCount val="2"/>
                <c:pt idx="0">
                  <c:v>43.115942028985508</c:v>
                </c:pt>
                <c:pt idx="1">
                  <c:v>391.8</c:v>
                </c:pt>
              </c:numCache>
            </c:numRef>
          </c:yVal>
          <c:bubbleSize>
            <c:numRef>
              <c:f>Sheet1!$C$2:$C$3</c:f>
              <c:numCache>
                <c:formatCode>General</c:formatCode>
                <c:ptCount val="2"/>
                <c:pt idx="0">
                  <c:v>2453.0792000000001</c:v>
                </c:pt>
                <c:pt idx="1">
                  <c:v>31331.627499999999</c:v>
                </c:pt>
              </c:numCache>
            </c:numRef>
          </c:bubbleSize>
          <c:bubble3D val="0"/>
          <c:extLst>
            <c:ext xmlns:c15="http://schemas.microsoft.com/office/drawing/2012/chart" uri="{02D57815-91ED-43cb-92C2-25804820EDAC}">
              <c15:datalabelsRange>
                <c15:f>Sheet1!$E$2:$E$21</c15:f>
                <c15:dlblRangeCache>
                  <c:ptCount val="20"/>
                  <c:pt idx="0">
                    <c:v>CHAMPAGNE NICOLAS 1ERE CUVEE 1CT X 750ML</c:v>
                  </c:pt>
                  <c:pt idx="1">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1</c:v>
                </c:pt>
              </c:numCache>
            </c:numRef>
          </c:xVal>
          <c:yVal>
            <c:numRef>
              <c:f>Sheet1!$B$2:$B$2</c:f>
              <c:numCache>
                <c:formatCode>General</c:formatCode>
                <c:ptCount val="1"/>
                <c:pt idx="0">
                  <c:v>196.9</c:v>
                </c:pt>
              </c:numCache>
            </c:numRef>
          </c:yVal>
          <c:bubbleSize>
            <c:numRef>
              <c:f>Sheet1!$C$2:$C$2</c:f>
              <c:numCache>
                <c:formatCode>General</c:formatCode>
                <c:ptCount val="1"/>
                <c:pt idx="0">
                  <c:v>15643.313599999999</c:v>
                </c:pt>
              </c:numCache>
            </c:numRef>
          </c:bubbleSize>
          <c:bubble3D val="0"/>
          <c:extLst>
            <c:ext xmlns:c15="http://schemas.microsoft.com/office/drawing/2012/chart" uri="{02D57815-91ED-43cb-92C2-25804820EDAC}">
              <c15:datalabelsRange>
                <c15:f>Sheet1!$E$2:$E$21</c15:f>
                <c15:dlblRangeCache>
                  <c:ptCount val="20"/>
                  <c:pt idx="0">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2</c:v>
                </c:pt>
                <c:pt idx="1">
                  <c:v>1</c:v>
                </c:pt>
              </c:numCache>
            </c:numRef>
          </c:xVal>
          <c:yVal>
            <c:numRef>
              <c:f>Sheet1!$B$2:$B$3</c:f>
              <c:numCache>
                <c:formatCode>General</c:formatCode>
                <c:ptCount val="2"/>
                <c:pt idx="0">
                  <c:v>46.70967741935484</c:v>
                </c:pt>
                <c:pt idx="1">
                  <c:v>180.58</c:v>
                </c:pt>
              </c:numCache>
            </c:numRef>
          </c:yVal>
          <c:bubbleSize>
            <c:numRef>
              <c:f>Sheet1!$C$2:$C$3</c:f>
              <c:numCache>
                <c:formatCode>General</c:formatCode>
                <c:ptCount val="2"/>
                <c:pt idx="0">
                  <c:v>2433.6008999999999</c:v>
                </c:pt>
                <c:pt idx="1">
                  <c:v>14397.3907</c:v>
                </c:pt>
              </c:numCache>
            </c:numRef>
          </c:bubbleSize>
          <c:bubble3D val="0"/>
          <c:extLst>
            <c:ext xmlns:c15="http://schemas.microsoft.com/office/drawing/2012/chart" uri="{02D57815-91ED-43cb-92C2-25804820EDAC}">
              <c15:datalabelsRange>
                <c15:f>Sheet1!$E$2:$E$21</c15:f>
                <c15:dlblRangeCache>
                  <c:ptCount val="20"/>
                  <c:pt idx="0">
                    <c:v>CHAMPAGNE NICOLAS 1ERE CUVEE 1CT X 750ML</c:v>
                  </c:pt>
                  <c:pt idx="1">
                    <c:v>CHAMPAGNE E.NICOLAS BRUT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3</c:v>
                </c:pt>
                <c:pt idx="1">
                  <c:v>0.22</c:v>
                </c:pt>
              </c:numCache>
            </c:numRef>
          </c:xVal>
          <c:yVal>
            <c:numRef>
              <c:f>Sheet1!$B$2:$B$3</c:f>
              <c:numCache>
                <c:formatCode>General</c:formatCode>
                <c:ptCount val="2"/>
                <c:pt idx="0">
                  <c:v>72.066666666666663</c:v>
                </c:pt>
                <c:pt idx="1">
                  <c:v>69.090909090909093</c:v>
                </c:pt>
              </c:numCache>
            </c:numRef>
          </c:yVal>
          <c:bubbleSize>
            <c:numRef>
              <c:f>Sheet1!$C$2:$C$3</c:f>
              <c:numCache>
                <c:formatCode>General</c:formatCode>
                <c:ptCount val="2"/>
                <c:pt idx="0">
                  <c:v>1669.8806</c:v>
                </c:pt>
                <c:pt idx="1">
                  <c:v>1120.7174</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pt idx="1">
                    <c:v>CHAMPAGNE NICOLAS 1ER CRU ETUI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6000000000000005</c:v>
                </c:pt>
              </c:numCache>
            </c:numRef>
          </c:xVal>
          <c:yVal>
            <c:numRef>
              <c:f>Sheet1!$B$2:$B$2</c:f>
              <c:numCache>
                <c:formatCode>General</c:formatCode>
                <c:ptCount val="1"/>
                <c:pt idx="0">
                  <c:v>27.125</c:v>
                </c:pt>
              </c:numCache>
            </c:numRef>
          </c:yVal>
          <c:bubbleSize>
            <c:numRef>
              <c:f>Sheet1!$C$2:$C$2</c:f>
              <c:numCache>
                <c:formatCode>General</c:formatCode>
                <c:ptCount val="1"/>
                <c:pt idx="0">
                  <c:v>1406.8531</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28000000000000003</c:v>
                </c:pt>
              </c:numCache>
            </c:numRef>
          </c:xVal>
          <c:yVal>
            <c:numRef>
              <c:f>Sheet1!$B$2:$B$2</c:f>
              <c:numCache>
                <c:formatCode>General</c:formatCode>
                <c:ptCount val="1"/>
                <c:pt idx="0">
                  <c:v>42.464285714285708</c:v>
                </c:pt>
              </c:numCache>
            </c:numRef>
          </c:yVal>
          <c:bubbleSize>
            <c:numRef>
              <c:f>Sheet1!$C$2:$C$2</c:f>
              <c:numCache>
                <c:formatCode>General</c:formatCode>
                <c:ptCount val="1"/>
                <c:pt idx="0">
                  <c:v>1024.5273</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5</c:v>
                </c:pt>
              </c:numCache>
            </c:numRef>
          </c:xVal>
          <c:yVal>
            <c:numRef>
              <c:f>Sheet1!$B$2:$B$2</c:f>
              <c:numCache>
                <c:formatCode>General</c:formatCode>
                <c:ptCount val="1"/>
                <c:pt idx="0">
                  <c:v>18.564705882352939</c:v>
                </c:pt>
              </c:numCache>
            </c:numRef>
          </c:yVal>
          <c:bubbleSize>
            <c:numRef>
              <c:f>Sheet1!$C$2:$C$2</c:f>
              <c:numCache>
                <c:formatCode>General</c:formatCode>
                <c:ptCount val="1"/>
                <c:pt idx="0">
                  <c:v>1292.4392</c:v>
                </c:pt>
              </c:numCache>
            </c:numRef>
          </c:bubbleSize>
          <c:bubble3D val="0"/>
          <c:extLst>
            <c:ext xmlns:c15="http://schemas.microsoft.com/office/drawing/2012/chart" uri="{02D57815-91ED-43cb-92C2-25804820EDAC}">
              <c15:datalabelsRange>
                <c15:f>Sheet1!$E$2:$E$21</c15:f>
                <c15:dlblRangeCache>
                  <c:ptCount val="20"/>
                  <c:pt idx="0">
                    <c:v>CHAMPAGNE NICOLAS 1ER CRU BS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1</c:v>
                </c:pt>
                <c:pt idx="1">
                  <c:v>0.83</c:v>
                </c:pt>
                <c:pt idx="2">
                  <c:v>0.43</c:v>
                </c:pt>
              </c:numCache>
            </c:numRef>
          </c:xVal>
          <c:yVal>
            <c:numRef>
              <c:f>Sheet1!$B$2:$B$4</c:f>
              <c:numCache>
                <c:formatCode>General</c:formatCode>
                <c:ptCount val="3"/>
                <c:pt idx="0">
                  <c:v>40.512195121951223</c:v>
                </c:pt>
                <c:pt idx="1">
                  <c:v>181.18072289156629</c:v>
                </c:pt>
                <c:pt idx="2">
                  <c:v>49.186046511627907</c:v>
                </c:pt>
              </c:numCache>
            </c:numRef>
          </c:yVal>
          <c:bubbleSize>
            <c:numRef>
              <c:f>Sheet1!$C$2:$C$4</c:f>
              <c:numCache>
                <c:formatCode>General</c:formatCode>
                <c:ptCount val="3"/>
                <c:pt idx="0">
                  <c:v>1203.7316000000001</c:v>
                </c:pt>
                <c:pt idx="1">
                  <c:v>12437.480100000001</c:v>
                </c:pt>
                <c:pt idx="2">
                  <c:v>1583.4626000000001</c:v>
                </c:pt>
              </c:numCache>
            </c:numRef>
          </c:bubbleSize>
          <c:bubble3D val="0"/>
          <c:extLst>
            <c:ext xmlns:c15="http://schemas.microsoft.com/office/drawing/2012/chart" uri="{02D57815-91ED-43cb-92C2-25804820EDAC}">
              <c15:datalabelsRange>
                <c15:f>Sheet1!$E$2:$E$21</c15:f>
                <c15:dlblRangeCache>
                  <c:ptCount val="20"/>
                  <c:pt idx="0">
                    <c:v>1/2 CHAMP NICOLAS ROSE 1E C BS 1CT X 375ML</c:v>
                  </c:pt>
                  <c:pt idx="1">
                    <c:v>CHAMPAGNE E.NICOLAS ROSE 1CT X 750ML</c:v>
                  </c:pt>
                  <c:pt idx="2">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4</c:v>
                </c:pt>
                <c:pt idx="1">
                  <c:v>0.41</c:v>
                </c:pt>
              </c:numCache>
            </c:numRef>
          </c:xVal>
          <c:yVal>
            <c:numRef>
              <c:f>Sheet1!$B$2:$B$3</c:f>
              <c:numCache>
                <c:formatCode>General</c:formatCode>
                <c:ptCount val="2"/>
                <c:pt idx="0">
                  <c:v>167.5</c:v>
                </c:pt>
                <c:pt idx="1">
                  <c:v>57.31707317073171</c:v>
                </c:pt>
              </c:numCache>
            </c:numRef>
          </c:yVal>
          <c:bubbleSize>
            <c:numRef>
              <c:f>Sheet1!$C$2:$C$3</c:f>
              <c:numCache>
                <c:formatCode>General</c:formatCode>
                <c:ptCount val="2"/>
                <c:pt idx="0">
                  <c:v>8833.3191999999999</c:v>
                </c:pt>
                <c:pt idx="1">
                  <c:v>1731.9738</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68</c:v>
                </c:pt>
                <c:pt idx="1">
                  <c:v>0.52</c:v>
                </c:pt>
              </c:numCache>
            </c:numRef>
          </c:xVal>
          <c:yVal>
            <c:numRef>
              <c:f>Sheet1!$B$2:$B$3</c:f>
              <c:numCache>
                <c:formatCode>General</c:formatCode>
                <c:ptCount val="2"/>
                <c:pt idx="0">
                  <c:v>69.044117647058826</c:v>
                </c:pt>
                <c:pt idx="1">
                  <c:v>36.769230769230766</c:v>
                </c:pt>
              </c:numCache>
            </c:numRef>
          </c:yVal>
          <c:bubbleSize>
            <c:numRef>
              <c:f>Sheet1!$C$2:$C$3</c:f>
              <c:numCache>
                <c:formatCode>General</c:formatCode>
                <c:ptCount val="2"/>
                <c:pt idx="0">
                  <c:v>3791.6606000000002</c:v>
                </c:pt>
                <c:pt idx="1">
                  <c:v>1434.4893999999999</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Canard Duchêne</c:v>
                </c:pt>
                <c:pt idx="6">
                  <c:v>De Bligny</c:v>
                </c:pt>
                <c:pt idx="7">
                  <c:v>Taittinger</c:v>
                </c:pt>
                <c:pt idx="8">
                  <c:v>Ayala</c:v>
                </c:pt>
                <c:pt idx="9">
                  <c:v>Others</c:v>
                </c:pt>
              </c:strCache>
            </c:strRef>
          </c:cat>
          <c:val>
            <c:numRef>
              <c:f>Sheet1!$B$2:$B$11</c:f>
              <c:numCache>
                <c:formatCode>General</c:formatCode>
                <c:ptCount val="10"/>
                <c:pt idx="0">
                  <c:v>0.23691067616121239</c:v>
                </c:pt>
                <c:pt idx="1">
                  <c:v>0.13003633850115914</c:v>
                </c:pt>
                <c:pt idx="2">
                  <c:v>0.11474530532206986</c:v>
                </c:pt>
                <c:pt idx="3">
                  <c:v>5.8573303496163923E-2</c:v>
                </c:pt>
                <c:pt idx="4">
                  <c:v>4.9758414310940385E-2</c:v>
                </c:pt>
                <c:pt idx="5">
                  <c:v>4.4492521403916033E-2</c:v>
                </c:pt>
                <c:pt idx="6">
                  <c:v>3.740629689800383E-2</c:v>
                </c:pt>
                <c:pt idx="7">
                  <c:v>3.660111449631815E-2</c:v>
                </c:pt>
                <c:pt idx="8">
                  <c:v>3.340082413515668E-2</c:v>
                </c:pt>
                <c:pt idx="9">
                  <c:v>0.2580752052750596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Canard Duchêne</c:v>
                </c:pt>
                <c:pt idx="6">
                  <c:v>De Bligny</c:v>
                </c:pt>
                <c:pt idx="7">
                  <c:v>Taittinger</c:v>
                </c:pt>
                <c:pt idx="8">
                  <c:v>Ayala</c:v>
                </c:pt>
                <c:pt idx="9">
                  <c:v>Others</c:v>
                </c:pt>
              </c:strCache>
            </c:strRef>
          </c:cat>
          <c:val>
            <c:numRef>
              <c:f>Sheet1!$C$2:$C$11</c:f>
              <c:numCache>
                <c:formatCode>General</c:formatCode>
                <c:ptCount val="10"/>
                <c:pt idx="0">
                  <c:v>0.10298507462686562</c:v>
                </c:pt>
                <c:pt idx="1">
                  <c:v>8.0597014925373092E-2</c:v>
                </c:pt>
                <c:pt idx="2">
                  <c:v>6.2935323383084552E-2</c:v>
                </c:pt>
                <c:pt idx="3">
                  <c:v>2.2139303482587056E-2</c:v>
                </c:pt>
                <c:pt idx="4">
                  <c:v>5.5223880597014899E-2</c:v>
                </c:pt>
                <c:pt idx="5">
                  <c:v>6.9402985074626833E-2</c:v>
                </c:pt>
                <c:pt idx="6">
                  <c:v>2.4378109452736309E-2</c:v>
                </c:pt>
                <c:pt idx="7">
                  <c:v>3.4328358208955204E-2</c:v>
                </c:pt>
                <c:pt idx="8">
                  <c:v>2.0895522388059692E-2</c:v>
                </c:pt>
                <c:pt idx="9">
                  <c:v>0.527114427860696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Laurent Perrier</c:v>
                </c:pt>
                <c:pt idx="5">
                  <c:v>Canard Duchêne</c:v>
                </c:pt>
                <c:pt idx="6">
                  <c:v>De Bligny</c:v>
                </c:pt>
                <c:pt idx="7">
                  <c:v>Taittinger</c:v>
                </c:pt>
                <c:pt idx="8">
                  <c:v>Ayala</c:v>
                </c:pt>
                <c:pt idx="9">
                  <c:v>Others</c:v>
                </c:pt>
              </c:strCache>
            </c:strRef>
          </c:cat>
          <c:val>
            <c:numRef>
              <c:f>Sheet1!$D$2:$D$11</c:f>
              <c:numCache>
                <c:formatCode>General</c:formatCode>
                <c:ptCount val="10"/>
                <c:pt idx="0">
                  <c:v>43.470001561595559</c:v>
                </c:pt>
                <c:pt idx="1">
                  <c:v>61.980378603673657</c:v>
                </c:pt>
                <c:pt idx="2">
                  <c:v>54.84784166675594</c:v>
                </c:pt>
                <c:pt idx="3">
                  <c:v>37.797600888324496</c:v>
                </c:pt>
                <c:pt idx="4">
                  <c:v>110.98400413630709</c:v>
                </c:pt>
                <c:pt idx="5">
                  <c:v>155.98797929334322</c:v>
                </c:pt>
                <c:pt idx="6">
                  <c:v>65.171138215601431</c:v>
                </c:pt>
                <c:pt idx="7">
                  <c:v>93.790472452439744</c:v>
                </c:pt>
                <c:pt idx="8">
                  <c:v>62.55990062851685</c:v>
                </c:pt>
                <c:pt idx="9">
                  <c:v>204.2483807380455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84</c:v>
                </c:pt>
                <c:pt idx="1">
                  <c:v>0.62</c:v>
                </c:pt>
              </c:numCache>
            </c:numRef>
          </c:xVal>
          <c:yVal>
            <c:numRef>
              <c:f>Sheet1!$B$2:$B$3</c:f>
              <c:numCache>
                <c:formatCode>General</c:formatCode>
                <c:ptCount val="2"/>
                <c:pt idx="0">
                  <c:v>63.61904761904762</c:v>
                </c:pt>
                <c:pt idx="1">
                  <c:v>23.35483870967742</c:v>
                </c:pt>
              </c:numCache>
            </c:numRef>
          </c:yVal>
          <c:bubbleSize>
            <c:numRef>
              <c:f>Sheet1!$C$2:$C$3</c:f>
              <c:numCache>
                <c:formatCode>General</c:formatCode>
                <c:ptCount val="2"/>
                <c:pt idx="0">
                  <c:v>4374.9930000000004</c:v>
                </c:pt>
                <c:pt idx="1">
                  <c:v>1068.3076000000001</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pt idx="1">
                    <c:v>CHAMPAGNE NICOLAS ROSE 1ERE CU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5</c:v>
                </c:pt>
              </c:numCache>
            </c:numRef>
          </c:xVal>
          <c:yVal>
            <c:numRef>
              <c:f>Sheet1!$B$2:$B$2</c:f>
              <c:numCache>
                <c:formatCode>General</c:formatCode>
                <c:ptCount val="1"/>
                <c:pt idx="0">
                  <c:v>91.92</c:v>
                </c:pt>
              </c:numCache>
            </c:numRef>
          </c:yVal>
          <c:bubbleSize>
            <c:numRef>
              <c:f>Sheet1!$C$2:$C$2</c:f>
              <c:numCache>
                <c:formatCode>General</c:formatCode>
                <c:ptCount val="1"/>
                <c:pt idx="0">
                  <c:v>5666.6575999999995</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1</c:v>
                </c:pt>
              </c:numCache>
            </c:numRef>
          </c:xVal>
          <c:yVal>
            <c:numRef>
              <c:f>Sheet1!$B$2:$B$2</c:f>
              <c:numCache>
                <c:formatCode>General</c:formatCode>
                <c:ptCount val="1"/>
                <c:pt idx="0">
                  <c:v>121.4225352112676</c:v>
                </c:pt>
              </c:numCache>
            </c:numRef>
          </c:yVal>
          <c:bubbleSize>
            <c:numRef>
              <c:f>Sheet1!$C$2:$C$2</c:f>
              <c:numCache>
                <c:formatCode>General</c:formatCode>
                <c:ptCount val="1"/>
                <c:pt idx="0">
                  <c:v>7083.3220000000001</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6000000000000005</c:v>
                </c:pt>
              </c:numCache>
            </c:numRef>
          </c:xVal>
          <c:yVal>
            <c:numRef>
              <c:f>Sheet1!$B$2:$B$2</c:f>
              <c:numCache>
                <c:formatCode>General</c:formatCode>
                <c:ptCount val="1"/>
                <c:pt idx="0">
                  <c:v>70.892857142857139</c:v>
                </c:pt>
              </c:numCache>
            </c:numRef>
          </c:yVal>
          <c:bubbleSize>
            <c:numRef>
              <c:f>Sheet1!$C$2:$C$2</c:f>
              <c:numCache>
                <c:formatCode>General</c:formatCode>
                <c:ptCount val="1"/>
                <c:pt idx="0">
                  <c:v>3208.3281999999999</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6000000000000005</c:v>
                </c:pt>
              </c:numCache>
            </c:numRef>
          </c:xVal>
          <c:yVal>
            <c:numRef>
              <c:f>Sheet1!$B$2:$B$2</c:f>
              <c:numCache>
                <c:formatCode>General</c:formatCode>
                <c:ptCount val="1"/>
                <c:pt idx="0">
                  <c:v>63.303571428571423</c:v>
                </c:pt>
              </c:numCache>
            </c:numRef>
          </c:yVal>
          <c:bubbleSize>
            <c:numRef>
              <c:f>Sheet1!$C$2:$C$2</c:f>
              <c:numCache>
                <c:formatCode>General</c:formatCode>
                <c:ptCount val="1"/>
                <c:pt idx="0">
                  <c:v>2874.9953999999998</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c:v>
                </c:pt>
              </c:numCache>
            </c:numRef>
          </c:xVal>
          <c:yVal>
            <c:numRef>
              <c:f>Sheet1!$B$2:$B$2</c:f>
              <c:numCache>
                <c:formatCode>General</c:formatCode>
                <c:ptCount val="1"/>
                <c:pt idx="0">
                  <c:v>39.9</c:v>
                </c:pt>
              </c:numCache>
            </c:numRef>
          </c:yVal>
          <c:bubbleSize>
            <c:numRef>
              <c:f>Sheet1!$C$2:$C$2</c:f>
              <c:numCache>
                <c:formatCode>General</c:formatCode>
                <c:ptCount val="1"/>
                <c:pt idx="0">
                  <c:v>1895.830300000001</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1</c:v>
                </c:pt>
              </c:numCache>
            </c:numRef>
          </c:xVal>
          <c:yVal>
            <c:numRef>
              <c:f>Sheet1!$B$2:$B$2</c:f>
              <c:numCache>
                <c:formatCode>General</c:formatCode>
                <c:ptCount val="1"/>
                <c:pt idx="0">
                  <c:v>29.83606557377049</c:v>
                </c:pt>
              </c:numCache>
            </c:numRef>
          </c:yVal>
          <c:bubbleSize>
            <c:numRef>
              <c:f>Sheet1!$C$2:$C$2</c:f>
              <c:numCache>
                <c:formatCode>General</c:formatCode>
                <c:ptCount val="1"/>
                <c:pt idx="0">
                  <c:v>1416.6643999999999</c:v>
                </c:pt>
              </c:numCache>
            </c:numRef>
          </c:bubbleSize>
          <c:bubble3D val="0"/>
          <c:extLst>
            <c:ext xmlns:c15="http://schemas.microsoft.com/office/drawing/2012/chart" uri="{02D57815-91ED-43cb-92C2-25804820EDAC}">
              <c15:datalabelsRange>
                <c15:f>Sheet1!$E$2:$E$21</c15:f>
                <c15:dlblRangeCache>
                  <c:ptCount val="20"/>
                  <c:pt idx="0">
                    <c:v>CHAMPAGNE E.NICOLAS ROSE 1CT X 750ML</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B$2:$B$11</c:f>
              <c:numCache>
                <c:formatCode>General</c:formatCode>
                <c:ptCount val="10"/>
                <c:pt idx="0">
                  <c:v>0.22651811584687973</c:v>
                </c:pt>
                <c:pt idx="1">
                  <c:v>0.1180823638575943</c:v>
                </c:pt>
                <c:pt idx="2">
                  <c:v>0.10294278561236728</c:v>
                </c:pt>
                <c:pt idx="3">
                  <c:v>6.0410593765592581E-2</c:v>
                </c:pt>
                <c:pt idx="4">
                  <c:v>5.9924761679665955E-2</c:v>
                </c:pt>
                <c:pt idx="5">
                  <c:v>5.0158880222694921E-2</c:v>
                </c:pt>
                <c:pt idx="6">
                  <c:v>4.905372164885282E-2</c:v>
                </c:pt>
                <c:pt idx="7">
                  <c:v>3.5202036117895255E-2</c:v>
                </c:pt>
                <c:pt idx="8">
                  <c:v>3.4919728284181134E-2</c:v>
                </c:pt>
                <c:pt idx="9">
                  <c:v>0.262787012964276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C$2:$C$11</c:f>
              <c:numCache>
                <c:formatCode>General</c:formatCode>
                <c:ptCount val="10"/>
                <c:pt idx="0">
                  <c:v>7.7963769777573952E-2</c:v>
                </c:pt>
                <c:pt idx="1">
                  <c:v>8.3008484292593443E-2</c:v>
                </c:pt>
                <c:pt idx="2">
                  <c:v>6.2829626232515479E-2</c:v>
                </c:pt>
                <c:pt idx="3">
                  <c:v>5.0905755560651224E-2</c:v>
                </c:pt>
                <c:pt idx="4">
                  <c:v>2.293052052281587E-2</c:v>
                </c:pt>
                <c:pt idx="5">
                  <c:v>2.293052052281587E-2</c:v>
                </c:pt>
                <c:pt idx="6">
                  <c:v>7.4982802109607893E-2</c:v>
                </c:pt>
                <c:pt idx="7">
                  <c:v>2.293052052281587E-2</c:v>
                </c:pt>
                <c:pt idx="8">
                  <c:v>3.0726897500573266E-2</c:v>
                </c:pt>
                <c:pt idx="9">
                  <c:v>0.5507911029580371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Laurent Perrier</c:v>
                </c:pt>
                <c:pt idx="4">
                  <c:v>Heidsieck &amp; Co Monopole</c:v>
                </c:pt>
                <c:pt idx="5">
                  <c:v>De Bligny</c:v>
                </c:pt>
                <c:pt idx="6">
                  <c:v>Canard Duchêne</c:v>
                </c:pt>
                <c:pt idx="7">
                  <c:v>Ayala</c:v>
                </c:pt>
                <c:pt idx="8">
                  <c:v>Taittinger</c:v>
                </c:pt>
                <c:pt idx="9">
                  <c:v>Others</c:v>
                </c:pt>
              </c:strCache>
            </c:strRef>
          </c:cat>
          <c:val>
            <c:numRef>
              <c:f>Sheet1!$D$2:$D$11</c:f>
              <c:numCache>
                <c:formatCode>General</c:formatCode>
                <c:ptCount val="10"/>
                <c:pt idx="0">
                  <c:v>34.418337573616149</c:v>
                </c:pt>
                <c:pt idx="1">
                  <c:v>70.297105834280657</c:v>
                </c:pt>
                <c:pt idx="2">
                  <c:v>61.033539998714872</c:v>
                </c:pt>
                <c:pt idx="3">
                  <c:v>84.266272498789903</c:v>
                </c:pt>
                <c:pt idx="4">
                  <c:v>38.265518093160473</c:v>
                </c:pt>
                <c:pt idx="5">
                  <c:v>45.715774397293487</c:v>
                </c:pt>
                <c:pt idx="6">
                  <c:v>152.85853873915286</c:v>
                </c:pt>
                <c:pt idx="7">
                  <c:v>65.139756251653139</c:v>
                </c:pt>
                <c:pt idx="8">
                  <c:v>87.992945565079765</c:v>
                </c:pt>
                <c:pt idx="9">
                  <c:v>209.596013419777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Heidsieck &amp; Co Monopole</c:v>
                </c:pt>
                <c:pt idx="5">
                  <c:v>Canard Duchêne</c:v>
                </c:pt>
                <c:pt idx="6">
                  <c:v>Taittinger</c:v>
                </c:pt>
                <c:pt idx="7">
                  <c:v>De Bligny</c:v>
                </c:pt>
                <c:pt idx="8">
                  <c:v>Ayala</c:v>
                </c:pt>
                <c:pt idx="9">
                  <c:v>Others</c:v>
                </c:pt>
              </c:strCache>
            </c:strRef>
          </c:cat>
          <c:val>
            <c:numRef>
              <c:f>Sheet1!$B$2:$B$11</c:f>
              <c:numCache>
                <c:formatCode>General</c:formatCode>
                <c:ptCount val="10"/>
                <c:pt idx="0">
                  <c:v>0.25203057811753465</c:v>
                </c:pt>
                <c:pt idx="1">
                  <c:v>0.10293440888266175</c:v>
                </c:pt>
                <c:pt idx="2">
                  <c:v>9.2261965828250164E-2</c:v>
                </c:pt>
                <c:pt idx="3">
                  <c:v>5.3151169982324956E-2</c:v>
                </c:pt>
                <c:pt idx="4">
                  <c:v>4.9604436640979722E-2</c:v>
                </c:pt>
                <c:pt idx="5">
                  <c:v>4.5110930680415877E-2</c:v>
                </c:pt>
                <c:pt idx="6">
                  <c:v>4.2314580591454425E-2</c:v>
                </c:pt>
                <c:pt idx="7">
                  <c:v>3.7519162619189292E-2</c:v>
                </c:pt>
                <c:pt idx="8">
                  <c:v>3.5461471044293133E-2</c:v>
                </c:pt>
                <c:pt idx="9">
                  <c:v>0.289611295612896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Heidsieck &amp; Co Monopole</c:v>
                </c:pt>
                <c:pt idx="5">
                  <c:v>Canard Duchêne</c:v>
                </c:pt>
                <c:pt idx="6">
                  <c:v>Taittinger</c:v>
                </c:pt>
                <c:pt idx="7">
                  <c:v>De Bligny</c:v>
                </c:pt>
                <c:pt idx="8">
                  <c:v>Ayala</c:v>
                </c:pt>
                <c:pt idx="9">
                  <c:v>Others</c:v>
                </c:pt>
              </c:strCache>
            </c:strRef>
          </c:cat>
          <c:val>
            <c:numRef>
              <c:f>Sheet1!$C$2:$C$11</c:f>
              <c:numCache>
                <c:formatCode>General</c:formatCode>
                <c:ptCount val="10"/>
                <c:pt idx="0">
                  <c:v>7.5707956077827002E-2</c:v>
                </c:pt>
                <c:pt idx="1">
                  <c:v>5.0857252937776917E-2</c:v>
                </c:pt>
                <c:pt idx="2">
                  <c:v>6.6461182816413028E-2</c:v>
                </c:pt>
                <c:pt idx="3">
                  <c:v>5.528799845887112E-2</c:v>
                </c:pt>
                <c:pt idx="4">
                  <c:v>1.9264110961279137E-2</c:v>
                </c:pt>
                <c:pt idx="5">
                  <c:v>5.9718743979965322E-2</c:v>
                </c:pt>
                <c:pt idx="6">
                  <c:v>3.0629936428433827E-2</c:v>
                </c:pt>
                <c:pt idx="7">
                  <c:v>1.8878828742053554E-2</c:v>
                </c:pt>
                <c:pt idx="8">
                  <c:v>1.9264110961279137E-2</c:v>
                </c:pt>
                <c:pt idx="9">
                  <c:v>0.603929878636101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Laurent Perrier</c:v>
                </c:pt>
                <c:pt idx="4">
                  <c:v>Heidsieck &amp; Co Monopole</c:v>
                </c:pt>
                <c:pt idx="5">
                  <c:v>Canard Duchêne</c:v>
                </c:pt>
                <c:pt idx="6">
                  <c:v>Taittinger</c:v>
                </c:pt>
                <c:pt idx="7">
                  <c:v>De Bligny</c:v>
                </c:pt>
                <c:pt idx="8">
                  <c:v>Ayala</c:v>
                </c:pt>
                <c:pt idx="9">
                  <c:v>Others</c:v>
                </c:pt>
              </c:strCache>
            </c:strRef>
          </c:cat>
          <c:val>
            <c:numRef>
              <c:f>Sheet1!$D$2:$D$11</c:f>
              <c:numCache>
                <c:formatCode>General</c:formatCode>
                <c:ptCount val="10"/>
                <c:pt idx="0">
                  <c:v>30.03919470538235</c:v>
                </c:pt>
                <c:pt idx="1">
                  <c:v>49.40743672579957</c:v>
                </c:pt>
                <c:pt idx="2">
                  <c:v>72.035298857747662</c:v>
                </c:pt>
                <c:pt idx="3">
                  <c:v>104.02028492930025</c:v>
                </c:pt>
                <c:pt idx="4">
                  <c:v>38.835459619683441</c:v>
                </c:pt>
                <c:pt idx="5">
                  <c:v>132.38198165991545</c:v>
                </c:pt>
                <c:pt idx="6">
                  <c:v>72.386246065309336</c:v>
                </c:pt>
                <c:pt idx="7">
                  <c:v>50.31783074070507</c:v>
                </c:pt>
                <c:pt idx="8">
                  <c:v>54.324060435105217</c:v>
                </c:pt>
                <c:pt idx="9">
                  <c:v>208.531189143718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Ayala</c:v>
                </c:pt>
                <c:pt idx="5">
                  <c:v>Laurent Perrier</c:v>
                </c:pt>
                <c:pt idx="6">
                  <c:v>Canard Duchêne</c:v>
                </c:pt>
                <c:pt idx="7">
                  <c:v>Nicolas Feuillatte</c:v>
                </c:pt>
                <c:pt idx="8">
                  <c:v>Heidsieck &amp; Co Monopole</c:v>
                </c:pt>
                <c:pt idx="9">
                  <c:v>Others</c:v>
                </c:pt>
              </c:strCache>
            </c:strRef>
          </c:cat>
          <c:val>
            <c:numRef>
              <c:f>Sheet1!$B$2:$B$11</c:f>
              <c:numCache>
                <c:formatCode>General</c:formatCode>
                <c:ptCount val="10"/>
                <c:pt idx="0">
                  <c:v>0.21760115735959185</c:v>
                </c:pt>
                <c:pt idx="1">
                  <c:v>0.12516296176915004</c:v>
                </c:pt>
                <c:pt idx="2">
                  <c:v>7.627632262911907E-2</c:v>
                </c:pt>
                <c:pt idx="3">
                  <c:v>4.1684164012744877E-2</c:v>
                </c:pt>
                <c:pt idx="4">
                  <c:v>3.6143274701145332E-2</c:v>
                </c:pt>
                <c:pt idx="5">
                  <c:v>3.5732418099179118E-2</c:v>
                </c:pt>
                <c:pt idx="6">
                  <c:v>3.4315984289085666E-2</c:v>
                </c:pt>
                <c:pt idx="7">
                  <c:v>3.1342381258280504E-2</c:v>
                </c:pt>
                <c:pt idx="8">
                  <c:v>2.9692901714475091E-2</c:v>
                </c:pt>
                <c:pt idx="9">
                  <c:v>0.372048434167228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Ayala</c:v>
                </c:pt>
                <c:pt idx="5">
                  <c:v>Laurent Perrier</c:v>
                </c:pt>
                <c:pt idx="6">
                  <c:v>Canard Duchêne</c:v>
                </c:pt>
                <c:pt idx="7">
                  <c:v>Nicolas Feuillatte</c:v>
                </c:pt>
                <c:pt idx="8">
                  <c:v>Heidsieck &amp; Co Monopole</c:v>
                </c:pt>
                <c:pt idx="9">
                  <c:v>Others</c:v>
                </c:pt>
              </c:strCache>
            </c:strRef>
          </c:cat>
          <c:val>
            <c:numRef>
              <c:f>Sheet1!$C$2:$C$11</c:f>
              <c:numCache>
                <c:formatCode>General</c:formatCode>
                <c:ptCount val="10"/>
                <c:pt idx="0">
                  <c:v>8.7717278692298825E-2</c:v>
                </c:pt>
                <c:pt idx="1">
                  <c:v>8.6566133302636128E-2</c:v>
                </c:pt>
                <c:pt idx="2">
                  <c:v>4.570047196960976E-2</c:v>
                </c:pt>
                <c:pt idx="3">
                  <c:v>4.2707493956486701E-2</c:v>
                </c:pt>
                <c:pt idx="4">
                  <c:v>1.8993898929434785E-2</c:v>
                </c:pt>
                <c:pt idx="5">
                  <c:v>3.2347185449522267E-2</c:v>
                </c:pt>
                <c:pt idx="6">
                  <c:v>3.6145965235409229E-2</c:v>
                </c:pt>
                <c:pt idx="7">
                  <c:v>3.2232070910556007E-2</c:v>
                </c:pt>
                <c:pt idx="8">
                  <c:v>1.0360308506964429E-2</c:v>
                </c:pt>
                <c:pt idx="9">
                  <c:v>0.6072291930470817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Ayala</c:v>
                </c:pt>
                <c:pt idx="5">
                  <c:v>Laurent Perrier</c:v>
                </c:pt>
                <c:pt idx="6">
                  <c:v>Canard Duchêne</c:v>
                </c:pt>
                <c:pt idx="7">
                  <c:v>Nicolas Feuillatte</c:v>
                </c:pt>
                <c:pt idx="8">
                  <c:v>Heidsieck &amp; Co Monopole</c:v>
                </c:pt>
                <c:pt idx="9">
                  <c:v>Others</c:v>
                </c:pt>
              </c:strCache>
            </c:strRef>
          </c:cat>
          <c:val>
            <c:numRef>
              <c:f>Sheet1!$D$2:$D$11</c:f>
              <c:numCache>
                <c:formatCode>General</c:formatCode>
                <c:ptCount val="10"/>
                <c:pt idx="0">
                  <c:v>40.311034994792621</c:v>
                </c:pt>
                <c:pt idx="1">
                  <c:v>69.162739582895369</c:v>
                </c:pt>
                <c:pt idx="2">
                  <c:v>59.914361881105229</c:v>
                </c:pt>
                <c:pt idx="3">
                  <c:v>102.4549609377531</c:v>
                </c:pt>
                <c:pt idx="4">
                  <c:v>52.5516823986978</c:v>
                </c:pt>
                <c:pt idx="5">
                  <c:v>90.526158514487378</c:v>
                </c:pt>
                <c:pt idx="6">
                  <c:v>105.33273628670356</c:v>
                </c:pt>
                <c:pt idx="7">
                  <c:v>102.83861537176742</c:v>
                </c:pt>
                <c:pt idx="8">
                  <c:v>34.891532685449356</c:v>
                </c:pt>
                <c:pt idx="9">
                  <c:v>163.212403892054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Heidsieck &amp; Co Monopole</c:v>
                </c:pt>
                <c:pt idx="5">
                  <c:v>De Bligny</c:v>
                </c:pt>
                <c:pt idx="6">
                  <c:v>Laurent Perrier</c:v>
                </c:pt>
                <c:pt idx="7">
                  <c:v>Ayala</c:v>
                </c:pt>
                <c:pt idx="8">
                  <c:v>Roederer</c:v>
                </c:pt>
                <c:pt idx="9">
                  <c:v>Others</c:v>
                </c:pt>
              </c:strCache>
            </c:strRef>
          </c:cat>
          <c:val>
            <c:numRef>
              <c:f>Sheet1!$B$2:$B$11</c:f>
              <c:numCache>
                <c:formatCode>General</c:formatCode>
                <c:ptCount val="10"/>
                <c:pt idx="0">
                  <c:v>0.22333156517335837</c:v>
                </c:pt>
                <c:pt idx="1">
                  <c:v>0.12029042259023402</c:v>
                </c:pt>
                <c:pt idx="2">
                  <c:v>8.1561238970986438E-2</c:v>
                </c:pt>
                <c:pt idx="3">
                  <c:v>6.1137602652795407E-2</c:v>
                </c:pt>
                <c:pt idx="4">
                  <c:v>5.2992032171254165E-2</c:v>
                </c:pt>
                <c:pt idx="5">
                  <c:v>4.8482761365982271E-2</c:v>
                </c:pt>
                <c:pt idx="6">
                  <c:v>4.6121203200462126E-2</c:v>
                </c:pt>
                <c:pt idx="7">
                  <c:v>4.5814783854014787E-2</c:v>
                </c:pt>
                <c:pt idx="8">
                  <c:v>3.4427278172296544E-2</c:v>
                </c:pt>
                <c:pt idx="9">
                  <c:v>0.2858411118486158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Heidsieck &amp; Co Monopole</c:v>
                </c:pt>
                <c:pt idx="5">
                  <c:v>De Bligny</c:v>
                </c:pt>
                <c:pt idx="6">
                  <c:v>Laurent Perrier</c:v>
                </c:pt>
                <c:pt idx="7">
                  <c:v>Ayala</c:v>
                </c:pt>
                <c:pt idx="8">
                  <c:v>Roederer</c:v>
                </c:pt>
                <c:pt idx="9">
                  <c:v>Others</c:v>
                </c:pt>
              </c:strCache>
            </c:strRef>
          </c:cat>
          <c:val>
            <c:numRef>
              <c:f>Sheet1!$C$2:$C$11</c:f>
              <c:numCache>
                <c:formatCode>General</c:formatCode>
                <c:ptCount val="10"/>
                <c:pt idx="0">
                  <c:v>8.590102707749768E-2</c:v>
                </c:pt>
                <c:pt idx="1">
                  <c:v>8.0532212885154067E-2</c:v>
                </c:pt>
                <c:pt idx="2">
                  <c:v>6.5126050420168072E-2</c:v>
                </c:pt>
                <c:pt idx="3">
                  <c:v>6.5592903828197949E-2</c:v>
                </c:pt>
                <c:pt idx="4">
                  <c:v>2.3109243697478993E-2</c:v>
                </c:pt>
                <c:pt idx="5">
                  <c:v>2.3342670401493931E-2</c:v>
                </c:pt>
                <c:pt idx="6">
                  <c:v>4.7152194211017746E-2</c:v>
                </c:pt>
                <c:pt idx="7">
                  <c:v>2.3342670401493931E-2</c:v>
                </c:pt>
                <c:pt idx="8">
                  <c:v>6.6293183940242764E-2</c:v>
                </c:pt>
                <c:pt idx="9">
                  <c:v>0.519607843137254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Heidsieck &amp; Co Monopole</c:v>
                </c:pt>
                <c:pt idx="5">
                  <c:v>De Bligny</c:v>
                </c:pt>
                <c:pt idx="6">
                  <c:v>Laurent Perrier</c:v>
                </c:pt>
                <c:pt idx="7">
                  <c:v>Ayala</c:v>
                </c:pt>
                <c:pt idx="8">
                  <c:v>Roederer</c:v>
                </c:pt>
                <c:pt idx="9">
                  <c:v>Others</c:v>
                </c:pt>
              </c:strCache>
            </c:strRef>
          </c:cat>
          <c:val>
            <c:numRef>
              <c:f>Sheet1!$D$2:$D$11</c:f>
              <c:numCache>
                <c:formatCode>General</c:formatCode>
                <c:ptCount val="10"/>
                <c:pt idx="0">
                  <c:v>38.463450972914679</c:v>
                </c:pt>
                <c:pt idx="1">
                  <c:v>66.948150277503643</c:v>
                </c:pt>
                <c:pt idx="2">
                  <c:v>79.849265707372581</c:v>
                </c:pt>
                <c:pt idx="3">
                  <c:v>107.28733378818352</c:v>
                </c:pt>
                <c:pt idx="4">
                  <c:v>43.608902604068724</c:v>
                </c:pt>
                <c:pt idx="5">
                  <c:v>48.146330249811676</c:v>
                </c:pt>
                <c:pt idx="6">
                  <c:v>102.23539487049915</c:v>
                </c:pt>
                <c:pt idx="7">
                  <c:v>50.950083003498428</c:v>
                </c:pt>
                <c:pt idx="8">
                  <c:v>192.5600496457154</c:v>
                </c:pt>
                <c:pt idx="9">
                  <c:v>181.782053595021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Ayala</c:v>
                </c:pt>
                <c:pt idx="5">
                  <c:v>Heidsieck &amp; Co Monopole</c:v>
                </c:pt>
                <c:pt idx="6">
                  <c:v>Laurent Perrier</c:v>
                </c:pt>
                <c:pt idx="7">
                  <c:v>Taittinger</c:v>
                </c:pt>
                <c:pt idx="8">
                  <c:v>De Bligny</c:v>
                </c:pt>
                <c:pt idx="9">
                  <c:v>Others</c:v>
                </c:pt>
              </c:strCache>
            </c:strRef>
          </c:cat>
          <c:val>
            <c:numRef>
              <c:f>Sheet1!$B$2:$B$11</c:f>
              <c:numCache>
                <c:formatCode>General</c:formatCode>
                <c:ptCount val="10"/>
                <c:pt idx="0">
                  <c:v>0.18164175929754289</c:v>
                </c:pt>
                <c:pt idx="1">
                  <c:v>0.15608471931111786</c:v>
                </c:pt>
                <c:pt idx="2">
                  <c:v>0.10221023524378789</c:v>
                </c:pt>
                <c:pt idx="3">
                  <c:v>5.2765542509028075E-2</c:v>
                </c:pt>
                <c:pt idx="4">
                  <c:v>5.1451064368799544E-2</c:v>
                </c:pt>
                <c:pt idx="5">
                  <c:v>4.6894605142716476E-2</c:v>
                </c:pt>
                <c:pt idx="6">
                  <c:v>4.1717951230471034E-2</c:v>
                </c:pt>
                <c:pt idx="7">
                  <c:v>3.6359660338848562E-2</c:v>
                </c:pt>
                <c:pt idx="8">
                  <c:v>3.2271633322737844E-2</c:v>
                </c:pt>
                <c:pt idx="9">
                  <c:v>0.298602829234949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Ayala</c:v>
                </c:pt>
                <c:pt idx="5">
                  <c:v>Heidsieck &amp; Co Monopole</c:v>
                </c:pt>
                <c:pt idx="6">
                  <c:v>Laurent Perrier</c:v>
                </c:pt>
                <c:pt idx="7">
                  <c:v>Taittinger</c:v>
                </c:pt>
                <c:pt idx="8">
                  <c:v>De Bligny</c:v>
                </c:pt>
                <c:pt idx="9">
                  <c:v>Others</c:v>
                </c:pt>
              </c:strCache>
            </c:strRef>
          </c:cat>
          <c:val>
            <c:numRef>
              <c:f>Sheet1!$C$2:$C$11</c:f>
              <c:numCache>
                <c:formatCode>General</c:formatCode>
                <c:ptCount val="10"/>
                <c:pt idx="0">
                  <c:v>6.8496600352556031E-2</c:v>
                </c:pt>
                <c:pt idx="1">
                  <c:v>9.0909090909090898E-2</c:v>
                </c:pt>
                <c:pt idx="2">
                  <c:v>6.0438176781667081E-2</c:v>
                </c:pt>
                <c:pt idx="3">
                  <c:v>7.2777637874590767E-2</c:v>
                </c:pt>
                <c:pt idx="4">
                  <c:v>2.4678922185847392E-2</c:v>
                </c:pt>
                <c:pt idx="5">
                  <c:v>2.2664316293125156E-2</c:v>
                </c:pt>
                <c:pt idx="6">
                  <c:v>4.3817678166708639E-2</c:v>
                </c:pt>
                <c:pt idx="7">
                  <c:v>4.0543943591034998E-2</c:v>
                </c:pt>
                <c:pt idx="8">
                  <c:v>2.4678922185847392E-2</c:v>
                </c:pt>
                <c:pt idx="9">
                  <c:v>0.550994711659531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Ayala</c:v>
                </c:pt>
                <c:pt idx="5">
                  <c:v>Heidsieck &amp; Co Monopole</c:v>
                </c:pt>
                <c:pt idx="6">
                  <c:v>Laurent Perrier</c:v>
                </c:pt>
                <c:pt idx="7">
                  <c:v>Taittinger</c:v>
                </c:pt>
                <c:pt idx="8">
                  <c:v>De Bligny</c:v>
                </c:pt>
                <c:pt idx="9">
                  <c:v>Others</c:v>
                </c:pt>
              </c:strCache>
            </c:strRef>
          </c:cat>
          <c:val>
            <c:numRef>
              <c:f>Sheet1!$D$2:$D$11</c:f>
              <c:numCache>
                <c:formatCode>General</c:formatCode>
                <c:ptCount val="10"/>
                <c:pt idx="0">
                  <c:v>37.709720835919363</c:v>
                </c:pt>
                <c:pt idx="1">
                  <c:v>58.243427870658614</c:v>
                </c:pt>
                <c:pt idx="2">
                  <c:v>59.131237334022643</c:v>
                </c:pt>
                <c:pt idx="3">
                  <c:v>137.92644671878179</c:v>
                </c:pt>
                <c:pt idx="4">
                  <c:v>47.96581467965305</c:v>
                </c:pt>
                <c:pt idx="5">
                  <c:v>48.330327601970026</c:v>
                </c:pt>
                <c:pt idx="6">
                  <c:v>105.03314969768687</c:v>
                </c:pt>
                <c:pt idx="7">
                  <c:v>111.50803724014915</c:v>
                </c:pt>
                <c:pt idx="8">
                  <c:v>76.472491922059604</c:v>
                </c:pt>
                <c:pt idx="9">
                  <c:v>184.5242769705950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De Bligny</c:v>
                </c:pt>
                <c:pt idx="4">
                  <c:v>Heidsieck &amp; Co Monopole</c:v>
                </c:pt>
                <c:pt idx="5">
                  <c:v>Canard Duchêne</c:v>
                </c:pt>
                <c:pt idx="6">
                  <c:v>Laurent Perrier</c:v>
                </c:pt>
                <c:pt idx="7">
                  <c:v>Ayala</c:v>
                </c:pt>
                <c:pt idx="8">
                  <c:v>Taittinger</c:v>
                </c:pt>
                <c:pt idx="9">
                  <c:v>Others</c:v>
                </c:pt>
              </c:strCache>
            </c:strRef>
          </c:cat>
          <c:val>
            <c:numRef>
              <c:f>Sheet1!$B$2:$B$11</c:f>
              <c:numCache>
                <c:formatCode>General</c:formatCode>
                <c:ptCount val="10"/>
                <c:pt idx="0">
                  <c:v>0.21684543583998403</c:v>
                </c:pt>
                <c:pt idx="1">
                  <c:v>0.13513063830023239</c:v>
                </c:pt>
                <c:pt idx="2">
                  <c:v>8.7918106340851995E-2</c:v>
                </c:pt>
                <c:pt idx="3">
                  <c:v>6.3425158202399246E-2</c:v>
                </c:pt>
                <c:pt idx="4">
                  <c:v>6.2415768661227798E-2</c:v>
                </c:pt>
                <c:pt idx="5">
                  <c:v>5.3670961193963626E-2</c:v>
                </c:pt>
                <c:pt idx="6">
                  <c:v>5.0086796408347983E-2</c:v>
                </c:pt>
                <c:pt idx="7">
                  <c:v>4.0345078116767512E-2</c:v>
                </c:pt>
                <c:pt idx="8">
                  <c:v>3.1460231715906756E-2</c:v>
                </c:pt>
                <c:pt idx="9">
                  <c:v>0.258701825220318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De Bligny</c:v>
                </c:pt>
                <c:pt idx="4">
                  <c:v>Heidsieck &amp; Co Monopole</c:v>
                </c:pt>
                <c:pt idx="5">
                  <c:v>Canard Duchêne</c:v>
                </c:pt>
                <c:pt idx="6">
                  <c:v>Laurent Perrier</c:v>
                </c:pt>
                <c:pt idx="7">
                  <c:v>Ayala</c:v>
                </c:pt>
                <c:pt idx="8">
                  <c:v>Taittinger</c:v>
                </c:pt>
                <c:pt idx="9">
                  <c:v>Others</c:v>
                </c:pt>
              </c:strCache>
            </c:strRef>
          </c:cat>
          <c:val>
            <c:numRef>
              <c:f>Sheet1!$C$2:$C$11</c:f>
              <c:numCache>
                <c:formatCode>General</c:formatCode>
                <c:ptCount val="10"/>
                <c:pt idx="0">
                  <c:v>8.8725023786869639E-2</c:v>
                </c:pt>
                <c:pt idx="1">
                  <c:v>7.7783063748810652E-2</c:v>
                </c:pt>
                <c:pt idx="2">
                  <c:v>5.3996194100856328E-2</c:v>
                </c:pt>
                <c:pt idx="3">
                  <c:v>2.3786869647954331E-2</c:v>
                </c:pt>
                <c:pt idx="4">
                  <c:v>2.3786869647954331E-2</c:v>
                </c:pt>
                <c:pt idx="5">
                  <c:v>7.6593720266412937E-2</c:v>
                </c:pt>
                <c:pt idx="6">
                  <c:v>5.4471931493815413E-2</c:v>
                </c:pt>
                <c:pt idx="7">
                  <c:v>2.3786869647954331E-2</c:v>
                </c:pt>
                <c:pt idx="8">
                  <c:v>3.1874405328258804E-2</c:v>
                </c:pt>
                <c:pt idx="9">
                  <c:v>0.545195052331113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De Bligny</c:v>
                </c:pt>
                <c:pt idx="4">
                  <c:v>Heidsieck &amp; Co Monopole</c:v>
                </c:pt>
                <c:pt idx="5">
                  <c:v>Canard Duchêne</c:v>
                </c:pt>
                <c:pt idx="6">
                  <c:v>Laurent Perrier</c:v>
                </c:pt>
                <c:pt idx="7">
                  <c:v>Ayala</c:v>
                </c:pt>
                <c:pt idx="8">
                  <c:v>Taittinger</c:v>
                </c:pt>
                <c:pt idx="9">
                  <c:v>Others</c:v>
                </c:pt>
              </c:strCache>
            </c:strRef>
          </c:cat>
          <c:val>
            <c:numRef>
              <c:f>Sheet1!$D$2:$D$11</c:f>
              <c:numCache>
                <c:formatCode>General</c:formatCode>
                <c:ptCount val="10"/>
                <c:pt idx="0">
                  <c:v>40.916251450338194</c:v>
                </c:pt>
                <c:pt idx="1">
                  <c:v>57.561382619974552</c:v>
                </c:pt>
                <c:pt idx="2">
                  <c:v>61.416466241341773</c:v>
                </c:pt>
                <c:pt idx="3">
                  <c:v>37.503839678328973</c:v>
                </c:pt>
                <c:pt idx="4">
                  <c:v>38.110352813343709</c:v>
                </c:pt>
                <c:pt idx="5">
                  <c:v>142.70979792891697</c:v>
                </c:pt>
                <c:pt idx="6">
                  <c:v>108.75507199485523</c:v>
                </c:pt>
                <c:pt idx="7">
                  <c:v>58.958541557683716</c:v>
                </c:pt>
                <c:pt idx="8">
                  <c:v>101.3164989250306</c:v>
                </c:pt>
                <c:pt idx="9">
                  <c:v>210.74263850547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De Bligny</c:v>
                </c:pt>
                <c:pt idx="5">
                  <c:v>Ayala</c:v>
                </c:pt>
                <c:pt idx="6">
                  <c:v>Laurent Perrier</c:v>
                </c:pt>
                <c:pt idx="7">
                  <c:v>Canard Duchêne</c:v>
                </c:pt>
                <c:pt idx="8">
                  <c:v>Demoiselle</c:v>
                </c:pt>
                <c:pt idx="9">
                  <c:v>Others</c:v>
                </c:pt>
              </c:strCache>
            </c:strRef>
          </c:cat>
          <c:val>
            <c:numRef>
              <c:f>Sheet1!$B$2:$B$11</c:f>
              <c:numCache>
                <c:formatCode>General</c:formatCode>
                <c:ptCount val="10"/>
                <c:pt idx="0">
                  <c:v>0.19447655415424353</c:v>
                </c:pt>
                <c:pt idx="1">
                  <c:v>0.14273784658556418</c:v>
                </c:pt>
                <c:pt idx="2">
                  <c:v>9.4993144023342205E-2</c:v>
                </c:pt>
                <c:pt idx="3">
                  <c:v>7.5371896873355756E-2</c:v>
                </c:pt>
                <c:pt idx="4">
                  <c:v>4.9673942505460866E-2</c:v>
                </c:pt>
                <c:pt idx="5">
                  <c:v>4.861565075973788E-2</c:v>
                </c:pt>
                <c:pt idx="6">
                  <c:v>4.4474162534479188E-2</c:v>
                </c:pt>
                <c:pt idx="7">
                  <c:v>3.7931089462523319E-2</c:v>
                </c:pt>
                <c:pt idx="8">
                  <c:v>3.3147849933831852E-2</c:v>
                </c:pt>
                <c:pt idx="9">
                  <c:v>0.2785778631674611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De Bligny</c:v>
                </c:pt>
                <c:pt idx="5">
                  <c:v>Ayala</c:v>
                </c:pt>
                <c:pt idx="6">
                  <c:v>Laurent Perrier</c:v>
                </c:pt>
                <c:pt idx="7">
                  <c:v>Canard Duchêne</c:v>
                </c:pt>
                <c:pt idx="8">
                  <c:v>Demoiselle</c:v>
                </c:pt>
                <c:pt idx="9">
                  <c:v>Others</c:v>
                </c:pt>
              </c:strCache>
            </c:strRef>
          </c:cat>
          <c:val>
            <c:numRef>
              <c:f>Sheet1!$C$2:$C$11</c:f>
              <c:numCache>
                <c:formatCode>General</c:formatCode>
                <c:ptCount val="10"/>
                <c:pt idx="0">
                  <c:v>7.0204273303592399E-2</c:v>
                </c:pt>
                <c:pt idx="1">
                  <c:v>9.1805588166236213E-2</c:v>
                </c:pt>
                <c:pt idx="2">
                  <c:v>6.7621507396102384E-2</c:v>
                </c:pt>
                <c:pt idx="3">
                  <c:v>2.2305705564686546E-2</c:v>
                </c:pt>
                <c:pt idx="4">
                  <c:v>2.3479690068091103E-2</c:v>
                </c:pt>
                <c:pt idx="5">
                  <c:v>2.3479690068091103E-2</c:v>
                </c:pt>
                <c:pt idx="6">
                  <c:v>4.6489786334820385E-2</c:v>
                </c:pt>
                <c:pt idx="7">
                  <c:v>5.9168818971589592E-2</c:v>
                </c:pt>
                <c:pt idx="8">
                  <c:v>3.0993190889880257E-2</c:v>
                </c:pt>
                <c:pt idx="9">
                  <c:v>0.5644517492369099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De Bligny</c:v>
                </c:pt>
                <c:pt idx="5">
                  <c:v>Ayala</c:v>
                </c:pt>
                <c:pt idx="6">
                  <c:v>Laurent Perrier</c:v>
                </c:pt>
                <c:pt idx="7">
                  <c:v>Canard Duchêne</c:v>
                </c:pt>
                <c:pt idx="8">
                  <c:v>Demoiselle</c:v>
                </c:pt>
                <c:pt idx="9">
                  <c:v>Others</c:v>
                </c:pt>
              </c:strCache>
            </c:strRef>
          </c:cat>
          <c:val>
            <c:numRef>
              <c:f>Sheet1!$D$2:$D$11</c:f>
              <c:numCache>
                <c:formatCode>General</c:formatCode>
                <c:ptCount val="10"/>
                <c:pt idx="0">
                  <c:v>36.099093594548101</c:v>
                </c:pt>
                <c:pt idx="1">
                  <c:v>64.31762168361098</c:v>
                </c:pt>
                <c:pt idx="2">
                  <c:v>71.185671441179039</c:v>
                </c:pt>
                <c:pt idx="3">
                  <c:v>29.594194242140265</c:v>
                </c:pt>
                <c:pt idx="4">
                  <c:v>47.267619367055232</c:v>
                </c:pt>
                <c:pt idx="5">
                  <c:v>48.296566437276461</c:v>
                </c:pt>
                <c:pt idx="6">
                  <c:v>104.53212311480526</c:v>
                </c:pt>
                <c:pt idx="7">
                  <c:v>155.99029664056863</c:v>
                </c:pt>
                <c:pt idx="8">
                  <c:v>93.499852786070221</c:v>
                </c:pt>
                <c:pt idx="9">
                  <c:v>202.619024648631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De Bligny</c:v>
                </c:pt>
                <c:pt idx="5">
                  <c:v>Canard Duchêne</c:v>
                </c:pt>
                <c:pt idx="6">
                  <c:v>Roederer</c:v>
                </c:pt>
                <c:pt idx="7">
                  <c:v>Besserat De Bellefon</c:v>
                </c:pt>
                <c:pt idx="8">
                  <c:v>Laurent Perrier</c:v>
                </c:pt>
                <c:pt idx="9">
                  <c:v>Others</c:v>
                </c:pt>
              </c:strCache>
            </c:strRef>
          </c:cat>
          <c:val>
            <c:numRef>
              <c:f>Sheet1!$B$2:$B$11</c:f>
              <c:numCache>
                <c:formatCode>General</c:formatCode>
                <c:ptCount val="10"/>
                <c:pt idx="0">
                  <c:v>0.18372244722120051</c:v>
                </c:pt>
                <c:pt idx="1">
                  <c:v>9.5382858396955095E-2</c:v>
                </c:pt>
                <c:pt idx="2">
                  <c:v>9.2883371503004464E-2</c:v>
                </c:pt>
                <c:pt idx="3">
                  <c:v>8.485046768854361E-2</c:v>
                </c:pt>
                <c:pt idx="4">
                  <c:v>5.7561354274833824E-2</c:v>
                </c:pt>
                <c:pt idx="5">
                  <c:v>5.3978756393504586E-2</c:v>
                </c:pt>
                <c:pt idx="6">
                  <c:v>4.9536578873036224E-2</c:v>
                </c:pt>
                <c:pt idx="7">
                  <c:v>4.5222423852014117E-2</c:v>
                </c:pt>
                <c:pt idx="8">
                  <c:v>4.3598773422529116E-2</c:v>
                </c:pt>
                <c:pt idx="9">
                  <c:v>0.2932629683743784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De Bligny</c:v>
                </c:pt>
                <c:pt idx="5">
                  <c:v>Canard Duchêne</c:v>
                </c:pt>
                <c:pt idx="6">
                  <c:v>Roederer</c:v>
                </c:pt>
                <c:pt idx="7">
                  <c:v>Besserat De Bellefon</c:v>
                </c:pt>
                <c:pt idx="8">
                  <c:v>Laurent Perrier</c:v>
                </c:pt>
                <c:pt idx="9">
                  <c:v>Others</c:v>
                </c:pt>
              </c:strCache>
            </c:strRef>
          </c:cat>
          <c:val>
            <c:numRef>
              <c:f>Sheet1!$C$2:$C$11</c:f>
              <c:numCache>
                <c:formatCode>General</c:formatCode>
                <c:ptCount val="10"/>
                <c:pt idx="0">
                  <c:v>7.3506891271056654E-2</c:v>
                </c:pt>
                <c:pt idx="1">
                  <c:v>5.9943119667468819E-2</c:v>
                </c:pt>
                <c:pt idx="2">
                  <c:v>8.6851892364909186E-2</c:v>
                </c:pt>
                <c:pt idx="3">
                  <c:v>2.1877050973528763E-2</c:v>
                </c:pt>
                <c:pt idx="4">
                  <c:v>2.1877050973528763E-2</c:v>
                </c:pt>
                <c:pt idx="5">
                  <c:v>7.7007219426821247E-2</c:v>
                </c:pt>
                <c:pt idx="6">
                  <c:v>8.510172828702689E-2</c:v>
                </c:pt>
                <c:pt idx="7">
                  <c:v>2.2752133012469915E-2</c:v>
                </c:pt>
                <c:pt idx="8">
                  <c:v>5.1848610807263162E-2</c:v>
                </c:pt>
                <c:pt idx="9">
                  <c:v>0.4992343032159263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Nicolas</c:v>
                </c:pt>
                <c:pt idx="3">
                  <c:v>Heidsieck &amp; Co Monopole</c:v>
                </c:pt>
                <c:pt idx="4">
                  <c:v>De Bligny</c:v>
                </c:pt>
                <c:pt idx="5">
                  <c:v>Canard Duchêne</c:v>
                </c:pt>
                <c:pt idx="6">
                  <c:v>Roederer</c:v>
                </c:pt>
                <c:pt idx="7">
                  <c:v>Besserat De Bellefon</c:v>
                </c:pt>
                <c:pt idx="8">
                  <c:v>Laurent Perrier</c:v>
                </c:pt>
                <c:pt idx="9">
                  <c:v>Others</c:v>
                </c:pt>
              </c:strCache>
            </c:strRef>
          </c:cat>
          <c:val>
            <c:numRef>
              <c:f>Sheet1!$D$2:$D$11</c:f>
              <c:numCache>
                <c:formatCode>General</c:formatCode>
                <c:ptCount val="10"/>
                <c:pt idx="0">
                  <c:v>40.009749697354557</c:v>
                </c:pt>
                <c:pt idx="1">
                  <c:v>62.844750802081627</c:v>
                </c:pt>
                <c:pt idx="2">
                  <c:v>93.506395127032846</c:v>
                </c:pt>
                <c:pt idx="3">
                  <c:v>25.783064689556888</c:v>
                </c:pt>
                <c:pt idx="4">
                  <c:v>38.00649107224627</c:v>
                </c:pt>
                <c:pt idx="5">
                  <c:v>142.662085182992</c:v>
                </c:pt>
                <c:pt idx="6">
                  <c:v>171.79573200875507</c:v>
                </c:pt>
                <c:pt idx="7">
                  <c:v>50.311617720721927</c:v>
                </c:pt>
                <c:pt idx="8">
                  <c:v>118.92217770619907</c:v>
                </c:pt>
                <c:pt idx="9">
                  <c:v>170.2343483677099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Ayala</c:v>
                </c:pt>
                <c:pt idx="3">
                  <c:v>Nicolas</c:v>
                </c:pt>
                <c:pt idx="4">
                  <c:v>De Bligny</c:v>
                </c:pt>
                <c:pt idx="5">
                  <c:v>Canard Duchêne</c:v>
                </c:pt>
                <c:pt idx="6">
                  <c:v>Laurent Perrier</c:v>
                </c:pt>
                <c:pt idx="7">
                  <c:v>Taittinger</c:v>
                </c:pt>
                <c:pt idx="8">
                  <c:v>Bollinger</c:v>
                </c:pt>
                <c:pt idx="9">
                  <c:v>Others</c:v>
                </c:pt>
              </c:strCache>
            </c:strRef>
          </c:cat>
          <c:val>
            <c:numRef>
              <c:f>Sheet1!$B$2:$B$11</c:f>
              <c:numCache>
                <c:formatCode>General</c:formatCode>
                <c:ptCount val="10"/>
                <c:pt idx="0">
                  <c:v>0.22282724191149061</c:v>
                </c:pt>
                <c:pt idx="1">
                  <c:v>0.10642656326752438</c:v>
                </c:pt>
                <c:pt idx="2">
                  <c:v>8.1928491550046514E-2</c:v>
                </c:pt>
                <c:pt idx="3">
                  <c:v>8.0047240308943265E-2</c:v>
                </c:pt>
                <c:pt idx="4">
                  <c:v>6.1053570370989713E-2</c:v>
                </c:pt>
                <c:pt idx="5">
                  <c:v>6.0750479893256409E-2</c:v>
                </c:pt>
                <c:pt idx="6">
                  <c:v>5.3601725177064061E-2</c:v>
                </c:pt>
                <c:pt idx="7">
                  <c:v>3.0469302508683366E-2</c:v>
                </c:pt>
                <c:pt idx="8">
                  <c:v>3.0316015370519398E-2</c:v>
                </c:pt>
                <c:pt idx="9">
                  <c:v>0.2725793696414822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Ayala</c:v>
                </c:pt>
                <c:pt idx="3">
                  <c:v>Nicolas</c:v>
                </c:pt>
                <c:pt idx="4">
                  <c:v>De Bligny</c:v>
                </c:pt>
                <c:pt idx="5">
                  <c:v>Canard Duchêne</c:v>
                </c:pt>
                <c:pt idx="6">
                  <c:v>Laurent Perrier</c:v>
                </c:pt>
                <c:pt idx="7">
                  <c:v>Taittinger</c:v>
                </c:pt>
                <c:pt idx="8">
                  <c:v>Bollinger</c:v>
                </c:pt>
                <c:pt idx="9">
                  <c:v>Others</c:v>
                </c:pt>
              </c:strCache>
            </c:strRef>
          </c:cat>
          <c:val>
            <c:numRef>
              <c:f>Sheet1!$C$2:$C$11</c:f>
              <c:numCache>
                <c:formatCode>General</c:formatCode>
                <c:ptCount val="10"/>
                <c:pt idx="0">
                  <c:v>6.3229365584553374E-2</c:v>
                </c:pt>
                <c:pt idx="1">
                  <c:v>6.5563335455124133E-2</c:v>
                </c:pt>
                <c:pt idx="2">
                  <c:v>2.1217907914279653E-2</c:v>
                </c:pt>
                <c:pt idx="3">
                  <c:v>7.3413961383407597E-2</c:v>
                </c:pt>
                <c:pt idx="4">
                  <c:v>2.1217907914279653E-2</c:v>
                </c:pt>
                <c:pt idx="5">
                  <c:v>7.4687035858264375E-2</c:v>
                </c:pt>
                <c:pt idx="6">
                  <c:v>4.7952471886272011E-2</c:v>
                </c:pt>
                <c:pt idx="7">
                  <c:v>3.3312115425419057E-2</c:v>
                </c:pt>
                <c:pt idx="8">
                  <c:v>3.373647358370465E-2</c:v>
                </c:pt>
                <c:pt idx="9">
                  <c:v>0.5656694249946956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Deutz</c:v>
                </c:pt>
                <c:pt idx="2">
                  <c:v>Ayala</c:v>
                </c:pt>
                <c:pt idx="3">
                  <c:v>Nicolas</c:v>
                </c:pt>
                <c:pt idx="4">
                  <c:v>De Bligny</c:v>
                </c:pt>
                <c:pt idx="5">
                  <c:v>Canard Duchêne</c:v>
                </c:pt>
                <c:pt idx="6">
                  <c:v>Laurent Perrier</c:v>
                </c:pt>
                <c:pt idx="7">
                  <c:v>Taittinger</c:v>
                </c:pt>
                <c:pt idx="8">
                  <c:v>Bollinger</c:v>
                </c:pt>
                <c:pt idx="9">
                  <c:v>Others</c:v>
                </c:pt>
              </c:strCache>
            </c:strRef>
          </c:cat>
          <c:val>
            <c:numRef>
              <c:f>Sheet1!$D$2:$D$11</c:f>
              <c:numCache>
                <c:formatCode>General</c:formatCode>
                <c:ptCount val="10"/>
                <c:pt idx="0">
                  <c:v>28.375958452005058</c:v>
                </c:pt>
                <c:pt idx="1">
                  <c:v>61.604296373187985</c:v>
                </c:pt>
                <c:pt idx="2">
                  <c:v>25.89808198936333</c:v>
                </c:pt>
                <c:pt idx="3">
                  <c:v>91.713294674576602</c:v>
                </c:pt>
                <c:pt idx="4">
                  <c:v>34.752935471832089</c:v>
                </c:pt>
                <c:pt idx="5">
                  <c:v>122.9406516450498</c:v>
                </c:pt>
                <c:pt idx="6">
                  <c:v>89.460687557852452</c:v>
                </c:pt>
                <c:pt idx="7">
                  <c:v>109.33008858973889</c:v>
                </c:pt>
                <c:pt idx="8">
                  <c:v>111.28267739470621</c:v>
                </c:pt>
                <c:pt idx="9">
                  <c:v>207.5246654721919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Taittinger</c:v>
                </c:pt>
                <c:pt idx="5">
                  <c:v>Heidsieck &amp; Co Monopole</c:v>
                </c:pt>
                <c:pt idx="6">
                  <c:v>De Bligny</c:v>
                </c:pt>
                <c:pt idx="7">
                  <c:v>Ayala</c:v>
                </c:pt>
                <c:pt idx="8">
                  <c:v>Roederer</c:v>
                </c:pt>
                <c:pt idx="9">
                  <c:v>Others</c:v>
                </c:pt>
              </c:strCache>
            </c:strRef>
          </c:cat>
          <c:val>
            <c:numRef>
              <c:f>Sheet1!$B$2:$B$11</c:f>
              <c:numCache>
                <c:formatCode>General</c:formatCode>
                <c:ptCount val="10"/>
                <c:pt idx="0">
                  <c:v>0.18968565676377816</c:v>
                </c:pt>
                <c:pt idx="1">
                  <c:v>0.11584540743918942</c:v>
                </c:pt>
                <c:pt idx="2">
                  <c:v>8.6867553384600157E-2</c:v>
                </c:pt>
                <c:pt idx="3">
                  <c:v>7.1878845600750613E-2</c:v>
                </c:pt>
                <c:pt idx="4">
                  <c:v>5.6305488629987785E-2</c:v>
                </c:pt>
                <c:pt idx="5">
                  <c:v>4.0222921077074682E-2</c:v>
                </c:pt>
                <c:pt idx="6">
                  <c:v>3.8733008633005335E-2</c:v>
                </c:pt>
                <c:pt idx="7">
                  <c:v>3.6903622467502464E-2</c:v>
                </c:pt>
                <c:pt idx="8">
                  <c:v>3.486206522610364E-2</c:v>
                </c:pt>
                <c:pt idx="9">
                  <c:v>0.3286954307780077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Taittinger</c:v>
                </c:pt>
                <c:pt idx="5">
                  <c:v>Heidsieck &amp; Co Monopole</c:v>
                </c:pt>
                <c:pt idx="6">
                  <c:v>De Bligny</c:v>
                </c:pt>
                <c:pt idx="7">
                  <c:v>Ayala</c:v>
                </c:pt>
                <c:pt idx="8">
                  <c:v>Roederer</c:v>
                </c:pt>
                <c:pt idx="9">
                  <c:v>Others</c:v>
                </c:pt>
              </c:strCache>
            </c:strRef>
          </c:cat>
          <c:val>
            <c:numRef>
              <c:f>Sheet1!$C$2:$C$11</c:f>
              <c:numCache>
                <c:formatCode>General</c:formatCode>
                <c:ptCount val="10"/>
                <c:pt idx="0">
                  <c:v>7.0717993079584748E-2</c:v>
                </c:pt>
                <c:pt idx="1">
                  <c:v>8.9532871972318309E-2</c:v>
                </c:pt>
                <c:pt idx="2">
                  <c:v>5.1038062283737008E-2</c:v>
                </c:pt>
                <c:pt idx="3">
                  <c:v>8.4342560553633206E-2</c:v>
                </c:pt>
                <c:pt idx="4">
                  <c:v>3.2655709342560547E-2</c:v>
                </c:pt>
                <c:pt idx="5">
                  <c:v>1.9679930795847747E-2</c:v>
                </c:pt>
                <c:pt idx="6">
                  <c:v>1.9896193771626294E-2</c:v>
                </c:pt>
                <c:pt idx="7">
                  <c:v>1.9247404844290654E-2</c:v>
                </c:pt>
                <c:pt idx="8">
                  <c:v>7.9584775086505175E-2</c:v>
                </c:pt>
                <c:pt idx="9">
                  <c:v>0.5333044982698961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Canard Duchêne</c:v>
                </c:pt>
                <c:pt idx="4">
                  <c:v>Taittinger</c:v>
                </c:pt>
                <c:pt idx="5">
                  <c:v>Heidsieck &amp; Co Monopole</c:v>
                </c:pt>
                <c:pt idx="6">
                  <c:v>De Bligny</c:v>
                </c:pt>
                <c:pt idx="7">
                  <c:v>Ayala</c:v>
                </c:pt>
                <c:pt idx="8">
                  <c:v>Roederer</c:v>
                </c:pt>
                <c:pt idx="9">
                  <c:v>Others</c:v>
                </c:pt>
              </c:strCache>
            </c:strRef>
          </c:cat>
          <c:val>
            <c:numRef>
              <c:f>Sheet1!$D$2:$D$11</c:f>
              <c:numCache>
                <c:formatCode>General</c:formatCode>
                <c:ptCount val="10"/>
                <c:pt idx="0">
                  <c:v>37.28167658330235</c:v>
                </c:pt>
                <c:pt idx="1">
                  <c:v>77.286509626474995</c:v>
                </c:pt>
                <c:pt idx="2">
                  <c:v>58.753884845552719</c:v>
                </c:pt>
                <c:pt idx="3">
                  <c:v>117.33989305019172</c:v>
                </c:pt>
                <c:pt idx="4">
                  <c:v>57.997382026391683</c:v>
                </c:pt>
                <c:pt idx="5">
                  <c:v>48.92715463935923</c:v>
                </c:pt>
                <c:pt idx="6">
                  <c:v>51.367540177791057</c:v>
                </c:pt>
                <c:pt idx="7">
                  <c:v>52.155868604064615</c:v>
                </c:pt>
                <c:pt idx="8">
                  <c:v>228.28474036275551</c:v>
                </c:pt>
                <c:pt idx="9">
                  <c:v>162.248832302775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Louis Martin</c:v>
                </c:pt>
                <c:pt idx="2">
                  <c:v>Vesselle</c:v>
                </c:pt>
                <c:pt idx="3">
                  <c:v>Nicolas</c:v>
                </c:pt>
                <c:pt idx="4">
                  <c:v>Others</c:v>
                </c:pt>
              </c:strCache>
            </c:strRef>
          </c:cat>
          <c:val>
            <c:numRef>
              <c:f>Sheet1!$B$2:$B$6</c:f>
              <c:numCache>
                <c:formatCode>General</c:formatCode>
                <c:ptCount val="5"/>
                <c:pt idx="0">
                  <c:v>0.63520340586565749</c:v>
                </c:pt>
                <c:pt idx="1">
                  <c:v>0.17503311258278145</c:v>
                </c:pt>
                <c:pt idx="2">
                  <c:v>0.16558183538315988</c:v>
                </c:pt>
                <c:pt idx="3">
                  <c:v>2.379375591296121E-2</c:v>
                </c:pt>
                <c:pt idx="4">
                  <c:v>3.878902554399243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Louis Martin</c:v>
                </c:pt>
                <c:pt idx="2">
                  <c:v>Vesselle</c:v>
                </c:pt>
                <c:pt idx="3">
                  <c:v>Nicolas</c:v>
                </c:pt>
                <c:pt idx="4">
                  <c:v>Others</c:v>
                </c:pt>
              </c:strCache>
            </c:strRef>
          </c:cat>
          <c:val>
            <c:numRef>
              <c:f>Sheet1!$C$2:$C$6</c:f>
              <c:numCache>
                <c:formatCode>General</c:formatCode>
                <c:ptCount val="5"/>
                <c:pt idx="0">
                  <c:v>0.32214765100671139</c:v>
                </c:pt>
                <c:pt idx="1">
                  <c:v>0.17785234899328861</c:v>
                </c:pt>
                <c:pt idx="2">
                  <c:v>0.28859060402684561</c:v>
                </c:pt>
                <c:pt idx="3">
                  <c:v>0.19127516778523493</c:v>
                </c:pt>
                <c:pt idx="4">
                  <c:v>2.013422818791946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Louis Martin</c:v>
                </c:pt>
                <c:pt idx="2">
                  <c:v>Vesselle</c:v>
                </c:pt>
                <c:pt idx="3">
                  <c:v>Nicolas</c:v>
                </c:pt>
                <c:pt idx="4">
                  <c:v>Others</c:v>
                </c:pt>
              </c:strCache>
            </c:strRef>
          </c:cat>
          <c:val>
            <c:numRef>
              <c:f>Sheet1!$D$2:$D$6</c:f>
              <c:numCache>
                <c:formatCode>General</c:formatCode>
                <c:ptCount val="5"/>
                <c:pt idx="0">
                  <c:v>50.715668088663257</c:v>
                </c:pt>
                <c:pt idx="1">
                  <c:v>101.6106874687347</c:v>
                </c:pt>
                <c:pt idx="2">
                  <c:v>174.28880611151629</c:v>
                </c:pt>
                <c:pt idx="3">
                  <c:v>803.88808091051021</c:v>
                </c:pt>
                <c:pt idx="4">
                  <c:v>5190.702242592895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7254149827613761</c:v>
                </c:pt>
                <c:pt idx="1">
                  <c:v>0.10247277210767861</c:v>
                </c:pt>
                <c:pt idx="2">
                  <c:v>7.9731488458113564E-2</c:v>
                </c:pt>
                <c:pt idx="3">
                  <c:v>4.3770121241180904E-2</c:v>
                </c:pt>
                <c:pt idx="4">
                  <c:v>1.484119916889284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36398467432950193</c:v>
                </c:pt>
                <c:pt idx="1">
                  <c:v>0.21072796934865903</c:v>
                </c:pt>
                <c:pt idx="2">
                  <c:v>0.18773946360153257</c:v>
                </c:pt>
                <c:pt idx="3">
                  <c:v>0.21839080459770113</c:v>
                </c:pt>
                <c:pt idx="4">
                  <c:v>1.915708812260536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47.115226190658184</c:v>
                </c:pt>
                <c:pt idx="1">
                  <c:v>205.64288933964394</c:v>
                </c:pt>
                <c:pt idx="2">
                  <c:v>235.46464167687066</c:v>
                </c:pt>
                <c:pt idx="3">
                  <c:v>498.94950803158667</c:v>
                </c:pt>
                <c:pt idx="4">
                  <c:v>1290.80459770114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B$2:$B$6</c:f>
              <c:numCache>
                <c:formatCode>General</c:formatCode>
                <c:ptCount val="5"/>
                <c:pt idx="0">
                  <c:v>0.72186333756417298</c:v>
                </c:pt>
                <c:pt idx="1">
                  <c:v>0.16865895012029478</c:v>
                </c:pt>
                <c:pt idx="2">
                  <c:v>7.9299827609070409E-2</c:v>
                </c:pt>
                <c:pt idx="3">
                  <c:v>2.9401178320419802E-2</c:v>
                </c:pt>
                <c:pt idx="4">
                  <c:v>7.767063860420179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C$2:$C$6</c:f>
              <c:numCache>
                <c:formatCode>General</c:formatCode>
                <c:ptCount val="5"/>
                <c:pt idx="0">
                  <c:v>0.2770083102493075</c:v>
                </c:pt>
                <c:pt idx="1">
                  <c:v>0.23268698060941831</c:v>
                </c:pt>
                <c:pt idx="2">
                  <c:v>0.18282548476454297</c:v>
                </c:pt>
                <c:pt idx="3">
                  <c:v>0.27146814404432135</c:v>
                </c:pt>
                <c:pt idx="4">
                  <c:v>3.601108033240998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ard</c:v>
                </c:pt>
                <c:pt idx="1">
                  <c:v>Vesselle</c:v>
                </c:pt>
                <c:pt idx="2">
                  <c:v>Louis Martin</c:v>
                </c:pt>
                <c:pt idx="3">
                  <c:v>Nicolas</c:v>
                </c:pt>
                <c:pt idx="4">
                  <c:v>Others</c:v>
                </c:pt>
              </c:strCache>
            </c:strRef>
          </c:cat>
          <c:val>
            <c:numRef>
              <c:f>Sheet1!$D$2:$D$6</c:f>
              <c:numCache>
                <c:formatCode>General</c:formatCode>
                <c:ptCount val="5"/>
                <c:pt idx="0">
                  <c:v>38.374065537672735</c:v>
                </c:pt>
                <c:pt idx="1">
                  <c:v>137.96301971727917</c:v>
                </c:pt>
                <c:pt idx="2">
                  <c:v>230.54966230926732</c:v>
                </c:pt>
                <c:pt idx="3">
                  <c:v>923.32402832909736</c:v>
                </c:pt>
                <c:pt idx="4">
                  <c:v>4636.38267684616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De Bligny</c:v>
                </c:pt>
                <c:pt idx="5">
                  <c:v>Nicolas Feuillatte</c:v>
                </c:pt>
                <c:pt idx="6">
                  <c:v>Laurent Perrier</c:v>
                </c:pt>
                <c:pt idx="7">
                  <c:v>Heidsieck &amp; Co Monopole</c:v>
                </c:pt>
                <c:pt idx="8">
                  <c:v>Canard Duchêne</c:v>
                </c:pt>
                <c:pt idx="9">
                  <c:v>Others</c:v>
                </c:pt>
              </c:strCache>
            </c:strRef>
          </c:cat>
          <c:val>
            <c:numRef>
              <c:f>Sheet1!$B$2:$B$11</c:f>
              <c:numCache>
                <c:formatCode>General</c:formatCode>
                <c:ptCount val="10"/>
                <c:pt idx="0">
                  <c:v>0.2246793335605784</c:v>
                </c:pt>
                <c:pt idx="1">
                  <c:v>0.10020642388357208</c:v>
                </c:pt>
                <c:pt idx="2">
                  <c:v>6.316086355433205E-2</c:v>
                </c:pt>
                <c:pt idx="3">
                  <c:v>5.00383259767068E-2</c:v>
                </c:pt>
                <c:pt idx="4">
                  <c:v>4.4933963390473355E-2</c:v>
                </c:pt>
                <c:pt idx="5">
                  <c:v>4.0975054374438734E-2</c:v>
                </c:pt>
                <c:pt idx="6">
                  <c:v>3.9133158112389411E-2</c:v>
                </c:pt>
                <c:pt idx="7">
                  <c:v>3.8945421386760146E-2</c:v>
                </c:pt>
                <c:pt idx="8">
                  <c:v>3.3888641841584813E-2</c:v>
                </c:pt>
                <c:pt idx="9">
                  <c:v>0.3640388139191642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De Bligny</c:v>
                </c:pt>
                <c:pt idx="5">
                  <c:v>Nicolas Feuillatte</c:v>
                </c:pt>
                <c:pt idx="6">
                  <c:v>Laurent Perrier</c:v>
                </c:pt>
                <c:pt idx="7">
                  <c:v>Heidsieck &amp; Co Monopole</c:v>
                </c:pt>
                <c:pt idx="8">
                  <c:v>Canard Duchêne</c:v>
                </c:pt>
                <c:pt idx="9">
                  <c:v>Others</c:v>
                </c:pt>
              </c:strCache>
            </c:strRef>
          </c:cat>
          <c:val>
            <c:numRef>
              <c:f>Sheet1!$C$2:$C$11</c:f>
              <c:numCache>
                <c:formatCode>General</c:formatCode>
                <c:ptCount val="10"/>
                <c:pt idx="0">
                  <c:v>9.3920941273609254E-2</c:v>
                </c:pt>
                <c:pt idx="1">
                  <c:v>7.1008359995871642E-2</c:v>
                </c:pt>
                <c:pt idx="2">
                  <c:v>4.3967385695118183E-2</c:v>
                </c:pt>
                <c:pt idx="3">
                  <c:v>4.0148622148828583E-2</c:v>
                </c:pt>
                <c:pt idx="4">
                  <c:v>1.7545670347817118E-2</c:v>
                </c:pt>
                <c:pt idx="5">
                  <c:v>2.7453813603055016E-2</c:v>
                </c:pt>
                <c:pt idx="6">
                  <c:v>3.8497264939622265E-2</c:v>
                </c:pt>
                <c:pt idx="7">
                  <c:v>1.0320982557539481E-2</c:v>
                </c:pt>
                <c:pt idx="8">
                  <c:v>3.6433068428114369E-2</c:v>
                </c:pt>
                <c:pt idx="9">
                  <c:v>0.620703891010424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Malard</c:v>
                </c:pt>
                <c:pt idx="4">
                  <c:v>De Bligny</c:v>
                </c:pt>
                <c:pt idx="5">
                  <c:v>Nicolas Feuillatte</c:v>
                </c:pt>
                <c:pt idx="6">
                  <c:v>Laurent Perrier</c:v>
                </c:pt>
                <c:pt idx="7">
                  <c:v>Heidsieck &amp; Co Monopole</c:v>
                </c:pt>
                <c:pt idx="8">
                  <c:v>Canard Duchêne</c:v>
                </c:pt>
                <c:pt idx="9">
                  <c:v>Others</c:v>
                </c:pt>
              </c:strCache>
            </c:strRef>
          </c:cat>
          <c:val>
            <c:numRef>
              <c:f>Sheet1!$D$2:$D$11</c:f>
              <c:numCache>
                <c:formatCode>General</c:formatCode>
                <c:ptCount val="10"/>
                <c:pt idx="0">
                  <c:v>41.802216423383747</c:v>
                </c:pt>
                <c:pt idx="1">
                  <c:v>70.862083730654717</c:v>
                </c:pt>
                <c:pt idx="2">
                  <c:v>69.611755161163515</c:v>
                </c:pt>
                <c:pt idx="3">
                  <c:v>80.235742034052166</c:v>
                </c:pt>
                <c:pt idx="4">
                  <c:v>39.047680248782711</c:v>
                </c:pt>
                <c:pt idx="5">
                  <c:v>67.001286568594267</c:v>
                </c:pt>
                <c:pt idx="6">
                  <c:v>98.375052759757139</c:v>
                </c:pt>
                <c:pt idx="7">
                  <c:v>26.501144910061736</c:v>
                </c:pt>
                <c:pt idx="8">
                  <c:v>107.5081987599966</c:v>
                </c:pt>
                <c:pt idx="9">
                  <c:v>170.5048657663886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50260811548492756</c:v>
                </c:pt>
                <c:pt idx="1">
                  <c:v>0.37332443743555527</c:v>
                </c:pt>
                <c:pt idx="2">
                  <c:v>0.10147388851822649</c:v>
                </c:pt>
                <c:pt idx="3">
                  <c:v>2.259355856129071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003003003003003</c:v>
                </c:pt>
                <c:pt idx="1">
                  <c:v>0.23123123123123124</c:v>
                </c:pt>
                <c:pt idx="2">
                  <c:v>0.23123123123123124</c:v>
                </c:pt>
                <c:pt idx="3">
                  <c:v>0.237237237237237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9.748398612816636</c:v>
                </c:pt>
                <c:pt idx="1">
                  <c:v>61.938412823871801</c:v>
                </c:pt>
                <c:pt idx="2">
                  <c:v>227.87264251699401</c:v>
                </c:pt>
                <c:pt idx="3">
                  <c:v>1050.02156518935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3767437376922764</c:v>
                </c:pt>
                <c:pt idx="1">
                  <c:v>0.22927138273407052</c:v>
                </c:pt>
                <c:pt idx="2">
                  <c:v>0.10301995400526047</c:v>
                </c:pt>
                <c:pt idx="3">
                  <c:v>3.00342894914413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29850746268656719</c:v>
                </c:pt>
                <c:pt idx="1">
                  <c:v>0.2537313432835821</c:v>
                </c:pt>
                <c:pt idx="2">
                  <c:v>0.23880597014925378</c:v>
                </c:pt>
                <c:pt idx="3">
                  <c:v>0.2089552238805970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6.811895689350081</c:v>
                </c:pt>
                <c:pt idx="1">
                  <c:v>110.66856240749523</c:v>
                </c:pt>
                <c:pt idx="2">
                  <c:v>231.80554918230669</c:v>
                </c:pt>
                <c:pt idx="3">
                  <c:v>695.72221423829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5811143432535246</c:v>
                </c:pt>
                <c:pt idx="1">
                  <c:v>0.24282837323786083</c:v>
                </c:pt>
                <c:pt idx="2">
                  <c:v>6.1848288207652716E-2</c:v>
                </c:pt>
                <c:pt idx="3">
                  <c:v>3.721190422913403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5211267605633811</c:v>
                </c:pt>
                <c:pt idx="1">
                  <c:v>0.2253521126760564</c:v>
                </c:pt>
                <c:pt idx="2">
                  <c:v>0.23239436619718315</c:v>
                </c:pt>
                <c:pt idx="3">
                  <c:v>0.1901408450704225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3.503503767154292</c:v>
                </c:pt>
                <c:pt idx="1">
                  <c:v>92.803040135394028</c:v>
                </c:pt>
                <c:pt idx="2">
                  <c:v>375.7490674874137</c:v>
                </c:pt>
                <c:pt idx="3">
                  <c:v>510.967791112278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2513671428274384</c:v>
                </c:pt>
                <c:pt idx="1">
                  <c:v>0.19645270621504168</c:v>
                </c:pt>
                <c:pt idx="2">
                  <c:v>6.2254382134614185E-2</c:v>
                </c:pt>
                <c:pt idx="3">
                  <c:v>1.615619736760027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2770270270270269</c:v>
                </c:pt>
                <c:pt idx="1">
                  <c:v>0.23648648648648649</c:v>
                </c:pt>
                <c:pt idx="2">
                  <c:v>0.17567567567567569</c:v>
                </c:pt>
                <c:pt idx="3">
                  <c:v>0.260135135135135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5.191850894881803</c:v>
                </c:pt>
                <c:pt idx="1">
                  <c:v>120.37832974803761</c:v>
                </c:pt>
                <c:pt idx="2">
                  <c:v>282.19005578725017</c:v>
                </c:pt>
                <c:pt idx="3">
                  <c:v>1610.12600438276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6992230048652968</c:v>
                </c:pt>
                <c:pt idx="1">
                  <c:v>0.17059400188802556</c:v>
                </c:pt>
                <c:pt idx="2">
                  <c:v>0.11117565899353714</c:v>
                </c:pt>
                <c:pt idx="3">
                  <c:v>4.830803863190763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24509803921568626</c:v>
                </c:pt>
                <c:pt idx="1">
                  <c:v>0.19607843137254902</c:v>
                </c:pt>
                <c:pt idx="2">
                  <c:v>0.19362745098039216</c:v>
                </c:pt>
                <c:pt idx="3">
                  <c:v>0.365196078431372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36.586039759787717</c:v>
                </c:pt>
                <c:pt idx="1">
                  <c:v>114.93864333005736</c:v>
                </c:pt>
                <c:pt idx="2">
                  <c:v>174.1635288994762</c:v>
                </c:pt>
                <c:pt idx="3">
                  <c:v>755.973723574360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60792170576521443</c:v>
                </c:pt>
                <c:pt idx="1">
                  <c:v>0.32961775705473795</c:v>
                </c:pt>
                <c:pt idx="2">
                  <c:v>4.3056972169605127E-2</c:v>
                </c:pt>
                <c:pt idx="3">
                  <c:v>1.940356501044247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25706940874035994</c:v>
                </c:pt>
                <c:pt idx="1">
                  <c:v>0.22879177377892032</c:v>
                </c:pt>
                <c:pt idx="2">
                  <c:v>0.24421593830334193</c:v>
                </c:pt>
                <c:pt idx="3">
                  <c:v>0.269922879177377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2.286598142893553</c:v>
                </c:pt>
                <c:pt idx="1">
                  <c:v>69.411240408667069</c:v>
                </c:pt>
                <c:pt idx="2">
                  <c:v>567.19254977185642</c:v>
                </c:pt>
                <c:pt idx="3">
                  <c:v>1391.09941411340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4352378373499417</c:v>
                </c:pt>
                <c:pt idx="1">
                  <c:v>0.15245058218250745</c:v>
                </c:pt>
                <c:pt idx="2">
                  <c:v>8.1415290188645184E-2</c:v>
                </c:pt>
                <c:pt idx="3">
                  <c:v>2.26103438938532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115264797507788</c:v>
                </c:pt>
                <c:pt idx="1">
                  <c:v>0.27725856697819318</c:v>
                </c:pt>
                <c:pt idx="2">
                  <c:v>0.24610591900311529</c:v>
                </c:pt>
                <c:pt idx="3">
                  <c:v>0.165109034267912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41.898656985236762</c:v>
                </c:pt>
                <c:pt idx="1">
                  <c:v>181.86783087930147</c:v>
                </c:pt>
                <c:pt idx="2">
                  <c:v>302.28464264251824</c:v>
                </c:pt>
                <c:pt idx="3">
                  <c:v>730.236722816050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B$2:$B$5</c:f>
              <c:numCache>
                <c:formatCode>General</c:formatCode>
                <c:ptCount val="4"/>
                <c:pt idx="0">
                  <c:v>0.7339686011091151</c:v>
                </c:pt>
                <c:pt idx="1">
                  <c:v>0.1894868390221042</c:v>
                </c:pt>
                <c:pt idx="2">
                  <c:v>5.2800124970709988E-2</c:v>
                </c:pt>
                <c:pt idx="3">
                  <c:v>2.374443489807076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C$2:$C$5</c:f>
              <c:numCache>
                <c:formatCode>General</c:formatCode>
                <c:ptCount val="4"/>
                <c:pt idx="0">
                  <c:v>0.37174721189591081</c:v>
                </c:pt>
                <c:pt idx="1">
                  <c:v>0.25650557620817843</c:v>
                </c:pt>
                <c:pt idx="2">
                  <c:v>0.17843866171003719</c:v>
                </c:pt>
                <c:pt idx="3">
                  <c:v>0.193308550185873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lard</c:v>
                </c:pt>
                <c:pt idx="1">
                  <c:v>Vesselle</c:v>
                </c:pt>
                <c:pt idx="2">
                  <c:v>Louis Martin</c:v>
                </c:pt>
                <c:pt idx="3">
                  <c:v>Nicolas</c:v>
                </c:pt>
              </c:strCache>
            </c:strRef>
          </c:cat>
          <c:val>
            <c:numRef>
              <c:f>Sheet1!$D$2:$D$5</c:f>
              <c:numCache>
                <c:formatCode>General</c:formatCode>
                <c:ptCount val="4"/>
                <c:pt idx="0">
                  <c:v>50.648925762512988</c:v>
                </c:pt>
                <c:pt idx="1">
                  <c:v>135.36854460813308</c:v>
                </c:pt>
                <c:pt idx="2">
                  <c:v>337.95121092804823</c:v>
                </c:pt>
                <c:pt idx="3">
                  <c:v>814.121502641361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8676961204842244</c:v>
                </c:pt>
                <c:pt idx="1">
                  <c:v>0.20880754932799542</c:v>
                </c:pt>
                <c:pt idx="2">
                  <c:v>4.422838623582118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61960784313725492</c:v>
                </c:pt>
                <c:pt idx="1">
                  <c:v>0.33333333333333337</c:v>
                </c:pt>
                <c:pt idx="2">
                  <c:v>4.70588235294117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78.753402984649156</c:v>
                </c:pt>
                <c:pt idx="1">
                  <c:v>159.63662923399983</c:v>
                </c:pt>
                <c:pt idx="2">
                  <c:v>1063.99594320486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2310184063937999</c:v>
                </c:pt>
                <c:pt idx="1">
                  <c:v>0.26895131993218696</c:v>
                </c:pt>
                <c:pt idx="2">
                  <c:v>7.946839428433034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5263157894736836</c:v>
                </c:pt>
                <c:pt idx="1">
                  <c:v>0.34962406015037595</c:v>
                </c:pt>
                <c:pt idx="2">
                  <c:v>9.774436090225563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76.425137911241009</c:v>
                </c:pt>
                <c:pt idx="1">
                  <c:v>129.99529440440364</c:v>
                </c:pt>
                <c:pt idx="2">
                  <c:v>1229.97780164697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Heidsieck &amp; Co Monopole</c:v>
                </c:pt>
                <c:pt idx="5">
                  <c:v>Laurent Perrier</c:v>
                </c:pt>
                <c:pt idx="6">
                  <c:v>De Bligny</c:v>
                </c:pt>
                <c:pt idx="7">
                  <c:v>Ayala</c:v>
                </c:pt>
                <c:pt idx="8">
                  <c:v>Nicolas Feuillatte</c:v>
                </c:pt>
                <c:pt idx="9">
                  <c:v>Others</c:v>
                </c:pt>
              </c:strCache>
            </c:strRef>
          </c:cat>
          <c:val>
            <c:numRef>
              <c:f>Sheet1!$B$2:$B$11</c:f>
              <c:numCache>
                <c:formatCode>General</c:formatCode>
                <c:ptCount val="10"/>
                <c:pt idx="0">
                  <c:v>0.19187053774737414</c:v>
                </c:pt>
                <c:pt idx="1">
                  <c:v>0.101035158273676</c:v>
                </c:pt>
                <c:pt idx="2">
                  <c:v>6.6934692982561828E-2</c:v>
                </c:pt>
                <c:pt idx="3">
                  <c:v>6.3910662178410585E-2</c:v>
                </c:pt>
                <c:pt idx="4">
                  <c:v>4.5562867311311324E-2</c:v>
                </c:pt>
                <c:pt idx="5">
                  <c:v>3.3978781183058679E-2</c:v>
                </c:pt>
                <c:pt idx="6">
                  <c:v>3.2308937878455651E-2</c:v>
                </c:pt>
                <c:pt idx="7">
                  <c:v>3.1431848465936885E-2</c:v>
                </c:pt>
                <c:pt idx="8">
                  <c:v>2.9552371153396675E-2</c:v>
                </c:pt>
                <c:pt idx="9">
                  <c:v>0.4034141428258182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Heidsieck &amp; Co Monopole</c:v>
                </c:pt>
                <c:pt idx="5">
                  <c:v>Laurent Perrier</c:v>
                </c:pt>
                <c:pt idx="6">
                  <c:v>De Bligny</c:v>
                </c:pt>
                <c:pt idx="7">
                  <c:v>Ayala</c:v>
                </c:pt>
                <c:pt idx="8">
                  <c:v>Nicolas Feuillatte</c:v>
                </c:pt>
                <c:pt idx="9">
                  <c:v>Others</c:v>
                </c:pt>
              </c:strCache>
            </c:strRef>
          </c:cat>
          <c:val>
            <c:numRef>
              <c:f>Sheet1!$C$2:$C$11</c:f>
              <c:numCache>
                <c:formatCode>General</c:formatCode>
                <c:ptCount val="10"/>
                <c:pt idx="0">
                  <c:v>8.0905205905205946E-2</c:v>
                </c:pt>
                <c:pt idx="1">
                  <c:v>8.7995337995338041E-2</c:v>
                </c:pt>
                <c:pt idx="2">
                  <c:v>4.001554001554003E-2</c:v>
                </c:pt>
                <c:pt idx="3">
                  <c:v>4.1083916083916108E-2</c:v>
                </c:pt>
                <c:pt idx="4">
                  <c:v>9.2268842268842313E-3</c:v>
                </c:pt>
                <c:pt idx="5">
                  <c:v>3.3119658119658134E-2</c:v>
                </c:pt>
                <c:pt idx="6">
                  <c:v>1.3403263403263409E-2</c:v>
                </c:pt>
                <c:pt idx="7">
                  <c:v>1.961926961926963E-2</c:v>
                </c:pt>
                <c:pt idx="8">
                  <c:v>2.709790209790211E-2</c:v>
                </c:pt>
                <c:pt idx="9">
                  <c:v>0.6475330225330228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Malard</c:v>
                </c:pt>
                <c:pt idx="3">
                  <c:v>Deutz</c:v>
                </c:pt>
                <c:pt idx="4">
                  <c:v>Heidsieck &amp; Co Monopole</c:v>
                </c:pt>
                <c:pt idx="5">
                  <c:v>Laurent Perrier</c:v>
                </c:pt>
                <c:pt idx="6">
                  <c:v>De Bligny</c:v>
                </c:pt>
                <c:pt idx="7">
                  <c:v>Ayala</c:v>
                </c:pt>
                <c:pt idx="8">
                  <c:v>Nicolas Feuillatte</c:v>
                </c:pt>
                <c:pt idx="9">
                  <c:v>Others</c:v>
                </c:pt>
              </c:strCache>
            </c:strRef>
          </c:cat>
          <c:val>
            <c:numRef>
              <c:f>Sheet1!$D$2:$D$11</c:f>
              <c:numCache>
                <c:formatCode>General</c:formatCode>
                <c:ptCount val="10"/>
                <c:pt idx="0">
                  <c:v>42.166560252064116</c:v>
                </c:pt>
                <c:pt idx="1">
                  <c:v>87.093779530669195</c:v>
                </c:pt>
                <c:pt idx="2">
                  <c:v>59.782958929781124</c:v>
                </c:pt>
                <c:pt idx="3">
                  <c:v>64.283352235074332</c:v>
                </c:pt>
                <c:pt idx="4">
                  <c:v>20.250885801020665</c:v>
                </c:pt>
                <c:pt idx="5">
                  <c:v>97.471589522967079</c:v>
                </c:pt>
                <c:pt idx="6">
                  <c:v>41.484692111160406</c:v>
                </c:pt>
                <c:pt idx="7">
                  <c:v>62.418440457077459</c:v>
                </c:pt>
                <c:pt idx="8">
                  <c:v>91.694510593568893</c:v>
                </c:pt>
                <c:pt idx="9">
                  <c:v>160.51321800401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8238261024817002</c:v>
                </c:pt>
                <c:pt idx="1">
                  <c:v>0.2069942867345117</c:v>
                </c:pt>
                <c:pt idx="2">
                  <c:v>1.06231030173183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2173913043478271</c:v>
                </c:pt>
                <c:pt idx="1">
                  <c:v>0.39464882943143814</c:v>
                </c:pt>
                <c:pt idx="2">
                  <c:v>8.361204013377926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66.685931358991752</c:v>
                </c:pt>
                <c:pt idx="1">
                  <c:v>190.65687061093132</c:v>
                </c:pt>
                <c:pt idx="2">
                  <c:v>787.077372755122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73923563536716907</c:v>
                </c:pt>
                <c:pt idx="1">
                  <c:v>0.24939509663877796</c:v>
                </c:pt>
                <c:pt idx="2">
                  <c:v>1.136926799405299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39473684210526322</c:v>
                </c:pt>
                <c:pt idx="1">
                  <c:v>0.41812865497076029</c:v>
                </c:pt>
                <c:pt idx="2">
                  <c:v>0.187134502923976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53.39797261115563</c:v>
                </c:pt>
                <c:pt idx="1">
                  <c:v>167.65712742796012</c:v>
                </c:pt>
                <c:pt idx="2">
                  <c:v>1645.967911231068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0.75409605654164324</c:v>
                </c:pt>
                <c:pt idx="1">
                  <c:v>0.20540518833828608</c:v>
                </c:pt>
                <c:pt idx="2">
                  <c:v>2.7347201028029879E-2</c:v>
                </c:pt>
                <c:pt idx="3">
                  <c:v>1.3151554092040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C$2:$C$5</c:f>
              <c:numCache>
                <c:formatCode>General</c:formatCode>
                <c:ptCount val="4"/>
                <c:pt idx="0">
                  <c:v>0.51644736842105254</c:v>
                </c:pt>
                <c:pt idx="1">
                  <c:v>0.33552631578947367</c:v>
                </c:pt>
                <c:pt idx="2">
                  <c:v>9.2105263157894746E-2</c:v>
                </c:pt>
                <c:pt idx="3">
                  <c:v>5.592105263157894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D$2:$D$5</c:f>
              <c:numCache>
                <c:formatCode>General</c:formatCode>
                <c:ptCount val="4"/>
                <c:pt idx="0">
                  <c:v>68.485621154091376</c:v>
                </c:pt>
                <c:pt idx="1">
                  <c:v>163.34851057261923</c:v>
                </c:pt>
                <c:pt idx="2">
                  <c:v>336.79959811422833</c:v>
                </c:pt>
                <c:pt idx="3">
                  <c:v>425.204901566894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82598832544886158</c:v>
                </c:pt>
                <c:pt idx="1">
                  <c:v>0.13868370819155115</c:v>
                </c:pt>
                <c:pt idx="2">
                  <c:v>3.034829999723352E-2</c:v>
                </c:pt>
                <c:pt idx="3">
                  <c:v>4.979666362353722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59071729957805907</c:v>
                </c:pt>
                <c:pt idx="1">
                  <c:v>0.27004219409282704</c:v>
                </c:pt>
                <c:pt idx="2">
                  <c:v>5.9071729957805921E-2</c:v>
                </c:pt>
                <c:pt idx="3">
                  <c:v>8.016877637130802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71.51642237280403</c:v>
                </c:pt>
                <c:pt idx="1">
                  <c:v>194.71803690152441</c:v>
                </c:pt>
                <c:pt idx="2">
                  <c:v>194.64592732769466</c:v>
                </c:pt>
                <c:pt idx="3">
                  <c:v>1609.92264416315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B$2:$B$4</c:f>
              <c:numCache>
                <c:formatCode>General</c:formatCode>
                <c:ptCount val="3"/>
                <c:pt idx="0">
                  <c:v>0.8077996650450594</c:v>
                </c:pt>
                <c:pt idx="1">
                  <c:v>0.18189249541430735</c:v>
                </c:pt>
                <c:pt idx="2">
                  <c:v>1.030783954063322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C$2:$C$4</c:f>
              <c:numCache>
                <c:formatCode>General</c:formatCode>
                <c:ptCount val="3"/>
                <c:pt idx="0">
                  <c:v>0.5</c:v>
                </c:pt>
                <c:pt idx="1">
                  <c:v>0.35714285714285715</c:v>
                </c:pt>
                <c:pt idx="2">
                  <c:v>0.142857142857142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Others</c:v>
                </c:pt>
              </c:strCache>
            </c:strRef>
          </c:cat>
          <c:val>
            <c:numRef>
              <c:f>Sheet1!$D$2:$D$4</c:f>
              <c:numCache>
                <c:formatCode>General</c:formatCode>
                <c:ptCount val="3"/>
                <c:pt idx="0">
                  <c:v>61.896534702339821</c:v>
                </c:pt>
                <c:pt idx="1">
                  <c:v>196.34831900533973</c:v>
                </c:pt>
                <c:pt idx="2">
                  <c:v>1385.90770931196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0.90729754497660731</c:v>
                </c:pt>
                <c:pt idx="1">
                  <c:v>6.5595909902088453E-2</c:v>
                </c:pt>
                <c:pt idx="2">
                  <c:v>1.4614382867891768E-2</c:v>
                </c:pt>
                <c:pt idx="3">
                  <c:v>1.249216225341243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C$2:$C$5</c:f>
              <c:numCache>
                <c:formatCode>General</c:formatCode>
                <c:ptCount val="4"/>
                <c:pt idx="0">
                  <c:v>0.51807228915662651</c:v>
                </c:pt>
                <c:pt idx="1">
                  <c:v>0.19678714859437749</c:v>
                </c:pt>
                <c:pt idx="2">
                  <c:v>0.18072289156626506</c:v>
                </c:pt>
                <c:pt idx="3">
                  <c:v>0.104417670682730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Piper Heidsieck</c:v>
                </c:pt>
              </c:strCache>
            </c:strRef>
          </c:cat>
          <c:val>
            <c:numRef>
              <c:f>Sheet1!$D$2:$D$5</c:f>
              <c:numCache>
                <c:formatCode>General</c:formatCode>
                <c:ptCount val="4"/>
                <c:pt idx="0">
                  <c:v>57.100594179386199</c:v>
                </c:pt>
                <c:pt idx="1">
                  <c:v>299.99911410347272</c:v>
                </c:pt>
                <c:pt idx="2">
                  <c:v>1236.6098055588691</c:v>
                </c:pt>
                <c:pt idx="3">
                  <c:v>835.8654696004092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Piper Heidsieck</c:v>
                </c:pt>
                <c:pt idx="3">
                  <c:v>Canard Duchêne</c:v>
                </c:pt>
              </c:strCache>
            </c:strRef>
          </c:cat>
          <c:val>
            <c:numRef>
              <c:f>Sheet1!$B$2:$B$5</c:f>
              <c:numCache>
                <c:formatCode>General</c:formatCode>
                <c:ptCount val="4"/>
                <c:pt idx="0">
                  <c:v>0.8954161103693814</c:v>
                </c:pt>
                <c:pt idx="1">
                  <c:v>6.4339754593426154E-2</c:v>
                </c:pt>
                <c:pt idx="2">
                  <c:v>2.3332697565007311E-2</c:v>
                </c:pt>
                <c:pt idx="3">
                  <c:v>1.691143747218513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Piper Heidsieck</c:v>
                </c:pt>
                <c:pt idx="3">
                  <c:v>Canard Duchêne</c:v>
                </c:pt>
              </c:strCache>
            </c:strRef>
          </c:cat>
          <c:val>
            <c:numRef>
              <c:f>Sheet1!$C$2:$C$5</c:f>
              <c:numCache>
                <c:formatCode>General</c:formatCode>
                <c:ptCount val="4"/>
                <c:pt idx="0">
                  <c:v>0.54137931034482745</c:v>
                </c:pt>
                <c:pt idx="1">
                  <c:v>0.27931034482758621</c:v>
                </c:pt>
                <c:pt idx="2">
                  <c:v>0.14137931034482756</c:v>
                </c:pt>
                <c:pt idx="3">
                  <c:v>3.793103448275861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Piper Heidsieck</c:v>
                </c:pt>
                <c:pt idx="3">
                  <c:v>Canard Duchêne</c:v>
                </c:pt>
              </c:strCache>
            </c:strRef>
          </c:cat>
          <c:val>
            <c:numRef>
              <c:f>Sheet1!$D$2:$D$5</c:f>
              <c:numCache>
                <c:formatCode>General</c:formatCode>
                <c:ptCount val="4"/>
                <c:pt idx="0">
                  <c:v>60.4611983272777</c:v>
                </c:pt>
                <c:pt idx="1">
                  <c:v>434.11782744991143</c:v>
                </c:pt>
                <c:pt idx="2">
                  <c:v>605.92783989476641</c:v>
                </c:pt>
                <c:pt idx="3">
                  <c:v>224.292196007259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0.64654826006590049</c:v>
                </c:pt>
                <c:pt idx="1">
                  <c:v>0.31712609499316885</c:v>
                </c:pt>
                <c:pt idx="2">
                  <c:v>3.632564494093064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C$2:$C$4</c:f>
              <c:numCache>
                <c:formatCode>General</c:formatCode>
                <c:ptCount val="3"/>
                <c:pt idx="0">
                  <c:v>0.54607508532423221</c:v>
                </c:pt>
                <c:pt idx="1">
                  <c:v>0.33105802047781574</c:v>
                </c:pt>
                <c:pt idx="2">
                  <c:v>0.1228668941979522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icolas Feuillatte</c:v>
                </c:pt>
                <c:pt idx="1">
                  <c:v>Moët &amp; Chandon</c:v>
                </c:pt>
                <c:pt idx="2">
                  <c:v>Canard Duchêne</c:v>
                </c:pt>
              </c:strCache>
            </c:strRef>
          </c:cat>
          <c:val>
            <c:numRef>
              <c:f>Sheet1!$D$2:$D$4</c:f>
              <c:numCache>
                <c:formatCode>General</c:formatCode>
                <c:ptCount val="3"/>
                <c:pt idx="0">
                  <c:v>84.460065713976647</c:v>
                </c:pt>
                <c:pt idx="1">
                  <c:v>104.39318167271823</c:v>
                </c:pt>
                <c:pt idx="2">
                  <c:v>338.2373372798937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B$2:$B$5</c:f>
              <c:numCache>
                <c:formatCode>General</c:formatCode>
                <c:ptCount val="4"/>
                <c:pt idx="0">
                  <c:v>0.78394362652573302</c:v>
                </c:pt>
                <c:pt idx="1">
                  <c:v>0.18786963634075751</c:v>
                </c:pt>
                <c:pt idx="2">
                  <c:v>2.3782559456398639E-2</c:v>
                </c:pt>
                <c:pt idx="3">
                  <c:v>4.404177677110859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C$2:$C$5</c:f>
              <c:numCache>
                <c:formatCode>General</c:formatCode>
                <c:ptCount val="4"/>
                <c:pt idx="0">
                  <c:v>0.46285714285714286</c:v>
                </c:pt>
                <c:pt idx="1">
                  <c:v>0.21999999999999997</c:v>
                </c:pt>
                <c:pt idx="2">
                  <c:v>0.24285714285714283</c:v>
                </c:pt>
                <c:pt idx="3">
                  <c:v>7.428571428571427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colas Feuillatte</c:v>
                </c:pt>
                <c:pt idx="1">
                  <c:v>Moët &amp; Chandon</c:v>
                </c:pt>
                <c:pt idx="2">
                  <c:v>Canard Duchêne</c:v>
                </c:pt>
                <c:pt idx="3">
                  <c:v>Others</c:v>
                </c:pt>
              </c:strCache>
            </c:strRef>
          </c:cat>
          <c:val>
            <c:numRef>
              <c:f>Sheet1!$D$2:$D$5</c:f>
              <c:numCache>
                <c:formatCode>General</c:formatCode>
                <c:ptCount val="4"/>
                <c:pt idx="0">
                  <c:v>59.042146296720929</c:v>
                </c:pt>
                <c:pt idx="1">
                  <c:v>117.10247823174815</c:v>
                </c:pt>
                <c:pt idx="2">
                  <c:v>1021.156462585034</c:v>
                </c:pt>
                <c:pt idx="3">
                  <c:v>1686.71020408163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Perrier Jouet</c:v>
                </c:pt>
                <c:pt idx="5">
                  <c:v>Bollinger</c:v>
                </c:pt>
                <c:pt idx="6">
                  <c:v>Laurent Perrier</c:v>
                </c:pt>
                <c:pt idx="7">
                  <c:v>Others</c:v>
                </c:pt>
              </c:strCache>
            </c:strRef>
          </c:cat>
          <c:val>
            <c:numRef>
              <c:f>Sheet1!$B$2:$B$9</c:f>
              <c:numCache>
                <c:formatCode>General</c:formatCode>
                <c:ptCount val="8"/>
                <c:pt idx="0">
                  <c:v>0.54883518030980227</c:v>
                </c:pt>
                <c:pt idx="1">
                  <c:v>0.25461489009979793</c:v>
                </c:pt>
                <c:pt idx="2">
                  <c:v>6.3996204004163351E-2</c:v>
                </c:pt>
                <c:pt idx="3">
                  <c:v>4.6110634910916548E-2</c:v>
                </c:pt>
                <c:pt idx="4">
                  <c:v>2.4696932590461029E-2</c:v>
                </c:pt>
                <c:pt idx="5">
                  <c:v>2.0036123186187475E-2</c:v>
                </c:pt>
                <c:pt idx="6">
                  <c:v>1.4219677952611278E-2</c:v>
                </c:pt>
                <c:pt idx="7">
                  <c:v>2.749035694606012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Perrier Jouet</c:v>
                </c:pt>
                <c:pt idx="5">
                  <c:v>Bollinger</c:v>
                </c:pt>
                <c:pt idx="6">
                  <c:v>Laurent Perrier</c:v>
                </c:pt>
                <c:pt idx="7">
                  <c:v>Others</c:v>
                </c:pt>
              </c:strCache>
            </c:strRef>
          </c:cat>
          <c:val>
            <c:numRef>
              <c:f>Sheet1!$C$2:$C$9</c:f>
              <c:numCache>
                <c:formatCode>General</c:formatCode>
                <c:ptCount val="8"/>
                <c:pt idx="0">
                  <c:v>0.21630434782608696</c:v>
                </c:pt>
                <c:pt idx="1">
                  <c:v>0.29565217391304349</c:v>
                </c:pt>
                <c:pt idx="2">
                  <c:v>6.41304347826087E-2</c:v>
                </c:pt>
                <c:pt idx="3">
                  <c:v>5.1086956521739134E-2</c:v>
                </c:pt>
                <c:pt idx="4">
                  <c:v>4.6739130434782609E-2</c:v>
                </c:pt>
                <c:pt idx="5">
                  <c:v>0.11847826086956524</c:v>
                </c:pt>
                <c:pt idx="6">
                  <c:v>3.6956521739130443E-2</c:v>
                </c:pt>
                <c:pt idx="7">
                  <c:v>0.170652173913043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Perrier Jouet</c:v>
                </c:pt>
                <c:pt idx="5">
                  <c:v>Bollinger</c:v>
                </c:pt>
                <c:pt idx="6">
                  <c:v>Laurent Perrier</c:v>
                </c:pt>
                <c:pt idx="7">
                  <c:v>Others</c:v>
                </c:pt>
              </c:strCache>
            </c:strRef>
          </c:cat>
          <c:val>
            <c:numRef>
              <c:f>Sheet1!$D$2:$D$9</c:f>
              <c:numCache>
                <c:formatCode>General</c:formatCode>
                <c:ptCount val="8"/>
                <c:pt idx="0">
                  <c:v>39.411531109210081</c:v>
                </c:pt>
                <c:pt idx="1">
                  <c:v>116.11739352602699</c:v>
                </c:pt>
                <c:pt idx="2">
                  <c:v>100.20974803198737</c:v>
                </c:pt>
                <c:pt idx="3">
                  <c:v>110.79213422334477</c:v>
                </c:pt>
                <c:pt idx="4">
                  <c:v>189.25075113512349</c:v>
                </c:pt>
                <c:pt idx="5">
                  <c:v>591.32328030026247</c:v>
                </c:pt>
                <c:pt idx="6">
                  <c:v>259.89703748771478</c:v>
                </c:pt>
                <c:pt idx="7">
                  <c:v>620.771037087247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Malard</c:v>
                </c:pt>
                <c:pt idx="5">
                  <c:v>Besserat De Bellefon</c:v>
                </c:pt>
                <c:pt idx="6">
                  <c:v>De Bligny</c:v>
                </c:pt>
                <c:pt idx="7">
                  <c:v>Roederer</c:v>
                </c:pt>
                <c:pt idx="8">
                  <c:v>Laurent Perrier</c:v>
                </c:pt>
                <c:pt idx="9">
                  <c:v>Others</c:v>
                </c:pt>
              </c:strCache>
            </c:strRef>
          </c:cat>
          <c:val>
            <c:numRef>
              <c:f>Sheet1!$B$2:$B$11</c:f>
              <c:numCache>
                <c:formatCode>General</c:formatCode>
                <c:ptCount val="10"/>
                <c:pt idx="0">
                  <c:v>0.18449422912151606</c:v>
                </c:pt>
                <c:pt idx="1">
                  <c:v>7.0078373065873695E-2</c:v>
                </c:pt>
                <c:pt idx="2">
                  <c:v>6.7019051459099838E-2</c:v>
                </c:pt>
                <c:pt idx="3">
                  <c:v>5.2612015523411118E-2</c:v>
                </c:pt>
                <c:pt idx="4">
                  <c:v>5.1207096416511264E-2</c:v>
                </c:pt>
                <c:pt idx="5">
                  <c:v>4.2589839221813419E-2</c:v>
                </c:pt>
                <c:pt idx="6">
                  <c:v>3.9129832165717457E-2</c:v>
                </c:pt>
                <c:pt idx="7">
                  <c:v>3.8179779244997734E-2</c:v>
                </c:pt>
                <c:pt idx="8">
                  <c:v>3.4240965677133209E-2</c:v>
                </c:pt>
                <c:pt idx="9">
                  <c:v>0.420448818103926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Malard</c:v>
                </c:pt>
                <c:pt idx="5">
                  <c:v>Besserat De Bellefon</c:v>
                </c:pt>
                <c:pt idx="6">
                  <c:v>De Bligny</c:v>
                </c:pt>
                <c:pt idx="7">
                  <c:v>Roederer</c:v>
                </c:pt>
                <c:pt idx="8">
                  <c:v>Laurent Perrier</c:v>
                </c:pt>
                <c:pt idx="9">
                  <c:v>Others</c:v>
                </c:pt>
              </c:strCache>
            </c:strRef>
          </c:cat>
          <c:val>
            <c:numRef>
              <c:f>Sheet1!$C$2:$C$11</c:f>
              <c:numCache>
                <c:formatCode>General</c:formatCode>
                <c:ptCount val="10"/>
                <c:pt idx="0">
                  <c:v>8.1801299907149502E-2</c:v>
                </c:pt>
                <c:pt idx="1">
                  <c:v>8.0037140204271162E-2</c:v>
                </c:pt>
                <c:pt idx="2">
                  <c:v>4.0668523676880237E-2</c:v>
                </c:pt>
                <c:pt idx="3">
                  <c:v>9.2850510677808754E-3</c:v>
                </c:pt>
                <c:pt idx="4">
                  <c:v>3.7325905292479124E-2</c:v>
                </c:pt>
                <c:pt idx="5">
                  <c:v>3.0826369545032511E-2</c:v>
                </c:pt>
                <c:pt idx="6">
                  <c:v>1.8755803156917369E-2</c:v>
                </c:pt>
                <c:pt idx="7">
                  <c:v>5.4317548746518132E-2</c:v>
                </c:pt>
                <c:pt idx="8">
                  <c:v>3.8532961931290632E-2</c:v>
                </c:pt>
                <c:pt idx="9">
                  <c:v>0.6084493964716807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uinart</c:v>
                </c:pt>
                <c:pt idx="1">
                  <c:v>Nicolas</c:v>
                </c:pt>
                <c:pt idx="2">
                  <c:v>Deutz</c:v>
                </c:pt>
                <c:pt idx="3">
                  <c:v>Heidsieck &amp; Co Monopole</c:v>
                </c:pt>
                <c:pt idx="4">
                  <c:v>Malard</c:v>
                </c:pt>
                <c:pt idx="5">
                  <c:v>Besserat De Bellefon</c:v>
                </c:pt>
                <c:pt idx="6">
                  <c:v>De Bligny</c:v>
                </c:pt>
                <c:pt idx="7">
                  <c:v>Roederer</c:v>
                </c:pt>
                <c:pt idx="8">
                  <c:v>Laurent Perrier</c:v>
                </c:pt>
                <c:pt idx="9">
                  <c:v>Others</c:v>
                </c:pt>
              </c:strCache>
            </c:strRef>
          </c:cat>
          <c:val>
            <c:numRef>
              <c:f>Sheet1!$D$2:$D$11</c:f>
              <c:numCache>
                <c:formatCode>General</c:formatCode>
                <c:ptCount val="10"/>
                <c:pt idx="0">
                  <c:v>44.338134746356509</c:v>
                </c:pt>
                <c:pt idx="1">
                  <c:v>114.21089945829111</c:v>
                </c:pt>
                <c:pt idx="2">
                  <c:v>60.682034125325224</c:v>
                </c:pt>
                <c:pt idx="3">
                  <c:v>17.648156937932256</c:v>
                </c:pt>
                <c:pt idx="4">
                  <c:v>72.892055798039195</c:v>
                </c:pt>
                <c:pt idx="5">
                  <c:v>72.379633518888795</c:v>
                </c:pt>
                <c:pt idx="6">
                  <c:v>47.932235123026565</c:v>
                </c:pt>
                <c:pt idx="7">
                  <c:v>142.26784392325879</c:v>
                </c:pt>
                <c:pt idx="8">
                  <c:v>112.53468227101931</c:v>
                </c:pt>
                <c:pt idx="9">
                  <c:v>144.714260160266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iper Heidsieck</c:v>
                </c:pt>
                <c:pt idx="5">
                  <c:v>Bollinger</c:v>
                </c:pt>
                <c:pt idx="6">
                  <c:v>Perrier Jouet</c:v>
                </c:pt>
                <c:pt idx="7">
                  <c:v>Laurent Perrier</c:v>
                </c:pt>
                <c:pt idx="8">
                  <c:v>Others</c:v>
                </c:pt>
              </c:strCache>
            </c:strRef>
          </c:cat>
          <c:val>
            <c:numRef>
              <c:f>Sheet1!$B$2:$B$10</c:f>
              <c:numCache>
                <c:formatCode>General</c:formatCode>
                <c:ptCount val="9"/>
                <c:pt idx="0">
                  <c:v>0.53822852427690437</c:v>
                </c:pt>
                <c:pt idx="1">
                  <c:v>0.22679796751498307</c:v>
                </c:pt>
                <c:pt idx="2">
                  <c:v>7.3047858942065488E-2</c:v>
                </c:pt>
                <c:pt idx="3">
                  <c:v>4.3320594111004952E-2</c:v>
                </c:pt>
                <c:pt idx="4">
                  <c:v>2.9368974203074785E-2</c:v>
                </c:pt>
                <c:pt idx="5">
                  <c:v>2.8196386693303221E-2</c:v>
                </c:pt>
                <c:pt idx="6">
                  <c:v>2.1041431425345262E-2</c:v>
                </c:pt>
                <c:pt idx="7">
                  <c:v>1.9065404325545036E-2</c:v>
                </c:pt>
                <c:pt idx="8">
                  <c:v>2.093285850777382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iper Heidsieck</c:v>
                </c:pt>
                <c:pt idx="5">
                  <c:v>Bollinger</c:v>
                </c:pt>
                <c:pt idx="6">
                  <c:v>Perrier Jouet</c:v>
                </c:pt>
                <c:pt idx="7">
                  <c:v>Laurent Perrier</c:v>
                </c:pt>
                <c:pt idx="8">
                  <c:v>Others</c:v>
                </c:pt>
              </c:strCache>
            </c:strRef>
          </c:cat>
          <c:val>
            <c:numRef>
              <c:f>Sheet1!$C$2:$C$10</c:f>
              <c:numCache>
                <c:formatCode>General</c:formatCode>
                <c:ptCount val="9"/>
                <c:pt idx="0">
                  <c:v>0.23131672597864761</c:v>
                </c:pt>
                <c:pt idx="1">
                  <c:v>0.27580071174377219</c:v>
                </c:pt>
                <c:pt idx="2">
                  <c:v>0.10854092526690391</c:v>
                </c:pt>
                <c:pt idx="3">
                  <c:v>6.9395017793594291E-2</c:v>
                </c:pt>
                <c:pt idx="4">
                  <c:v>3.91459074733096E-2</c:v>
                </c:pt>
                <c:pt idx="5">
                  <c:v>4.2704626334519567E-2</c:v>
                </c:pt>
                <c:pt idx="6">
                  <c:v>5.8718861209964397E-2</c:v>
                </c:pt>
                <c:pt idx="7">
                  <c:v>7.8291814946619201E-2</c:v>
                </c:pt>
                <c:pt idx="8">
                  <c:v>9.608540925266902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Piper Heidsieck</c:v>
                </c:pt>
                <c:pt idx="5">
                  <c:v>Bollinger</c:v>
                </c:pt>
                <c:pt idx="6">
                  <c:v>Perrier Jouet</c:v>
                </c:pt>
                <c:pt idx="7">
                  <c:v>Laurent Perrier</c:v>
                </c:pt>
                <c:pt idx="8">
                  <c:v>Others</c:v>
                </c:pt>
              </c:strCache>
            </c:strRef>
          </c:cat>
          <c:val>
            <c:numRef>
              <c:f>Sheet1!$D$2:$D$10</c:f>
              <c:numCache>
                <c:formatCode>General</c:formatCode>
                <c:ptCount val="9"/>
                <c:pt idx="0">
                  <c:v>42.977418614038612</c:v>
                </c:pt>
                <c:pt idx="1">
                  <c:v>121.60634187586</c:v>
                </c:pt>
                <c:pt idx="2">
                  <c:v>148.58878389986501</c:v>
                </c:pt>
                <c:pt idx="3">
                  <c:v>160.18944157546889</c:v>
                </c:pt>
                <c:pt idx="4">
                  <c:v>133.29000598601505</c:v>
                </c:pt>
                <c:pt idx="5">
                  <c:v>151.45425120964924</c:v>
                </c:pt>
                <c:pt idx="6">
                  <c:v>279.0630543283055</c:v>
                </c:pt>
                <c:pt idx="7">
                  <c:v>410.64859475190286</c:v>
                </c:pt>
                <c:pt idx="8">
                  <c:v>459.0171438697005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Bollinger</c:v>
                </c:pt>
                <c:pt idx="6">
                  <c:v>Piper Heidsieck</c:v>
                </c:pt>
                <c:pt idx="7">
                  <c:v>Pommery</c:v>
                </c:pt>
                <c:pt idx="8">
                  <c:v>Others</c:v>
                </c:pt>
              </c:strCache>
            </c:strRef>
          </c:cat>
          <c:val>
            <c:numRef>
              <c:f>Sheet1!$B$2:$B$10</c:f>
              <c:numCache>
                <c:formatCode>General</c:formatCode>
                <c:ptCount val="9"/>
                <c:pt idx="0">
                  <c:v>0.41242461578367162</c:v>
                </c:pt>
                <c:pt idx="1">
                  <c:v>0.22285627823530682</c:v>
                </c:pt>
                <c:pt idx="2">
                  <c:v>0.14488900417180037</c:v>
                </c:pt>
                <c:pt idx="3">
                  <c:v>9.0871754966171669E-2</c:v>
                </c:pt>
                <c:pt idx="4">
                  <c:v>5.5379028597367229E-2</c:v>
                </c:pt>
                <c:pt idx="5">
                  <c:v>2.299894083825087E-2</c:v>
                </c:pt>
                <c:pt idx="6">
                  <c:v>1.5887426236949616E-2</c:v>
                </c:pt>
                <c:pt idx="7">
                  <c:v>1.219116788794501E-2</c:v>
                </c:pt>
                <c:pt idx="8">
                  <c:v>2.2501783282536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Bollinger</c:v>
                </c:pt>
                <c:pt idx="6">
                  <c:v>Piper Heidsieck</c:v>
                </c:pt>
                <c:pt idx="7">
                  <c:v>Pommery</c:v>
                </c:pt>
                <c:pt idx="8">
                  <c:v>Others</c:v>
                </c:pt>
              </c:strCache>
            </c:strRef>
          </c:cat>
          <c:val>
            <c:numRef>
              <c:f>Sheet1!$C$2:$C$10</c:f>
              <c:numCache>
                <c:formatCode>General</c:formatCode>
                <c:ptCount val="9"/>
                <c:pt idx="0">
                  <c:v>0.17781690140845069</c:v>
                </c:pt>
                <c:pt idx="1">
                  <c:v>0.25528169014084506</c:v>
                </c:pt>
                <c:pt idx="2">
                  <c:v>0.20598591549295772</c:v>
                </c:pt>
                <c:pt idx="3">
                  <c:v>0.10563380281690141</c:v>
                </c:pt>
                <c:pt idx="4">
                  <c:v>4.0492957746478868E-2</c:v>
                </c:pt>
                <c:pt idx="5">
                  <c:v>5.6338028169014079E-2</c:v>
                </c:pt>
                <c:pt idx="6">
                  <c:v>3.1690140845070415E-2</c:v>
                </c:pt>
                <c:pt idx="7">
                  <c:v>4.2253521126760563E-2</c:v>
                </c:pt>
                <c:pt idx="8">
                  <c:v>8.4507042253521125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Bollinger</c:v>
                </c:pt>
                <c:pt idx="6">
                  <c:v>Piper Heidsieck</c:v>
                </c:pt>
                <c:pt idx="7">
                  <c:v>Pommery</c:v>
                </c:pt>
                <c:pt idx="8">
                  <c:v>Others</c:v>
                </c:pt>
              </c:strCache>
            </c:strRef>
          </c:cat>
          <c:val>
            <c:numRef>
              <c:f>Sheet1!$D$2:$D$10</c:f>
              <c:numCache>
                <c:formatCode>General</c:formatCode>
                <c:ptCount val="9"/>
                <c:pt idx="0">
                  <c:v>43.115006865089903</c:v>
                </c:pt>
                <c:pt idx="1">
                  <c:v>114.54992076610975</c:v>
                </c:pt>
                <c:pt idx="2">
                  <c:v>142.16808009026857</c:v>
                </c:pt>
                <c:pt idx="3">
                  <c:v>116.244924351054</c:v>
                </c:pt>
                <c:pt idx="4">
                  <c:v>73.119660586469621</c:v>
                </c:pt>
                <c:pt idx="5">
                  <c:v>244.95922905856187</c:v>
                </c:pt>
                <c:pt idx="6">
                  <c:v>199.46680080482889</c:v>
                </c:pt>
                <c:pt idx="7">
                  <c:v>346.59124962541205</c:v>
                </c:pt>
                <c:pt idx="8">
                  <c:v>375.557088931282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Perrier Jouet</c:v>
                </c:pt>
                <c:pt idx="5">
                  <c:v>Veuve Clicquot</c:v>
                </c:pt>
                <c:pt idx="6">
                  <c:v>Laurent Perrier</c:v>
                </c:pt>
                <c:pt idx="7">
                  <c:v>Others</c:v>
                </c:pt>
              </c:strCache>
            </c:strRef>
          </c:cat>
          <c:val>
            <c:numRef>
              <c:f>Sheet1!$B$2:$B$9</c:f>
              <c:numCache>
                <c:formatCode>General</c:formatCode>
                <c:ptCount val="8"/>
                <c:pt idx="0">
                  <c:v>0.55571650108212201</c:v>
                </c:pt>
                <c:pt idx="1">
                  <c:v>0.23643087200286295</c:v>
                </c:pt>
                <c:pt idx="2">
                  <c:v>7.3430923126736075E-2</c:v>
                </c:pt>
                <c:pt idx="3">
                  <c:v>4.4494810926875822E-2</c:v>
                </c:pt>
                <c:pt idx="4">
                  <c:v>2.4624665564663178E-2</c:v>
                </c:pt>
                <c:pt idx="5">
                  <c:v>2.0279136347369678E-2</c:v>
                </c:pt>
                <c:pt idx="6">
                  <c:v>1.4945212249280006E-2</c:v>
                </c:pt>
                <c:pt idx="7">
                  <c:v>3.007787870009031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Perrier Jouet</c:v>
                </c:pt>
                <c:pt idx="5">
                  <c:v>Veuve Clicquot</c:v>
                </c:pt>
                <c:pt idx="6">
                  <c:v>Laurent Perrier</c:v>
                </c:pt>
                <c:pt idx="7">
                  <c:v>Others</c:v>
                </c:pt>
              </c:strCache>
            </c:strRef>
          </c:cat>
          <c:val>
            <c:numRef>
              <c:f>Sheet1!$C$2:$C$9</c:f>
              <c:numCache>
                <c:formatCode>General</c:formatCode>
                <c:ptCount val="8"/>
                <c:pt idx="0">
                  <c:v>0.24999999999999994</c:v>
                </c:pt>
                <c:pt idx="1">
                  <c:v>0.2863070539419087</c:v>
                </c:pt>
                <c:pt idx="2">
                  <c:v>0.13692946058091285</c:v>
                </c:pt>
                <c:pt idx="3">
                  <c:v>7.6763485477178414E-2</c:v>
                </c:pt>
                <c:pt idx="4">
                  <c:v>7.2614107883817419E-2</c:v>
                </c:pt>
                <c:pt idx="5">
                  <c:v>1.4522821576763486E-2</c:v>
                </c:pt>
                <c:pt idx="6">
                  <c:v>4.2531120331950202E-2</c:v>
                </c:pt>
                <c:pt idx="7">
                  <c:v>0.120331950207468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Perrier Jouet</c:v>
                </c:pt>
                <c:pt idx="5">
                  <c:v>Veuve Clicquot</c:v>
                </c:pt>
                <c:pt idx="6">
                  <c:v>Laurent Perrier</c:v>
                </c:pt>
                <c:pt idx="7">
                  <c:v>Others</c:v>
                </c:pt>
              </c:strCache>
            </c:strRef>
          </c:cat>
          <c:val>
            <c:numRef>
              <c:f>Sheet1!$D$2:$D$9</c:f>
              <c:numCache>
                <c:formatCode>General</c:formatCode>
                <c:ptCount val="8"/>
                <c:pt idx="0">
                  <c:v>44.98696718797914</c:v>
                </c:pt>
                <c:pt idx="1">
                  <c:v>121.09546080701415</c:v>
                </c:pt>
                <c:pt idx="2">
                  <c:v>186.47383792872006</c:v>
                </c:pt>
                <c:pt idx="3">
                  <c:v>172.52233210594815</c:v>
                </c:pt>
                <c:pt idx="4">
                  <c:v>294.8836307771827</c:v>
                </c:pt>
                <c:pt idx="5">
                  <c:v>71.614596045887239</c:v>
                </c:pt>
                <c:pt idx="6">
                  <c:v>284.58023628268757</c:v>
                </c:pt>
                <c:pt idx="7">
                  <c:v>400.067941650112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Bollinger</c:v>
                </c:pt>
                <c:pt idx="5">
                  <c:v>Laurent Perrier</c:v>
                </c:pt>
                <c:pt idx="6">
                  <c:v>Perrier Jouet</c:v>
                </c:pt>
                <c:pt idx="7">
                  <c:v>Others</c:v>
                </c:pt>
              </c:strCache>
            </c:strRef>
          </c:cat>
          <c:val>
            <c:numRef>
              <c:f>Sheet1!$B$2:$B$9</c:f>
              <c:numCache>
                <c:formatCode>General</c:formatCode>
                <c:ptCount val="8"/>
                <c:pt idx="0">
                  <c:v>0.4816634338233961</c:v>
                </c:pt>
                <c:pt idx="1">
                  <c:v>0.21626815075322225</c:v>
                </c:pt>
                <c:pt idx="2">
                  <c:v>0.15809509997643348</c:v>
                </c:pt>
                <c:pt idx="3">
                  <c:v>6.7889708681543787E-2</c:v>
                </c:pt>
                <c:pt idx="4">
                  <c:v>1.560828816416801E-2</c:v>
                </c:pt>
                <c:pt idx="5">
                  <c:v>1.5318238674473832E-2</c:v>
                </c:pt>
                <c:pt idx="6">
                  <c:v>1.285281801207331E-2</c:v>
                </c:pt>
                <c:pt idx="7">
                  <c:v>3.230426191468919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Bollinger</c:v>
                </c:pt>
                <c:pt idx="5">
                  <c:v>Laurent Perrier</c:v>
                </c:pt>
                <c:pt idx="6">
                  <c:v>Perrier Jouet</c:v>
                </c:pt>
                <c:pt idx="7">
                  <c:v>Others</c:v>
                </c:pt>
              </c:strCache>
            </c:strRef>
          </c:cat>
          <c:val>
            <c:numRef>
              <c:f>Sheet1!$C$2:$C$9</c:f>
              <c:numCache>
                <c:formatCode>General</c:formatCode>
                <c:ptCount val="8"/>
                <c:pt idx="0">
                  <c:v>0.18604651162790695</c:v>
                </c:pt>
                <c:pt idx="1">
                  <c:v>0.35077519379844957</c:v>
                </c:pt>
                <c:pt idx="2">
                  <c:v>0.16666666666666666</c:v>
                </c:pt>
                <c:pt idx="3">
                  <c:v>7.364341085271317E-2</c:v>
                </c:pt>
                <c:pt idx="4">
                  <c:v>3.4883720930232551E-2</c:v>
                </c:pt>
                <c:pt idx="5">
                  <c:v>4.2635658914728675E-2</c:v>
                </c:pt>
                <c:pt idx="6">
                  <c:v>4.2635658914728682E-2</c:v>
                </c:pt>
                <c:pt idx="7">
                  <c:v>0.102713178294573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oederer</c:v>
                </c:pt>
                <c:pt idx="2">
                  <c:v>Ruinart</c:v>
                </c:pt>
                <c:pt idx="3">
                  <c:v>Malard</c:v>
                </c:pt>
                <c:pt idx="4">
                  <c:v>Bollinger</c:v>
                </c:pt>
                <c:pt idx="5">
                  <c:v>Laurent Perrier</c:v>
                </c:pt>
                <c:pt idx="6">
                  <c:v>Perrier Jouet</c:v>
                </c:pt>
                <c:pt idx="7">
                  <c:v>Others</c:v>
                </c:pt>
              </c:strCache>
            </c:strRef>
          </c:cat>
          <c:val>
            <c:numRef>
              <c:f>Sheet1!$D$2:$D$9</c:f>
              <c:numCache>
                <c:formatCode>General</c:formatCode>
                <c:ptCount val="8"/>
                <c:pt idx="0">
                  <c:v>38.625832596651229</c:v>
                </c:pt>
                <c:pt idx="1">
                  <c:v>162.19456844512888</c:v>
                </c:pt>
                <c:pt idx="2">
                  <c:v>105.42177884799145</c:v>
                </c:pt>
                <c:pt idx="3">
                  <c:v>108.47507270676147</c:v>
                </c:pt>
                <c:pt idx="4">
                  <c:v>223.49485454987436</c:v>
                </c:pt>
                <c:pt idx="5">
                  <c:v>278.33264529150034</c:v>
                </c:pt>
                <c:pt idx="6">
                  <c:v>331.7222641344398</c:v>
                </c:pt>
                <c:pt idx="7">
                  <c:v>317.9555024839262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uinart</c:v>
                </c:pt>
                <c:pt idx="2">
                  <c:v>Roederer</c:v>
                </c:pt>
                <c:pt idx="3">
                  <c:v>Malard</c:v>
                </c:pt>
                <c:pt idx="4">
                  <c:v>Laurent Perrier</c:v>
                </c:pt>
                <c:pt idx="5">
                  <c:v>Bollinger</c:v>
                </c:pt>
                <c:pt idx="6">
                  <c:v>Pommery</c:v>
                </c:pt>
                <c:pt idx="7">
                  <c:v>Others</c:v>
                </c:pt>
              </c:strCache>
            </c:strRef>
          </c:cat>
          <c:val>
            <c:numRef>
              <c:f>Sheet1!$B$2:$B$9</c:f>
              <c:numCache>
                <c:formatCode>General</c:formatCode>
                <c:ptCount val="8"/>
                <c:pt idx="0">
                  <c:v>0.38276901414648096</c:v>
                </c:pt>
                <c:pt idx="1">
                  <c:v>0.19829274195322641</c:v>
                </c:pt>
                <c:pt idx="2">
                  <c:v>0.1829582205794997</c:v>
                </c:pt>
                <c:pt idx="3">
                  <c:v>0.10936571843442677</c:v>
                </c:pt>
                <c:pt idx="4">
                  <c:v>5.4913867071480431E-2</c:v>
                </c:pt>
                <c:pt idx="5">
                  <c:v>2.6092887158163377E-2</c:v>
                </c:pt>
                <c:pt idx="6">
                  <c:v>1.3904472752073571E-2</c:v>
                </c:pt>
                <c:pt idx="7">
                  <c:v>3.170307790464876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uinart</c:v>
                </c:pt>
                <c:pt idx="2">
                  <c:v>Roederer</c:v>
                </c:pt>
                <c:pt idx="3">
                  <c:v>Malard</c:v>
                </c:pt>
                <c:pt idx="4">
                  <c:v>Laurent Perrier</c:v>
                </c:pt>
                <c:pt idx="5">
                  <c:v>Bollinger</c:v>
                </c:pt>
                <c:pt idx="6">
                  <c:v>Pommery</c:v>
                </c:pt>
                <c:pt idx="7">
                  <c:v>Others</c:v>
                </c:pt>
              </c:strCache>
            </c:strRef>
          </c:cat>
          <c:val>
            <c:numRef>
              <c:f>Sheet1!$C$2:$C$9</c:f>
              <c:numCache>
                <c:formatCode>General</c:formatCode>
                <c:ptCount val="8"/>
                <c:pt idx="0">
                  <c:v>0.16559139784946236</c:v>
                </c:pt>
                <c:pt idx="1">
                  <c:v>0.1139784946236559</c:v>
                </c:pt>
                <c:pt idx="2">
                  <c:v>0.24086021505376345</c:v>
                </c:pt>
                <c:pt idx="3">
                  <c:v>0.16344086021505375</c:v>
                </c:pt>
                <c:pt idx="4">
                  <c:v>7.7419354838709681E-2</c:v>
                </c:pt>
                <c:pt idx="5">
                  <c:v>6.6666666666666666E-2</c:v>
                </c:pt>
                <c:pt idx="6">
                  <c:v>2.7956989247311825E-2</c:v>
                </c:pt>
                <c:pt idx="7">
                  <c:v>0.144086021505376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m Perignon</c:v>
                </c:pt>
                <c:pt idx="1">
                  <c:v>Ruinart</c:v>
                </c:pt>
                <c:pt idx="2">
                  <c:v>Roederer</c:v>
                </c:pt>
                <c:pt idx="3">
                  <c:v>Malard</c:v>
                </c:pt>
                <c:pt idx="4">
                  <c:v>Laurent Perrier</c:v>
                </c:pt>
                <c:pt idx="5">
                  <c:v>Bollinger</c:v>
                </c:pt>
                <c:pt idx="6">
                  <c:v>Pommery</c:v>
                </c:pt>
                <c:pt idx="7">
                  <c:v>Others</c:v>
                </c:pt>
              </c:strCache>
            </c:strRef>
          </c:cat>
          <c:val>
            <c:numRef>
              <c:f>Sheet1!$D$2:$D$9</c:f>
              <c:numCache>
                <c:formatCode>General</c:formatCode>
                <c:ptCount val="8"/>
                <c:pt idx="0">
                  <c:v>43.261442731645097</c:v>
                </c:pt>
                <c:pt idx="1">
                  <c:v>57.479912527782453</c:v>
                </c:pt>
                <c:pt idx="2">
                  <c:v>131.64765938959488</c:v>
                </c:pt>
                <c:pt idx="3">
                  <c:v>149.4443254748509</c:v>
                </c:pt>
                <c:pt idx="4">
                  <c:v>140.98325062034741</c:v>
                </c:pt>
                <c:pt idx="5">
                  <c:v>255.49747048903879</c:v>
                </c:pt>
                <c:pt idx="6">
                  <c:v>201.06472029399751</c:v>
                </c:pt>
                <c:pt idx="7">
                  <c:v>454.4859080835440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Perrier Jouet</c:v>
                </c:pt>
                <c:pt idx="8">
                  <c:v>Others</c:v>
                </c:pt>
              </c:strCache>
            </c:strRef>
          </c:cat>
          <c:val>
            <c:numRef>
              <c:f>Sheet1!$B$2:$B$10</c:f>
              <c:numCache>
                <c:formatCode>General</c:formatCode>
                <c:ptCount val="9"/>
                <c:pt idx="0">
                  <c:v>0.46220648837016343</c:v>
                </c:pt>
                <c:pt idx="1">
                  <c:v>0.17045108830931771</c:v>
                </c:pt>
                <c:pt idx="2">
                  <c:v>0.14030478192327903</c:v>
                </c:pt>
                <c:pt idx="3">
                  <c:v>9.3508864120363966E-2</c:v>
                </c:pt>
                <c:pt idx="4">
                  <c:v>3.061647813701358E-2</c:v>
                </c:pt>
                <c:pt idx="5">
                  <c:v>2.6882761291036315E-2</c:v>
                </c:pt>
                <c:pt idx="6">
                  <c:v>2.4393616727051471E-2</c:v>
                </c:pt>
                <c:pt idx="7">
                  <c:v>1.360732361645048E-2</c:v>
                </c:pt>
                <c:pt idx="8">
                  <c:v>3.802859750532400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Perrier Jouet</c:v>
                </c:pt>
                <c:pt idx="8">
                  <c:v>Others</c:v>
                </c:pt>
              </c:strCache>
            </c:strRef>
          </c:cat>
          <c:val>
            <c:numRef>
              <c:f>Sheet1!$C$2:$C$10</c:f>
              <c:numCache>
                <c:formatCode>General</c:formatCode>
                <c:ptCount val="9"/>
                <c:pt idx="0">
                  <c:v>0.14400000000000002</c:v>
                </c:pt>
                <c:pt idx="1">
                  <c:v>0.28320000000000006</c:v>
                </c:pt>
                <c:pt idx="2">
                  <c:v>0.15360000000000004</c:v>
                </c:pt>
                <c:pt idx="3">
                  <c:v>0.10720000000000003</c:v>
                </c:pt>
                <c:pt idx="4">
                  <c:v>4.480000000000002E-2</c:v>
                </c:pt>
                <c:pt idx="5">
                  <c:v>7.0400000000000032E-2</c:v>
                </c:pt>
                <c:pt idx="6">
                  <c:v>4.480000000000002E-2</c:v>
                </c:pt>
                <c:pt idx="7">
                  <c:v>5.6000000000000015E-2</c:v>
                </c:pt>
                <c:pt idx="8">
                  <c:v>9.600000000000001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Perrier Jouet</c:v>
                </c:pt>
                <c:pt idx="8">
                  <c:v>Others</c:v>
                </c:pt>
              </c:strCache>
            </c:strRef>
          </c:cat>
          <c:val>
            <c:numRef>
              <c:f>Sheet1!$D$2:$D$10</c:f>
              <c:numCache>
                <c:formatCode>General</c:formatCode>
                <c:ptCount val="9"/>
                <c:pt idx="0">
                  <c:v>31.154906653901392</c:v>
                </c:pt>
                <c:pt idx="1">
                  <c:v>166.14736978744119</c:v>
                </c:pt>
                <c:pt idx="2">
                  <c:v>109.47595505617981</c:v>
                </c:pt>
                <c:pt idx="3">
                  <c:v>114.64153800650698</c:v>
                </c:pt>
                <c:pt idx="4">
                  <c:v>146.32643179765137</c:v>
                </c:pt>
                <c:pt idx="5">
                  <c:v>261.87786008230461</c:v>
                </c:pt>
                <c:pt idx="6">
                  <c:v>183.65460317460324</c:v>
                </c:pt>
                <c:pt idx="7">
                  <c:v>411.54308943089444</c:v>
                </c:pt>
                <c:pt idx="8">
                  <c:v>252.4416000000000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ommery</c:v>
                </c:pt>
                <c:pt idx="8">
                  <c:v>De Venoge</c:v>
                </c:pt>
                <c:pt idx="9">
                  <c:v>Others</c:v>
                </c:pt>
              </c:strCache>
            </c:strRef>
          </c:cat>
          <c:val>
            <c:numRef>
              <c:f>Sheet1!$B$2:$B$11</c:f>
              <c:numCache>
                <c:formatCode>General</c:formatCode>
                <c:ptCount val="10"/>
                <c:pt idx="0">
                  <c:v>0.41804271597067261</c:v>
                </c:pt>
                <c:pt idx="1">
                  <c:v>0.2161300605674211</c:v>
                </c:pt>
                <c:pt idx="2">
                  <c:v>9.9266815428753583E-2</c:v>
                </c:pt>
                <c:pt idx="3">
                  <c:v>9.5824035702900864E-2</c:v>
                </c:pt>
                <c:pt idx="4">
                  <c:v>5.1769206248007647E-2</c:v>
                </c:pt>
                <c:pt idx="5">
                  <c:v>3.5129104239719475E-2</c:v>
                </c:pt>
                <c:pt idx="6">
                  <c:v>3.136754861332483E-2</c:v>
                </c:pt>
                <c:pt idx="7">
                  <c:v>1.3898629263627669E-2</c:v>
                </c:pt>
                <c:pt idx="8">
                  <c:v>1.2368504941026459E-2</c:v>
                </c:pt>
                <c:pt idx="9">
                  <c:v>2.620337902454574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ommery</c:v>
                </c:pt>
                <c:pt idx="8">
                  <c:v>De Venoge</c:v>
                </c:pt>
                <c:pt idx="9">
                  <c:v>Others</c:v>
                </c:pt>
              </c:strCache>
            </c:strRef>
          </c:cat>
          <c:val>
            <c:numRef>
              <c:f>Sheet1!$C$2:$C$11</c:f>
              <c:numCache>
                <c:formatCode>General</c:formatCode>
                <c:ptCount val="10"/>
                <c:pt idx="0">
                  <c:v>0.22580645161290322</c:v>
                </c:pt>
                <c:pt idx="1">
                  <c:v>0.22759856630824374</c:v>
                </c:pt>
                <c:pt idx="2">
                  <c:v>8.9605734767025089E-2</c:v>
                </c:pt>
                <c:pt idx="3">
                  <c:v>8.4229390681003574E-2</c:v>
                </c:pt>
                <c:pt idx="4">
                  <c:v>8.9605734767025089E-2</c:v>
                </c:pt>
                <c:pt idx="5">
                  <c:v>9.4982078853046603E-2</c:v>
                </c:pt>
                <c:pt idx="6">
                  <c:v>6.9892473118279577E-2</c:v>
                </c:pt>
                <c:pt idx="7">
                  <c:v>3.9426523297491037E-2</c:v>
                </c:pt>
                <c:pt idx="8">
                  <c:v>3.5842293906810034E-2</c:v>
                </c:pt>
                <c:pt idx="9">
                  <c:v>4.30107526881720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 Perignon</c:v>
                </c:pt>
                <c:pt idx="1">
                  <c:v>Roederer</c:v>
                </c:pt>
                <c:pt idx="2">
                  <c:v>Ruinart</c:v>
                </c:pt>
                <c:pt idx="3">
                  <c:v>Malard</c:v>
                </c:pt>
                <c:pt idx="4">
                  <c:v>Bollinger</c:v>
                </c:pt>
                <c:pt idx="5">
                  <c:v>Laurent Perrier</c:v>
                </c:pt>
                <c:pt idx="6">
                  <c:v>Perrier Jouet</c:v>
                </c:pt>
                <c:pt idx="7">
                  <c:v>Pommery</c:v>
                </c:pt>
                <c:pt idx="8">
                  <c:v>De Venoge</c:v>
                </c:pt>
                <c:pt idx="9">
                  <c:v>Others</c:v>
                </c:pt>
              </c:strCache>
            </c:strRef>
          </c:cat>
          <c:val>
            <c:numRef>
              <c:f>Sheet1!$D$2:$D$11</c:f>
              <c:numCache>
                <c:formatCode>General</c:formatCode>
                <c:ptCount val="10"/>
                <c:pt idx="0">
                  <c:v>54.015162323446496</c:v>
                </c:pt>
                <c:pt idx="1">
                  <c:v>105.30629830515643</c:v>
                </c:pt>
                <c:pt idx="2">
                  <c:v>90.267562608913849</c:v>
                </c:pt>
                <c:pt idx="3">
                  <c:v>87.900066056656087</c:v>
                </c:pt>
                <c:pt idx="4">
                  <c:v>173.08693963310205</c:v>
                </c:pt>
                <c:pt idx="5">
                  <c:v>270.38001938476157</c:v>
                </c:pt>
                <c:pt idx="6">
                  <c:v>222.81777253256411</c:v>
                </c:pt>
                <c:pt idx="7">
                  <c:v>283.67202656933347</c:v>
                </c:pt>
                <c:pt idx="8">
                  <c:v>289.78679377748216</c:v>
                </c:pt>
                <c:pt idx="9">
                  <c:v>164.1420087381942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om Perignon</c:v>
                </c:pt>
                <c:pt idx="1">
                  <c:v>Roederer</c:v>
                </c:pt>
                <c:pt idx="2">
                  <c:v>Ruinart</c:v>
                </c:pt>
                <c:pt idx="3">
                  <c:v>Malard</c:v>
                </c:pt>
                <c:pt idx="4">
                  <c:v>Piper Heidsieck</c:v>
                </c:pt>
                <c:pt idx="5">
                  <c:v>Bollinger</c:v>
                </c:pt>
                <c:pt idx="6">
                  <c:v>Others</c:v>
                </c:pt>
              </c:strCache>
            </c:strRef>
          </c:cat>
          <c:val>
            <c:numRef>
              <c:f>Sheet1!$B$2:$B$8</c:f>
              <c:numCache>
                <c:formatCode>General</c:formatCode>
                <c:ptCount val="7"/>
                <c:pt idx="0">
                  <c:v>0.3473720003886136</c:v>
                </c:pt>
                <c:pt idx="1">
                  <c:v>0.28776838628193918</c:v>
                </c:pt>
                <c:pt idx="2">
                  <c:v>0.15573690857864569</c:v>
                </c:pt>
                <c:pt idx="3">
                  <c:v>0.12678519382104342</c:v>
                </c:pt>
                <c:pt idx="4">
                  <c:v>3.6189643447002817E-2</c:v>
                </c:pt>
                <c:pt idx="5">
                  <c:v>1.0541144467113572E-2</c:v>
                </c:pt>
                <c:pt idx="6">
                  <c:v>3.560672301564170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om Perignon</c:v>
                </c:pt>
                <c:pt idx="1">
                  <c:v>Roederer</c:v>
                </c:pt>
                <c:pt idx="2">
                  <c:v>Ruinart</c:v>
                </c:pt>
                <c:pt idx="3">
                  <c:v>Malard</c:v>
                </c:pt>
                <c:pt idx="4">
                  <c:v>Piper Heidsieck</c:v>
                </c:pt>
                <c:pt idx="5">
                  <c:v>Bollinger</c:v>
                </c:pt>
                <c:pt idx="6">
                  <c:v>Others</c:v>
                </c:pt>
              </c:strCache>
            </c:strRef>
          </c:cat>
          <c:val>
            <c:numRef>
              <c:f>Sheet1!$C$2:$C$8</c:f>
              <c:numCache>
                <c:formatCode>General</c:formatCode>
                <c:ptCount val="7"/>
                <c:pt idx="0">
                  <c:v>0.16012084592145015</c:v>
                </c:pt>
                <c:pt idx="1">
                  <c:v>0.29607250755287007</c:v>
                </c:pt>
                <c:pt idx="2">
                  <c:v>0.16314199395770393</c:v>
                </c:pt>
                <c:pt idx="3">
                  <c:v>0.1163141993957704</c:v>
                </c:pt>
                <c:pt idx="4">
                  <c:v>6.3444108761329304E-2</c:v>
                </c:pt>
                <c:pt idx="5">
                  <c:v>3.7764350453172203E-2</c:v>
                </c:pt>
                <c:pt idx="6">
                  <c:v>0.163141993957703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om Perignon</c:v>
                </c:pt>
                <c:pt idx="1">
                  <c:v>Roederer</c:v>
                </c:pt>
                <c:pt idx="2">
                  <c:v>Ruinart</c:v>
                </c:pt>
                <c:pt idx="3">
                  <c:v>Malard</c:v>
                </c:pt>
                <c:pt idx="4">
                  <c:v>Piper Heidsieck</c:v>
                </c:pt>
                <c:pt idx="5">
                  <c:v>Bollinger</c:v>
                </c:pt>
                <c:pt idx="6">
                  <c:v>Others</c:v>
                </c:pt>
              </c:strCache>
            </c:strRef>
          </c:cat>
          <c:val>
            <c:numRef>
              <c:f>Sheet1!$D$2:$D$8</c:f>
              <c:numCache>
                <c:formatCode>General</c:formatCode>
                <c:ptCount val="7"/>
                <c:pt idx="0">
                  <c:v>46.094920069066887</c:v>
                </c:pt>
                <c:pt idx="1">
                  <c:v>102.88569615940889</c:v>
                </c:pt>
                <c:pt idx="2">
                  <c:v>104.75486860927302</c:v>
                </c:pt>
                <c:pt idx="3">
                  <c:v>91.741153592388102</c:v>
                </c:pt>
                <c:pt idx="4">
                  <c:v>175.31012388734564</c:v>
                </c:pt>
                <c:pt idx="5">
                  <c:v>358.25664443732859</c:v>
                </c:pt>
                <c:pt idx="6">
                  <c:v>458.177501720776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om Perignon</c:v>
                </c:pt>
                <c:pt idx="1">
                  <c:v>Roederer</c:v>
                </c:pt>
                <c:pt idx="2">
                  <c:v>Ruinart</c:v>
                </c:pt>
                <c:pt idx="3">
                  <c:v>Malard</c:v>
                </c:pt>
                <c:pt idx="4">
                  <c:v>De Venoge</c:v>
                </c:pt>
                <c:pt idx="5">
                  <c:v>Others</c:v>
                </c:pt>
              </c:strCache>
            </c:strRef>
          </c:cat>
          <c:val>
            <c:numRef>
              <c:f>Sheet1!$B$2:$B$7</c:f>
              <c:numCache>
                <c:formatCode>General</c:formatCode>
                <c:ptCount val="6"/>
                <c:pt idx="0">
                  <c:v>0.65323939347526416</c:v>
                </c:pt>
                <c:pt idx="1">
                  <c:v>0.12000306325624138</c:v>
                </c:pt>
                <c:pt idx="2">
                  <c:v>0.11716955123296063</c:v>
                </c:pt>
                <c:pt idx="3">
                  <c:v>8.0027569306172455E-2</c:v>
                </c:pt>
                <c:pt idx="4">
                  <c:v>1.9758002756930616E-2</c:v>
                </c:pt>
                <c:pt idx="5">
                  <c:v>9.80241997243069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om Perignon</c:v>
                </c:pt>
                <c:pt idx="1">
                  <c:v>Roederer</c:v>
                </c:pt>
                <c:pt idx="2">
                  <c:v>Ruinart</c:v>
                </c:pt>
                <c:pt idx="3">
                  <c:v>Malard</c:v>
                </c:pt>
                <c:pt idx="4">
                  <c:v>De Venoge</c:v>
                </c:pt>
                <c:pt idx="5">
                  <c:v>Others</c:v>
                </c:pt>
              </c:strCache>
            </c:strRef>
          </c:cat>
          <c:val>
            <c:numRef>
              <c:f>Sheet1!$C$2:$C$7</c:f>
              <c:numCache>
                <c:formatCode>General</c:formatCode>
                <c:ptCount val="6"/>
                <c:pt idx="0">
                  <c:v>0.32684824902723736</c:v>
                </c:pt>
                <c:pt idx="1">
                  <c:v>0.2140077821011673</c:v>
                </c:pt>
                <c:pt idx="2">
                  <c:v>0.24708171206225679</c:v>
                </c:pt>
                <c:pt idx="3">
                  <c:v>0.10311284046692606</c:v>
                </c:pt>
                <c:pt idx="4">
                  <c:v>7.7821011673151752E-2</c:v>
                </c:pt>
                <c:pt idx="5">
                  <c:v>3.11284046692606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om Perignon</c:v>
                </c:pt>
                <c:pt idx="1">
                  <c:v>Roederer</c:v>
                </c:pt>
                <c:pt idx="2">
                  <c:v>Ruinart</c:v>
                </c:pt>
                <c:pt idx="3">
                  <c:v>Malard</c:v>
                </c:pt>
                <c:pt idx="4">
                  <c:v>De Venoge</c:v>
                </c:pt>
                <c:pt idx="5">
                  <c:v>Others</c:v>
                </c:pt>
              </c:strCache>
            </c:strRef>
          </c:cat>
          <c:val>
            <c:numRef>
              <c:f>Sheet1!$D$2:$D$7</c:f>
              <c:numCache>
                <c:formatCode>General</c:formatCode>
                <c:ptCount val="6"/>
                <c:pt idx="0">
                  <c:v>50.034987524005459</c:v>
                </c:pt>
                <c:pt idx="1">
                  <c:v>178.33526602916675</c:v>
                </c:pt>
                <c:pt idx="2">
                  <c:v>210.87535922280716</c:v>
                </c:pt>
                <c:pt idx="3">
                  <c:v>128.84664792508332</c:v>
                </c:pt>
                <c:pt idx="4">
                  <c:v>393.87084125116883</c:v>
                </c:pt>
                <c:pt idx="5">
                  <c:v>317.558365758754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Malard</c:v>
                </c:pt>
                <c:pt idx="2">
                  <c:v>Ruinart</c:v>
                </c:pt>
                <c:pt idx="3">
                  <c:v>Roederer</c:v>
                </c:pt>
                <c:pt idx="4">
                  <c:v>Pommery</c:v>
                </c:pt>
                <c:pt idx="5">
                  <c:v>Perrier Jouet</c:v>
                </c:pt>
                <c:pt idx="6">
                  <c:v>De Venoge</c:v>
                </c:pt>
                <c:pt idx="7">
                  <c:v>Veuve Clicquot</c:v>
                </c:pt>
                <c:pt idx="8">
                  <c:v>Others</c:v>
                </c:pt>
              </c:strCache>
            </c:strRef>
          </c:cat>
          <c:val>
            <c:numRef>
              <c:f>Sheet1!$B$2:$B$10</c:f>
              <c:numCache>
                <c:formatCode>General</c:formatCode>
                <c:ptCount val="9"/>
                <c:pt idx="0">
                  <c:v>0.41216586971858588</c:v>
                </c:pt>
                <c:pt idx="1">
                  <c:v>0.25656502312455909</c:v>
                </c:pt>
                <c:pt idx="2">
                  <c:v>0.1287136474092655</c:v>
                </c:pt>
                <c:pt idx="3">
                  <c:v>0.11813122207415537</c:v>
                </c:pt>
                <c:pt idx="4">
                  <c:v>2.6495257505683153E-2</c:v>
                </c:pt>
                <c:pt idx="5">
                  <c:v>1.9283530610645135E-2</c:v>
                </c:pt>
                <c:pt idx="6">
                  <c:v>1.5285725484047974E-2</c:v>
                </c:pt>
                <c:pt idx="7">
                  <c:v>1.371795876773536E-2</c:v>
                </c:pt>
                <c:pt idx="8">
                  <c:v>9.641765305322567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Malard</c:v>
                </c:pt>
                <c:pt idx="2">
                  <c:v>Ruinart</c:v>
                </c:pt>
                <c:pt idx="3">
                  <c:v>Roederer</c:v>
                </c:pt>
                <c:pt idx="4">
                  <c:v>Pommery</c:v>
                </c:pt>
                <c:pt idx="5">
                  <c:v>Perrier Jouet</c:v>
                </c:pt>
                <c:pt idx="6">
                  <c:v>De Venoge</c:v>
                </c:pt>
                <c:pt idx="7">
                  <c:v>Veuve Clicquot</c:v>
                </c:pt>
                <c:pt idx="8">
                  <c:v>Others</c:v>
                </c:pt>
              </c:strCache>
            </c:strRef>
          </c:cat>
          <c:val>
            <c:numRef>
              <c:f>Sheet1!$C$2:$C$10</c:f>
              <c:numCache>
                <c:formatCode>General</c:formatCode>
                <c:ptCount val="9"/>
                <c:pt idx="0">
                  <c:v>0.21261261261261261</c:v>
                </c:pt>
                <c:pt idx="1">
                  <c:v>0.17297297297297298</c:v>
                </c:pt>
                <c:pt idx="2">
                  <c:v>0.22342342342342342</c:v>
                </c:pt>
                <c:pt idx="3">
                  <c:v>0.21981981981981982</c:v>
                </c:pt>
                <c:pt idx="4">
                  <c:v>4.8648648648648651E-2</c:v>
                </c:pt>
                <c:pt idx="5">
                  <c:v>3.6036036036036036E-2</c:v>
                </c:pt>
                <c:pt idx="6">
                  <c:v>2.1621621621621623E-2</c:v>
                </c:pt>
                <c:pt idx="7">
                  <c:v>9.0090090090090089E-3</c:v>
                </c:pt>
                <c:pt idx="8">
                  <c:v>5.585585585585585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m Perignon</c:v>
                </c:pt>
                <c:pt idx="1">
                  <c:v>Malard</c:v>
                </c:pt>
                <c:pt idx="2">
                  <c:v>Ruinart</c:v>
                </c:pt>
                <c:pt idx="3">
                  <c:v>Roederer</c:v>
                </c:pt>
                <c:pt idx="4">
                  <c:v>Pommery</c:v>
                </c:pt>
                <c:pt idx="5">
                  <c:v>Perrier Jouet</c:v>
                </c:pt>
                <c:pt idx="6">
                  <c:v>De Venoge</c:v>
                </c:pt>
                <c:pt idx="7">
                  <c:v>Veuve Clicquot</c:v>
                </c:pt>
                <c:pt idx="8">
                  <c:v>Others</c:v>
                </c:pt>
              </c:strCache>
            </c:strRef>
          </c:cat>
          <c:val>
            <c:numRef>
              <c:f>Sheet1!$D$2:$D$10</c:f>
              <c:numCache>
                <c:formatCode>General</c:formatCode>
                <c:ptCount val="9"/>
                <c:pt idx="0">
                  <c:v>51.584235433607816</c:v>
                </c:pt>
                <c:pt idx="1">
                  <c:v>67.418766153871559</c:v>
                </c:pt>
                <c:pt idx="2">
                  <c:v>173.58176690698005</c:v>
                </c:pt>
                <c:pt idx="3">
                  <c:v>186.08105119054022</c:v>
                </c:pt>
                <c:pt idx="4">
                  <c:v>183.61266592035827</c:v>
                </c:pt>
                <c:pt idx="5">
                  <c:v>186.87467955760638</c:v>
                </c:pt>
                <c:pt idx="6">
                  <c:v>141.44975744975744</c:v>
                </c:pt>
                <c:pt idx="7">
                  <c:v>65.673101673101669</c:v>
                </c:pt>
                <c:pt idx="8">
                  <c:v>579.3115066285798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1/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55.xml"/><Relationship Id="rId6" Type="http://schemas.openxmlformats.org/officeDocument/2006/relationships/chart" Target="../charts/chart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56.xml"/><Relationship Id="rId6" Type="http://schemas.openxmlformats.org/officeDocument/2006/relationships/chart" Target="../charts/chart4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57.xml"/><Relationship Id="rId6" Type="http://schemas.openxmlformats.org/officeDocument/2006/relationships/chart" Target="../charts/chart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58.xml"/><Relationship Id="rId6" Type="http://schemas.openxmlformats.org/officeDocument/2006/relationships/chart" Target="../charts/chart4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59.xml"/><Relationship Id="rId6" Type="http://schemas.openxmlformats.org/officeDocument/2006/relationships/chart" Target="../charts/chart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60.xml"/><Relationship Id="rId6" Type="http://schemas.openxmlformats.org/officeDocument/2006/relationships/chart" Target="../charts/chart4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61.xml"/><Relationship Id="rId6" Type="http://schemas.openxmlformats.org/officeDocument/2006/relationships/chart" Target="../charts/chart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62.xml"/><Relationship Id="rId6" Type="http://schemas.openxmlformats.org/officeDocument/2006/relationships/chart" Target="../charts/chart4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63.xml"/><Relationship Id="rId6" Type="http://schemas.openxmlformats.org/officeDocument/2006/relationships/chart" Target="../charts/chart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64.xml"/><Relationship Id="rId6" Type="http://schemas.openxmlformats.org/officeDocument/2006/relationships/chart" Target="../charts/chart4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65.xml"/><Relationship Id="rId6" Type="http://schemas.openxmlformats.org/officeDocument/2006/relationships/chart" Target="../charts/chart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66.xml"/><Relationship Id="rId6" Type="http://schemas.openxmlformats.org/officeDocument/2006/relationships/chart" Target="../charts/chart4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667.xml"/><Relationship Id="rId6" Type="http://schemas.openxmlformats.org/officeDocument/2006/relationships/chart" Target="../charts/chart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668.xml"/><Relationship Id="rId6" Type="http://schemas.openxmlformats.org/officeDocument/2006/relationships/chart" Target="../charts/chart4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669.xml"/><Relationship Id="rId6" Type="http://schemas.openxmlformats.org/officeDocument/2006/relationships/chart" Target="../charts/chart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670.xml"/><Relationship Id="rId6" Type="http://schemas.openxmlformats.org/officeDocument/2006/relationships/chart" Target="../charts/chart4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671.xml"/><Relationship Id="rId6" Type="http://schemas.openxmlformats.org/officeDocument/2006/relationships/chart" Target="../charts/chart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672.xml"/><Relationship Id="rId6" Type="http://schemas.openxmlformats.org/officeDocument/2006/relationships/chart" Target="../charts/chart4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673.xml"/><Relationship Id="rId6" Type="http://schemas.openxmlformats.org/officeDocument/2006/relationships/chart" Target="../charts/chart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674.xml"/><Relationship Id="rId6" Type="http://schemas.openxmlformats.org/officeDocument/2006/relationships/chart" Target="../charts/chart4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675.xml"/><Relationship Id="rId6" Type="http://schemas.openxmlformats.org/officeDocument/2006/relationships/chart" Target="../charts/chart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676.xml"/><Relationship Id="rId6" Type="http://schemas.openxmlformats.org/officeDocument/2006/relationships/chart" Target="../charts/chart4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77.xml"/><Relationship Id="rId6" Type="http://schemas.openxmlformats.org/officeDocument/2006/relationships/chart" Target="../charts/chart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78.xml"/><Relationship Id="rId6" Type="http://schemas.openxmlformats.org/officeDocument/2006/relationships/chart" Target="../charts/chart4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79.xml"/><Relationship Id="rId6" Type="http://schemas.openxmlformats.org/officeDocument/2006/relationships/chart" Target="../charts/chart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80.xml"/><Relationship Id="rId6" Type="http://schemas.openxmlformats.org/officeDocument/2006/relationships/chart" Target="../charts/chart4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81.xml"/><Relationship Id="rId6" Type="http://schemas.openxmlformats.org/officeDocument/2006/relationships/chart" Target="../charts/chart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82.xml"/><Relationship Id="rId6" Type="http://schemas.openxmlformats.org/officeDocument/2006/relationships/chart" Target="../charts/chart4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3.xml"/><Relationship Id="rId6" Type="http://schemas.openxmlformats.org/officeDocument/2006/relationships/chart" Target="../charts/chart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84.xml"/><Relationship Id="rId6" Type="http://schemas.openxmlformats.org/officeDocument/2006/relationships/chart" Target="../charts/chart4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685.xml"/><Relationship Id="rId6" Type="http://schemas.openxmlformats.org/officeDocument/2006/relationships/chart" Target="../charts/chart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86.xml"/><Relationship Id="rId6" Type="http://schemas.openxmlformats.org/officeDocument/2006/relationships/chart" Target="../charts/chart4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87.xml"/><Relationship Id="rId6" Type="http://schemas.openxmlformats.org/officeDocument/2006/relationships/chart" Target="../charts/chart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88.xml"/><Relationship Id="rId6" Type="http://schemas.openxmlformats.org/officeDocument/2006/relationships/chart" Target="../charts/chart4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89.xml"/><Relationship Id="rId6" Type="http://schemas.openxmlformats.org/officeDocument/2006/relationships/chart" Target="../charts/chart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90.xml"/><Relationship Id="rId6" Type="http://schemas.openxmlformats.org/officeDocument/2006/relationships/chart" Target="../charts/chart4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91.xml"/><Relationship Id="rId6" Type="http://schemas.openxmlformats.org/officeDocument/2006/relationships/chart" Target="../charts/chart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92.xml"/><Relationship Id="rId6" Type="http://schemas.openxmlformats.org/officeDocument/2006/relationships/chart" Target="../charts/chart5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93.xml"/><Relationship Id="rId6" Type="http://schemas.openxmlformats.org/officeDocument/2006/relationships/chart" Target="../charts/chart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94.xml"/><Relationship Id="rId6" Type="http://schemas.openxmlformats.org/officeDocument/2006/relationships/chart" Target="../charts/chart5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95.xml"/><Relationship Id="rId6" Type="http://schemas.openxmlformats.org/officeDocument/2006/relationships/chart" Target="../charts/chart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6.xml"/><Relationship Id="rId6" Type="http://schemas.openxmlformats.org/officeDocument/2006/relationships/chart" Target="../charts/chart5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697.xml"/><Relationship Id="rId6" Type="http://schemas.openxmlformats.org/officeDocument/2006/relationships/chart" Target="../charts/chart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698.xml"/><Relationship Id="rId6" Type="http://schemas.openxmlformats.org/officeDocument/2006/relationships/chart" Target="../charts/chart5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699.xml"/><Relationship Id="rId6" Type="http://schemas.openxmlformats.org/officeDocument/2006/relationships/chart" Target="../charts/chart5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00.xml"/><Relationship Id="rId6" Type="http://schemas.openxmlformats.org/officeDocument/2006/relationships/chart" Target="../charts/chart5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01.xml"/><Relationship Id="rId6" Type="http://schemas.openxmlformats.org/officeDocument/2006/relationships/chart" Target="../charts/chart5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02.xml"/><Relationship Id="rId6" Type="http://schemas.openxmlformats.org/officeDocument/2006/relationships/chart" Target="../charts/chart5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03.xml"/><Relationship Id="rId6" Type="http://schemas.openxmlformats.org/officeDocument/2006/relationships/chart" Target="../charts/chart5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04.xml"/><Relationship Id="rId6" Type="http://schemas.openxmlformats.org/officeDocument/2006/relationships/chart" Target="../charts/chart5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05.xml"/><Relationship Id="rId6" Type="http://schemas.openxmlformats.org/officeDocument/2006/relationships/chart" Target="../charts/chart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06.xml"/><Relationship Id="rId6" Type="http://schemas.openxmlformats.org/officeDocument/2006/relationships/chart" Target="../charts/chart5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707.xml"/><Relationship Id="rId6" Type="http://schemas.openxmlformats.org/officeDocument/2006/relationships/chart" Target="../charts/chart5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708.xml"/><Relationship Id="rId6" Type="http://schemas.openxmlformats.org/officeDocument/2006/relationships/chart" Target="../charts/chart5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709.xml"/><Relationship Id="rId6" Type="http://schemas.openxmlformats.org/officeDocument/2006/relationships/chart" Target="../charts/chart5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710.xml"/><Relationship Id="rId6" Type="http://schemas.openxmlformats.org/officeDocument/2006/relationships/chart" Target="../charts/chart5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711.xml"/><Relationship Id="rId6" Type="http://schemas.openxmlformats.org/officeDocument/2006/relationships/chart" Target="../charts/chart5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520.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521.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522.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523.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524.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525.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526.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527.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528.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529.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530.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531.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532.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533.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534.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535.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536.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537.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538.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539.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540.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541.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542.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543.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544.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545.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546.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547.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548.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549.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550.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551.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552.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553.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554.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555.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556.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557.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558.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559.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560.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561.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562.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563.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56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565.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566.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567.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568.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569.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570.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571.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572.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573.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574.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575.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576.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2.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3.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14940362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5460900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19201170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1125691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80834657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3244851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5102676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7198925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08167714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037997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92615565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4166220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30159617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osé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161090307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6768668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0185411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381632961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1406559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4852093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4741983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15809192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7938505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783640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409887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249721854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urgogne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07971799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350737104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280585143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25176741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20842280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14627772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25492683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337593904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1586968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29774317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10621225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272876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Italien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235846838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26702460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5648483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9270276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399288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268208472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71000450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601245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58805187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76147222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15761990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74976828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Val De Loire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4416936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5711399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174833739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303292342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269491903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215715624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22231952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75424701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227854694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349065817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109791175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157392662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Alsace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42952565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31914644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266507308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268182164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5523967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7181456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8947279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276297415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00118292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291118882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376417165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276918820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Bordelai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9679523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322360102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35813807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36194531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15164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97937874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30180773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5483148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349634504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122217992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408742618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280915675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262211437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93325677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27114709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4137565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360470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35095921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245405545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40723011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167898799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348736346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342364993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365203925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hampagne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8636726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02205366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2391822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69751227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301008599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40519739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90430570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146537611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404186761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76559078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253235823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89771313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32095200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308870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837004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5851018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380445377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5733557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227548964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139068473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94743064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136473430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288951460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161629725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356683194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ffervescents Sans Alcool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38689438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27632311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325078575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7675731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61021523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71445927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131479290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2361095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65319578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39069018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892662878"/>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1806820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hampagne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79201782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lanc De Blanc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50739825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166424317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82059073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17029126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226306740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93158085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337408956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28407665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272120571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588041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96089113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55376133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Brut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0645752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65287204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315926850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142613737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90875814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202136144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130398363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61702488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111052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68699685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27905644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62091014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Cru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280451098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14746641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02034528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61129679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191813479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289409489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64581890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4121752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1403229041"/>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460612624"/>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304544572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133583440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xtra Brut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231998201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24740789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86292554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15653170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265814481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10672541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30112552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37499057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16905924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323980779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305451148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266798864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illesime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383333965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79773247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314059785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263460783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73176743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2598175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61136189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31945908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45262905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101569308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411417602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30622347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osé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185860807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372760000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75671630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2946489544"/>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321912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240492357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2145844183"/>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154328602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355251911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93788890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351055516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01047498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urgogne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57257909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151013379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303726337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352956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77262711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411911430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418381750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200955572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79455249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398745514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45231770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21320040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Italien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14925190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14004257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723261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9597681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12033079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341061194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122468811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238935293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320283654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970742853"/>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346106109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87683640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281062711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Val De Loire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47820537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1281646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778091691"/>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91716823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86542882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1041160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12793046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88508438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319444389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168948525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189345296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289874601"/>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Alsace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22143773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830199247"/>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VC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245591515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R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16310870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CCQ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1561004134"/>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C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148230393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OCC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413703459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HA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45678558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ND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59756465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BR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80908807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LO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423267152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CEN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33440393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ousseux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32319733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ousseux Bordelais | NICOLAS BOU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422117024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28522300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838451767"/>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408198747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1145194140"/>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166296287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130586091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82558678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287278368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25857998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765798254"/>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2138551054"/>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Malard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1920881697"/>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83219569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2375783002"/>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57679318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1373509656"/>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3981751892"/>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384135041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109933564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33472731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02653434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103877584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212339460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Malard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364576307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450795344"/>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1781648019"/>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28698230"/>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349860850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216629522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349631950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62016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2126464013"/>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10165275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207080438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3257270066"/>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Malard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3287713002"/>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385026465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294639945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200321680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189212351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254535493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22648247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94784269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67185836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28694539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2631621967"/>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9979373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Malard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9579335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81906065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393296384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232698032"/>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363731689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15063304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37438855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266080833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11670485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4248766534"/>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1164400470"/>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388552647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Malard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4269694048"/>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3599778575"/>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381750701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869166893"/>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900706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774841195"/>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548061936"/>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2732039337"/>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284264817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780553367"/>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261145330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2032532097"/>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Malard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602897283"/>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191626492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157856819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54262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7772962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107828873"/>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2607641036"/>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231029324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730730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2203759843"/>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353368775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3882291450"/>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296665389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ffervescents |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371083542"/>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936644188"/>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15244929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78790346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430512996"/>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142220036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262265594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3621664517"/>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2428276459"/>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315540763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4108967637"/>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235199820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hampagnes |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391495793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10094902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07223255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235186279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373039805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405616966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1683900811"/>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2114020571"/>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309794956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2369227975"/>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79915039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63520365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lanc De Blancs |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14315952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261127238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8603383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3685872162"/>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292162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4117685672"/>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212038170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3462213768"/>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299148689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3971257702"/>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1365221732"/>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33802597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Sans Alcool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277513077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Bruts |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409073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1911918282"/>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747276431"/>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155489853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381000623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3675415027"/>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183933967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64184080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9198126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2403203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73957444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358798348"/>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Crus |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3682278381"/>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VC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329727960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R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389598292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CCQ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50053533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C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281504336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OCC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3301774828"/>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HA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05769341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ND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287063043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BR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14947700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81125315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LO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1838169908"/>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CEN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226259201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osés | Nicolas | NICOLAS BOU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162984931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382681868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1377458616"/>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164779923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315202493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29555759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95260560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24701154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002701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2356325173"/>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818175244"/>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1646918196"/>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1296382430"/>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426566597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1730362877"/>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79774049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2491809441"/>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253314081"/>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1810025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554184342"/>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2333986639"/>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1734252593"/>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381152221"/>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1723594208"/>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hampagne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392381891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65760229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DU MOULIN ANCESTR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SAVOIE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MIERE BULLE BLANQUETT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U FRIZZANT DE MUSCAT 9%VOL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155689863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3108568113"/>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SON GALLICE SEYSSEL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ERDON BUGEY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197248615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MIERE BULLE BLANQUETT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ME DU MOULIN ANCESTR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IMOUX ROSE 1E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ORA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36882318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225036028"/>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119245945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CANCAN BRUT NATURE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129448557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101537093"/>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283181303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LAIRETTE DIE DEA AUGUST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368402375"/>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JURA TISSO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U JURA BETHANI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Krit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GRUMES BULLES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EUX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2451955075"/>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449322487"/>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112280978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3960149684"/>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1572204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11593219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649618175"/>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LES LOUIS VALLON 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1992505979"/>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2379755116"/>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3762864281"/>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355338956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1261127684"/>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259613545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ffervescents Sans Alcool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Lyre'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YRE'S CLASSIC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BLAN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DU VERNAY VIN MOUSS 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ECTAROSE SPARKLING 0% AL 73CL 1CT X 73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RENCH BLOOM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633691801"/>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93846970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326072649"/>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200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SAINT GALL BLC BLCS EXTRA 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1504638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69914356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BLC BLCS NAT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234010240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CHAMP DELAMOTTE BLC/BLC+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781839621"/>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MESNIL BLANC DE BLANC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200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3341708311"/>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200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125416919"/>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COMTES CHAMPAG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BLC BL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 BS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3606190544"/>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BLC BL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265278294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LANC DE BLANCS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200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SAINT GALL BLC BLCS EXTRA 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BLC BL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4026280914"/>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lanc De Blanc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LANC DE BLANCS SECON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LC DE BLANC SECOND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GRAND CRU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A/18 BLC BLCS EXTRA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LC/BL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lamo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DELAMOTTE BLC/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BLC/BL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BLANC DE BLANC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SHAPE BLC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PRINCES BLC DE BL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BLC/BL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 DEUTZ"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BLC DE BLANC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RUINART EXT BRUT SECO 2010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ns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NSON BLANC DE BLANCS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BLC/BL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136637520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570523422"/>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ER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40589279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514270021"/>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64505449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ER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3425245297"/>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3973975379"/>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3071512991"/>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ampari: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LALLIER SERIE R.02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1290656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SAINT GALL LE TRADITION 1E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105869175"/>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45658897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COLLECTION 24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86354749"/>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Brut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CLASSIC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CUVEE LEON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eidsieck &amp; Co Monopo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IDSIECK MONOPOLE SILVER TO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ITTINGER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e Blig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CH DE BLIGNY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yal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YALA BRUT MAJEU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EUTZ CLASSI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BLE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TETE CUVEE BRUT P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SPECIAL CUVE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GRAND BRUT SHAP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itt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TAITTINGER PRESTIGE BRUT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LAURENT PERRIER LA CUVE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BRUT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GDE RESERV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POL ROGE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LA CUVE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RESERV CUVEE NB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3767854236"/>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42611310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447159599"/>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BLC BLC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44913170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410425">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10425">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MTE MONTE CARLO RIVIERA 1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38889607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547233">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4082816965"/>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1843581363"/>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792897520"/>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1956735956"/>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2620170204"/>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469057">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149309480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656680">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21832316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Cru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PREMIER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PREMI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1ER CRU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547233">
                <a:tc>
                  <a:txBody>
                    <a:bodyPr/>
                    <a:lstStyle/>
                    <a:p>
                      <a:pPr algn="ctr">
                        <a:defRPr sz="800">
                          <a:latin typeface="Nexa Book"/>
                        </a:defRPr>
                      </a:pPr>
                      <a:r>
                        <a:t>Louis Mart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OUIS MARTIN BRUT GRAND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MG CHAMPAGNE NICOLAS 1E CRU BS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6014079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065236433"/>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2048129964"/>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1724744180"/>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1988823690"/>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154288108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297614211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1594098686"/>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2425952357"/>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934204936"/>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1974056007"/>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37562471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lanc De Blanc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274325738"/>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xtra Brut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X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EXTRA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Moët &amp; Chand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ET &amp; CHANDON RES IMP EB ETUI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anard Duchê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NARD DUCHENE ZE181 EXTR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ESSENTIEL EXBR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3020137399"/>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JR ROEDERER CRISTAL CB MILL 1CT X 30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OEDERER CRISTAL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0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3066439409"/>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1638710752"/>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L ROGER WINSTON CHURCHI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1290959693"/>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2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DOM PERIGNON 2010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PLENITUDE 2 200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4178640012"/>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906523891"/>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7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A FLAMME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OUIS XV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915477417"/>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RUNO PAILLARD NEC+ULTRA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RUNO PAILLARD NEC+ULTRA 199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OUIS XV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3844544012"/>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AMPAGNE GOSSET CELEBRIS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OUIS XV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Ves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EORGES VESSELLE GRD CRU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494824386"/>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RUNO PAILLARD NEC+ULTRA 199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iper Heidsie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IPER HEIDSIECK CUVE RARE 200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GRANDE ANNE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1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37293607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3209117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52569">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52569">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BASQUIA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52569">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52569">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52569">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52569">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52569">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52569">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52569">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52569">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A FLAMME 201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52569">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52569">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52569">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3396016442"/>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illesime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93141">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93141">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93141">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93141">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93141">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93141">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93141">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ROS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93141">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SECOND SKIN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93141">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UVEE LOUISE POMMERY 200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93141">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93141">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ELLE EPOQU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93141">
                <a:tc>
                  <a:txBody>
                    <a:bodyPr/>
                    <a:lstStyle/>
                    <a:p>
                      <a:pPr algn="ctr">
                        <a:defRPr sz="800">
                          <a:latin typeface="Nexa Book"/>
                        </a:defRPr>
                      </a:pPr>
                      <a:r>
                        <a:t>De Venog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 VENOGE LOUIS XV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93141">
                <a:tc>
                  <a:txBody>
                    <a:bodyPr/>
                    <a:lstStyle/>
                    <a:p>
                      <a:pPr algn="ctr">
                        <a:defRPr sz="800">
                          <a:latin typeface="Nexa Book"/>
                        </a:defRPr>
                      </a:pPr>
                      <a:r>
                        <a:t>Veuve Clicqu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EUVE CLICQUOT GDE DAME 2008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93141">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BRUT MILLESIME 2014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93141">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201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93141">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BRUT (NUE) 2016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93141">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BRUT 2015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2133934617"/>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Krug</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KRUG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RMAND DE BRIGNAC '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1922216082"/>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Roeder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OEDERER CRISTAL ROSE 2013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2670467360"/>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RU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1163570891"/>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AMOUR DEUTZ"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errier Jo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ERRIER JOUET BLASON ROSE SHAP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372519556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1720009778"/>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Dom Per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M PERIGNON ROSE 2009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1036547197"/>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LAURENT PERRIER ROSE + 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2258957450"/>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LAURENT PERRIER ROSE + 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8266859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617799055"/>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F LAURENT PERRIER ROSE + 2V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391272435"/>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Henrio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ENRIOT BRU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75629600"/>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osé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NU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urent Perri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URENT PERRI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UTZ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PRES SPECIAL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E.NICOLAS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Malard</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LARD ROSE 1ER CR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RUINART ROSE (NU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Nicolas Feuilla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ICOLAS FEUILLATTE RES EX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ESSERAT BELLEFON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ommer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OMMERY SILVER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UINART ROSE SECOND SKIN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eutz</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DEUTZ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lling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LLINGER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1/2 CHAMP NICOLAS ROSE 1E C BS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E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RE CU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Demoisel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EMOISELLE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esserat De Bellef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BESSERAT BELLEFON ROSE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uinar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RUINART ROSE SECOND SKIN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Nicola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CHAMPAGNE NICOLAS ROSE 1E C BS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1487896088"/>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3613177208"/>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2568936368"/>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56145570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103976511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27972286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2217476236"/>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25249893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1105482927"/>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3900807234"/>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1964956327"/>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1513516459"/>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urgogne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ISSEY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EN CHAZO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 THOMA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 PICAMELOT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BAILLY LA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Patriarch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 PATRIARCH RO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6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PICAM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URGOGNE JBAPT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047232669"/>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2060924625"/>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4126145172"/>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104671850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9849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98490">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9849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LAVERON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9849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STI VILAVERONI ITAL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98490">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9849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GE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98490">
                <a:tc>
                  <a:txBody>
                    <a:bodyPr/>
                    <a:lstStyle/>
                    <a:p>
                      <a:pPr algn="ctr">
                        <a:defRPr sz="800">
                          <a:latin typeface="Nexa Book"/>
                        </a:defRPr>
                      </a:pPr>
                      <a:r>
                        <a:t>Vilavero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MBRUSCO VILAVE ROS DOLC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98490">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3750960685"/>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PUMANTE DEI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3024231495"/>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GOLD SPUM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7152961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958948171"/>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3760333597"/>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EXT DRY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2038625455"/>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WHITE EX DRY BOT 2022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3872307918"/>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BOTTEGA FRIZZANT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3918434137"/>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Italien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ARLO V CUVEE DEL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DEI POETI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Savia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SAVIAN EXTRA DRY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Botteg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VINO POETI ROSE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OSECCO CONTARINI BRUT ITA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Contari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PROSECCO CONTARINI BRUT ITA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4187268478"/>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1058509298"/>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1134671533"/>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BAUMAR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2119189132"/>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344010040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1"/>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18893">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18893">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7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18893">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5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18893">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33889392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41765406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396364055"/>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8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5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MONMOUSS SS S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346545670"/>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2606246320"/>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7281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7281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7281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7281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7281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LANGL LC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7281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MOUSSEAU CUVEE "JM" TOU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4204190401"/>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ROS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BAUMARD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983865688"/>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BRUT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TERREBRUN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9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BRUNET 1/2 S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20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MOELLX BRUNE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AMBULE TURBULENT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VOUVRAY DME BRUNET 2013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NATURE BRU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UVET RUBIS EXCELLENCE 1/2SE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ULLE NATURE EXTRA BRUT 2018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1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20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ONTLOUIS BRUTNAT BIO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1667347290"/>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Val De Loire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Chateau Moncontou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H MONCONTOUR MILLESIM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De Chancen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LOIRE NATURE 2015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UMUR BOUVET L CUV SAPHI M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ouvet-Ladubay</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SAUMUR BOUVET SAPHIR 2019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OUS BL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E LOIRE MONM RO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OUVRAY DME DU PETIT COTEAU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120347213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345501789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4142632769"/>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2218964773"/>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SPAR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DOSAGE ZER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BULLES NOEMI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MUR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64822">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1/2 CREMANT D'ALSACE PREST AC 1CT X 375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64822">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7645255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716943599"/>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2087694425"/>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RUT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298164379"/>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2570235142"/>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2013485962"/>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66724735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5</a:t>
            </a:fld>
            <a:endParaRPr lang="en-US"/>
          </a:p>
        </p:txBody>
      </p:sp>
    </p:spTree>
    <p:extLst>
      <p:ext uri="{BB962C8B-B14F-4D97-AF65-F5344CB8AC3E}">
        <p14:creationId xmlns:p14="http://schemas.microsoft.com/office/powerpoint/2010/main" val="4040907115"/>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Alsace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Mu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PRESTIGE BIO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GISSELBREC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D'ALSACE ROSE GISS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G CREMANT D'ALSACE GISSELB AC 1CT X 150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6</a:t>
            </a:fld>
            <a:endParaRPr lang="en-US"/>
          </a:p>
        </p:txBody>
      </p:sp>
    </p:spTree>
    <p:extLst>
      <p:ext uri="{BB962C8B-B14F-4D97-AF65-F5344CB8AC3E}">
        <p14:creationId xmlns:p14="http://schemas.microsoft.com/office/powerpoint/2010/main" val="1050615774"/>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VC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7</a:t>
            </a:fld>
            <a:endParaRPr lang="en-US"/>
          </a:p>
        </p:txBody>
      </p:sp>
    </p:spTree>
    <p:extLst>
      <p:ext uri="{BB962C8B-B14F-4D97-AF65-F5344CB8AC3E}">
        <p14:creationId xmlns:p14="http://schemas.microsoft.com/office/powerpoint/2010/main" val="3380843717"/>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R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8</a:t>
            </a:fld>
            <a:endParaRPr lang="en-US"/>
          </a:p>
        </p:txBody>
      </p:sp>
    </p:spTree>
    <p:extLst>
      <p:ext uri="{BB962C8B-B14F-4D97-AF65-F5344CB8AC3E}">
        <p14:creationId xmlns:p14="http://schemas.microsoft.com/office/powerpoint/2010/main" val="4045841091"/>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CCQ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65668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DX VALLON BLC NOIR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65668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65668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19</a:t>
            </a:fld>
            <a:endParaRPr lang="en-US"/>
          </a:p>
        </p:txBody>
      </p:sp>
    </p:spTree>
    <p:extLst>
      <p:ext uri="{BB962C8B-B14F-4D97-AF65-F5344CB8AC3E}">
        <p14:creationId xmlns:p14="http://schemas.microsoft.com/office/powerpoint/2010/main" val="38523309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91233063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C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0</a:t>
            </a:fld>
            <a:endParaRPr lang="en-US"/>
          </a:p>
        </p:txBody>
      </p:sp>
    </p:spTree>
    <p:extLst>
      <p:ext uri="{BB962C8B-B14F-4D97-AF65-F5344CB8AC3E}">
        <p14:creationId xmlns:p14="http://schemas.microsoft.com/office/powerpoint/2010/main" val="3680080406"/>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OCC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VALLON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1</a:t>
            </a:fld>
            <a:endParaRPr lang="en-US"/>
          </a:p>
        </p:txBody>
      </p:sp>
    </p:spTree>
    <p:extLst>
      <p:ext uri="{BB962C8B-B14F-4D97-AF65-F5344CB8AC3E}">
        <p14:creationId xmlns:p14="http://schemas.microsoft.com/office/powerpoint/2010/main" val="1572986295"/>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HA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2</a:t>
            </a:fld>
            <a:endParaRPr lang="en-US"/>
          </a:p>
        </p:txBody>
      </p:sp>
    </p:spTree>
    <p:extLst>
      <p:ext uri="{BB962C8B-B14F-4D97-AF65-F5344CB8AC3E}">
        <p14:creationId xmlns:p14="http://schemas.microsoft.com/office/powerpoint/2010/main" val="520305943"/>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ND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3</a:t>
            </a:fld>
            <a:endParaRPr lang="en-US"/>
          </a:p>
        </p:txBody>
      </p:sp>
    </p:spTree>
    <p:extLst>
      <p:ext uri="{BB962C8B-B14F-4D97-AF65-F5344CB8AC3E}">
        <p14:creationId xmlns:p14="http://schemas.microsoft.com/office/powerpoint/2010/main" val="3232765968"/>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BR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4</a:t>
            </a:fld>
            <a:endParaRPr lang="en-US"/>
          </a:p>
        </p:txBody>
      </p:sp>
    </p:spTree>
    <p:extLst>
      <p:ext uri="{BB962C8B-B14F-4D97-AF65-F5344CB8AC3E}">
        <p14:creationId xmlns:p14="http://schemas.microsoft.com/office/powerpoint/2010/main" val="248740879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LO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5</a:t>
            </a:fld>
            <a:endParaRPr lang="en-US"/>
          </a:p>
        </p:txBody>
      </p:sp>
    </p:spTree>
    <p:extLst>
      <p:ext uri="{BB962C8B-B14F-4D97-AF65-F5344CB8AC3E}">
        <p14:creationId xmlns:p14="http://schemas.microsoft.com/office/powerpoint/2010/main" val="59855576"/>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CEN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6</a:t>
            </a:fld>
            <a:endParaRPr lang="en-US"/>
          </a:p>
        </p:txBody>
      </p:sp>
    </p:spTree>
    <p:extLst>
      <p:ext uri="{BB962C8B-B14F-4D97-AF65-F5344CB8AC3E}">
        <p14:creationId xmlns:p14="http://schemas.microsoft.com/office/powerpoint/2010/main" val="3707365412"/>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ousseux Bordelais | NICOLAS BOU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094466">
                <a:tc>
                  <a:txBody>
                    <a:bodyPr/>
                    <a:lstStyle/>
                    <a:p>
                      <a:pPr algn="ctr">
                        <a:defRPr sz="800">
                          <a:latin typeface="Nexa Book"/>
                        </a:defRPr>
                      </a:pPr>
                      <a:r>
                        <a:t>Cru La Maqueli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U LA MAQUELINE CREMANT B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SAPH ROSE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094466">
                <a:tc>
                  <a:txBody>
                    <a:bodyPr/>
                    <a:lstStyle/>
                    <a:p>
                      <a:pPr algn="ctr">
                        <a:defRPr sz="800">
                          <a:latin typeface="Nexa Book"/>
                        </a:defRPr>
                      </a:pPr>
                      <a:r>
                        <a:t>Celen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REMANT BORDX CELENE OPALE AC 1CT X 750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627</a:t>
            </a:fld>
            <a:endParaRPr lang="en-US"/>
          </a:p>
        </p:txBody>
      </p:sp>
    </p:spTree>
    <p:extLst>
      <p:ext uri="{BB962C8B-B14F-4D97-AF65-F5344CB8AC3E}">
        <p14:creationId xmlns:p14="http://schemas.microsoft.com/office/powerpoint/2010/main" val="2646576395"/>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V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676891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28</a:t>
            </a:fld>
            <a:endParaRPr lang="en-US"/>
          </a:p>
        </p:txBody>
      </p:sp>
    </p:spTree>
    <p:extLst>
      <p:ext uri="{BB962C8B-B14F-4D97-AF65-F5344CB8AC3E}">
        <p14:creationId xmlns:p14="http://schemas.microsoft.com/office/powerpoint/2010/main" val="212499219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R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1720623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29</a:t>
            </a:fld>
            <a:endParaRPr lang="en-US"/>
          </a:p>
        </p:txBody>
      </p:sp>
    </p:spTree>
    <p:extLst>
      <p:ext uri="{BB962C8B-B14F-4D97-AF65-F5344CB8AC3E}">
        <p14:creationId xmlns:p14="http://schemas.microsoft.com/office/powerpoint/2010/main" val="761951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1357471104"/>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CCQ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615486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0</a:t>
            </a:fld>
            <a:endParaRPr lang="en-US"/>
          </a:p>
        </p:txBody>
      </p:sp>
    </p:spTree>
    <p:extLst>
      <p:ext uri="{BB962C8B-B14F-4D97-AF65-F5344CB8AC3E}">
        <p14:creationId xmlns:p14="http://schemas.microsoft.com/office/powerpoint/2010/main" val="4017792199"/>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C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774827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1</a:t>
            </a:fld>
            <a:endParaRPr lang="en-US"/>
          </a:p>
        </p:txBody>
      </p:sp>
    </p:spTree>
    <p:extLst>
      <p:ext uri="{BB962C8B-B14F-4D97-AF65-F5344CB8AC3E}">
        <p14:creationId xmlns:p14="http://schemas.microsoft.com/office/powerpoint/2010/main" val="227306632"/>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O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0268591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2</a:t>
            </a:fld>
            <a:endParaRPr lang="en-US"/>
          </a:p>
        </p:txBody>
      </p:sp>
    </p:spTree>
    <p:extLst>
      <p:ext uri="{BB962C8B-B14F-4D97-AF65-F5344CB8AC3E}">
        <p14:creationId xmlns:p14="http://schemas.microsoft.com/office/powerpoint/2010/main" val="344602686"/>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HA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291614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3</a:t>
            </a:fld>
            <a:endParaRPr lang="en-US"/>
          </a:p>
        </p:txBody>
      </p:sp>
    </p:spTree>
    <p:extLst>
      <p:ext uri="{BB962C8B-B14F-4D97-AF65-F5344CB8AC3E}">
        <p14:creationId xmlns:p14="http://schemas.microsoft.com/office/powerpoint/2010/main" val="2801089403"/>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ND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16565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4</a:t>
            </a:fld>
            <a:endParaRPr lang="en-US"/>
          </a:p>
        </p:txBody>
      </p:sp>
    </p:spTree>
    <p:extLst>
      <p:ext uri="{BB962C8B-B14F-4D97-AF65-F5344CB8AC3E}">
        <p14:creationId xmlns:p14="http://schemas.microsoft.com/office/powerpoint/2010/main" val="1235944687"/>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BR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717881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5</a:t>
            </a:fld>
            <a:endParaRPr lang="en-US"/>
          </a:p>
        </p:txBody>
      </p:sp>
    </p:spTree>
    <p:extLst>
      <p:ext uri="{BB962C8B-B14F-4D97-AF65-F5344CB8AC3E}">
        <p14:creationId xmlns:p14="http://schemas.microsoft.com/office/powerpoint/2010/main" val="3809281486"/>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LO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174739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6</a:t>
            </a:fld>
            <a:endParaRPr lang="en-US"/>
          </a:p>
        </p:txBody>
      </p:sp>
    </p:spTree>
    <p:extLst>
      <p:ext uri="{BB962C8B-B14F-4D97-AF65-F5344CB8AC3E}">
        <p14:creationId xmlns:p14="http://schemas.microsoft.com/office/powerpoint/2010/main" val="2466416353"/>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CE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9929115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7</a:t>
            </a:fld>
            <a:endParaRPr lang="en-US"/>
          </a:p>
        </p:txBody>
      </p:sp>
    </p:spTree>
    <p:extLst>
      <p:ext uri="{BB962C8B-B14F-4D97-AF65-F5344CB8AC3E}">
        <p14:creationId xmlns:p14="http://schemas.microsoft.com/office/powerpoint/2010/main" val="374903124"/>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ffervescents | Nicolas | NICOLAS BO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344337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8</a:t>
            </a:fld>
            <a:endParaRPr lang="en-US"/>
          </a:p>
        </p:txBody>
      </p:sp>
    </p:spTree>
    <p:extLst>
      <p:ext uri="{BB962C8B-B14F-4D97-AF65-F5344CB8AC3E}">
        <p14:creationId xmlns:p14="http://schemas.microsoft.com/office/powerpoint/2010/main" val="3195807892"/>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V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41735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39</a:t>
            </a:fld>
            <a:endParaRPr lang="en-US"/>
          </a:p>
        </p:txBody>
      </p:sp>
    </p:spTree>
    <p:extLst>
      <p:ext uri="{BB962C8B-B14F-4D97-AF65-F5344CB8AC3E}">
        <p14:creationId xmlns:p14="http://schemas.microsoft.com/office/powerpoint/2010/main" val="18201924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3748710092"/>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R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7981913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0</a:t>
            </a:fld>
            <a:endParaRPr lang="en-US"/>
          </a:p>
        </p:txBody>
      </p:sp>
    </p:spTree>
    <p:extLst>
      <p:ext uri="{BB962C8B-B14F-4D97-AF65-F5344CB8AC3E}">
        <p14:creationId xmlns:p14="http://schemas.microsoft.com/office/powerpoint/2010/main" val="172139584"/>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CCQ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3491195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1</a:t>
            </a:fld>
            <a:endParaRPr lang="en-US"/>
          </a:p>
        </p:txBody>
      </p:sp>
    </p:spTree>
    <p:extLst>
      <p:ext uri="{BB962C8B-B14F-4D97-AF65-F5344CB8AC3E}">
        <p14:creationId xmlns:p14="http://schemas.microsoft.com/office/powerpoint/2010/main" val="2074418830"/>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C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1236772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2</a:t>
            </a:fld>
            <a:endParaRPr lang="en-US"/>
          </a:p>
        </p:txBody>
      </p:sp>
    </p:spTree>
    <p:extLst>
      <p:ext uri="{BB962C8B-B14F-4D97-AF65-F5344CB8AC3E}">
        <p14:creationId xmlns:p14="http://schemas.microsoft.com/office/powerpoint/2010/main" val="1328840246"/>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O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935956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3</a:t>
            </a:fld>
            <a:endParaRPr lang="en-US"/>
          </a:p>
        </p:txBody>
      </p:sp>
    </p:spTree>
    <p:extLst>
      <p:ext uri="{BB962C8B-B14F-4D97-AF65-F5344CB8AC3E}">
        <p14:creationId xmlns:p14="http://schemas.microsoft.com/office/powerpoint/2010/main" val="3112187914"/>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HA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585597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4</a:t>
            </a:fld>
            <a:endParaRPr lang="en-US"/>
          </a:p>
        </p:txBody>
      </p:sp>
    </p:spTree>
    <p:extLst>
      <p:ext uri="{BB962C8B-B14F-4D97-AF65-F5344CB8AC3E}">
        <p14:creationId xmlns:p14="http://schemas.microsoft.com/office/powerpoint/2010/main" val="197225483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ND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943767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5</a:t>
            </a:fld>
            <a:endParaRPr lang="en-US"/>
          </a:p>
        </p:txBody>
      </p:sp>
    </p:spTree>
    <p:extLst>
      <p:ext uri="{BB962C8B-B14F-4D97-AF65-F5344CB8AC3E}">
        <p14:creationId xmlns:p14="http://schemas.microsoft.com/office/powerpoint/2010/main" val="1771938321"/>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BR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938809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6</a:t>
            </a:fld>
            <a:endParaRPr lang="en-US"/>
          </a:p>
        </p:txBody>
      </p:sp>
    </p:spTree>
    <p:extLst>
      <p:ext uri="{BB962C8B-B14F-4D97-AF65-F5344CB8AC3E}">
        <p14:creationId xmlns:p14="http://schemas.microsoft.com/office/powerpoint/2010/main" val="2531064769"/>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LO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135010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7</a:t>
            </a:fld>
            <a:endParaRPr lang="en-US"/>
          </a:p>
        </p:txBody>
      </p:sp>
    </p:spTree>
    <p:extLst>
      <p:ext uri="{BB962C8B-B14F-4D97-AF65-F5344CB8AC3E}">
        <p14:creationId xmlns:p14="http://schemas.microsoft.com/office/powerpoint/2010/main" val="2877783899"/>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CE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3773807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8</a:t>
            </a:fld>
            <a:endParaRPr lang="en-US"/>
          </a:p>
        </p:txBody>
      </p:sp>
    </p:spTree>
    <p:extLst>
      <p:ext uri="{BB962C8B-B14F-4D97-AF65-F5344CB8AC3E}">
        <p14:creationId xmlns:p14="http://schemas.microsoft.com/office/powerpoint/2010/main" val="625548279"/>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hampagnes | Nicolas | NICOLAS BO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296103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49</a:t>
            </a:fld>
            <a:endParaRPr lang="en-US"/>
          </a:p>
        </p:txBody>
      </p:sp>
    </p:spTree>
    <p:extLst>
      <p:ext uri="{BB962C8B-B14F-4D97-AF65-F5344CB8AC3E}">
        <p14:creationId xmlns:p14="http://schemas.microsoft.com/office/powerpoint/2010/main" val="24063624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4011809921"/>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V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69601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0</a:t>
            </a:fld>
            <a:endParaRPr lang="en-US"/>
          </a:p>
        </p:txBody>
      </p:sp>
    </p:spTree>
    <p:extLst>
      <p:ext uri="{BB962C8B-B14F-4D97-AF65-F5344CB8AC3E}">
        <p14:creationId xmlns:p14="http://schemas.microsoft.com/office/powerpoint/2010/main" val="325327640"/>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R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2995734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1</a:t>
            </a:fld>
            <a:endParaRPr lang="en-US"/>
          </a:p>
        </p:txBody>
      </p:sp>
    </p:spTree>
    <p:extLst>
      <p:ext uri="{BB962C8B-B14F-4D97-AF65-F5344CB8AC3E}">
        <p14:creationId xmlns:p14="http://schemas.microsoft.com/office/powerpoint/2010/main" val="74271465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CCQ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108925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2</a:t>
            </a:fld>
            <a:endParaRPr lang="en-US"/>
          </a:p>
        </p:txBody>
      </p:sp>
    </p:spTree>
    <p:extLst>
      <p:ext uri="{BB962C8B-B14F-4D97-AF65-F5344CB8AC3E}">
        <p14:creationId xmlns:p14="http://schemas.microsoft.com/office/powerpoint/2010/main" val="722676445"/>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C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542735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3</a:t>
            </a:fld>
            <a:endParaRPr lang="en-US"/>
          </a:p>
        </p:txBody>
      </p:sp>
    </p:spTree>
    <p:extLst>
      <p:ext uri="{BB962C8B-B14F-4D97-AF65-F5344CB8AC3E}">
        <p14:creationId xmlns:p14="http://schemas.microsoft.com/office/powerpoint/2010/main" val="3254793555"/>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O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373010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4</a:t>
            </a:fld>
            <a:endParaRPr lang="en-US"/>
          </a:p>
        </p:txBody>
      </p:sp>
    </p:spTree>
    <p:extLst>
      <p:ext uri="{BB962C8B-B14F-4D97-AF65-F5344CB8AC3E}">
        <p14:creationId xmlns:p14="http://schemas.microsoft.com/office/powerpoint/2010/main" val="3765006510"/>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HA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434301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5</a:t>
            </a:fld>
            <a:endParaRPr lang="en-US"/>
          </a:p>
        </p:txBody>
      </p:sp>
    </p:spTree>
    <p:extLst>
      <p:ext uri="{BB962C8B-B14F-4D97-AF65-F5344CB8AC3E}">
        <p14:creationId xmlns:p14="http://schemas.microsoft.com/office/powerpoint/2010/main" val="2657753881"/>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ND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7959869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6</a:t>
            </a:fld>
            <a:endParaRPr lang="en-US"/>
          </a:p>
        </p:txBody>
      </p:sp>
    </p:spTree>
    <p:extLst>
      <p:ext uri="{BB962C8B-B14F-4D97-AF65-F5344CB8AC3E}">
        <p14:creationId xmlns:p14="http://schemas.microsoft.com/office/powerpoint/2010/main" val="2977411645"/>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BR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458260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7</a:t>
            </a:fld>
            <a:endParaRPr lang="en-US"/>
          </a:p>
        </p:txBody>
      </p:sp>
    </p:spTree>
    <p:extLst>
      <p:ext uri="{BB962C8B-B14F-4D97-AF65-F5344CB8AC3E}">
        <p14:creationId xmlns:p14="http://schemas.microsoft.com/office/powerpoint/2010/main" val="4017162901"/>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LO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302584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8</a:t>
            </a:fld>
            <a:endParaRPr lang="en-US"/>
          </a:p>
        </p:txBody>
      </p:sp>
    </p:spTree>
    <p:extLst>
      <p:ext uri="{BB962C8B-B14F-4D97-AF65-F5344CB8AC3E}">
        <p14:creationId xmlns:p14="http://schemas.microsoft.com/office/powerpoint/2010/main" val="2739307900"/>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lanc De Blancs | Nicolas | NICOLAS CE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7097304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59</a:t>
            </a:fld>
            <a:endParaRPr lang="en-US"/>
          </a:p>
        </p:txBody>
      </p:sp>
    </p:spTree>
    <p:extLst>
      <p:ext uri="{BB962C8B-B14F-4D97-AF65-F5344CB8AC3E}">
        <p14:creationId xmlns:p14="http://schemas.microsoft.com/office/powerpoint/2010/main" val="38107370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Brut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449236206"/>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V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3414730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0</a:t>
            </a:fld>
            <a:endParaRPr lang="en-US"/>
          </a:p>
        </p:txBody>
      </p:sp>
    </p:spTree>
    <p:extLst>
      <p:ext uri="{BB962C8B-B14F-4D97-AF65-F5344CB8AC3E}">
        <p14:creationId xmlns:p14="http://schemas.microsoft.com/office/powerpoint/2010/main" val="2667526775"/>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R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6740380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1</a:t>
            </a:fld>
            <a:endParaRPr lang="en-US"/>
          </a:p>
        </p:txBody>
      </p:sp>
    </p:spTree>
    <p:extLst>
      <p:ext uri="{BB962C8B-B14F-4D97-AF65-F5344CB8AC3E}">
        <p14:creationId xmlns:p14="http://schemas.microsoft.com/office/powerpoint/2010/main" val="3522797700"/>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CCQ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7280474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2</a:t>
            </a:fld>
            <a:endParaRPr lang="en-US"/>
          </a:p>
        </p:txBody>
      </p:sp>
    </p:spTree>
    <p:extLst>
      <p:ext uri="{BB962C8B-B14F-4D97-AF65-F5344CB8AC3E}">
        <p14:creationId xmlns:p14="http://schemas.microsoft.com/office/powerpoint/2010/main" val="426607014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C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826750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3</a:t>
            </a:fld>
            <a:endParaRPr lang="en-US"/>
          </a:p>
        </p:txBody>
      </p:sp>
    </p:spTree>
    <p:extLst>
      <p:ext uri="{BB962C8B-B14F-4D97-AF65-F5344CB8AC3E}">
        <p14:creationId xmlns:p14="http://schemas.microsoft.com/office/powerpoint/2010/main" val="3198896043"/>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O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45013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4</a:t>
            </a:fld>
            <a:endParaRPr lang="en-US"/>
          </a:p>
        </p:txBody>
      </p:sp>
    </p:spTree>
    <p:extLst>
      <p:ext uri="{BB962C8B-B14F-4D97-AF65-F5344CB8AC3E}">
        <p14:creationId xmlns:p14="http://schemas.microsoft.com/office/powerpoint/2010/main" val="3787434314"/>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HA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6559189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5</a:t>
            </a:fld>
            <a:endParaRPr lang="en-US"/>
          </a:p>
        </p:txBody>
      </p:sp>
    </p:spTree>
    <p:extLst>
      <p:ext uri="{BB962C8B-B14F-4D97-AF65-F5344CB8AC3E}">
        <p14:creationId xmlns:p14="http://schemas.microsoft.com/office/powerpoint/2010/main" val="2512843840"/>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ND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907901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6</a:t>
            </a:fld>
            <a:endParaRPr lang="en-US"/>
          </a:p>
        </p:txBody>
      </p:sp>
    </p:spTree>
    <p:extLst>
      <p:ext uri="{BB962C8B-B14F-4D97-AF65-F5344CB8AC3E}">
        <p14:creationId xmlns:p14="http://schemas.microsoft.com/office/powerpoint/2010/main" val="176742338"/>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BR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873496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7</a:t>
            </a:fld>
            <a:endParaRPr lang="en-US"/>
          </a:p>
        </p:txBody>
      </p:sp>
    </p:spTree>
    <p:extLst>
      <p:ext uri="{BB962C8B-B14F-4D97-AF65-F5344CB8AC3E}">
        <p14:creationId xmlns:p14="http://schemas.microsoft.com/office/powerpoint/2010/main" val="1294713268"/>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LO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629180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8</a:t>
            </a:fld>
            <a:endParaRPr lang="en-US"/>
          </a:p>
        </p:txBody>
      </p:sp>
    </p:spTree>
    <p:extLst>
      <p:ext uri="{BB962C8B-B14F-4D97-AF65-F5344CB8AC3E}">
        <p14:creationId xmlns:p14="http://schemas.microsoft.com/office/powerpoint/2010/main" val="1443189228"/>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CE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8226050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69</a:t>
            </a:fld>
            <a:endParaRPr lang="en-US"/>
          </a:p>
        </p:txBody>
      </p:sp>
    </p:spTree>
    <p:extLst>
      <p:ext uri="{BB962C8B-B14F-4D97-AF65-F5344CB8AC3E}">
        <p14:creationId xmlns:p14="http://schemas.microsoft.com/office/powerpoint/2010/main" val="28461861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387878669"/>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Bruts | Nicolas | NICOLAS BO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1485385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0</a:t>
            </a:fld>
            <a:endParaRPr lang="en-US"/>
          </a:p>
        </p:txBody>
      </p:sp>
    </p:spTree>
    <p:extLst>
      <p:ext uri="{BB962C8B-B14F-4D97-AF65-F5344CB8AC3E}">
        <p14:creationId xmlns:p14="http://schemas.microsoft.com/office/powerpoint/2010/main" val="3156902396"/>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R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47100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1</a:t>
            </a:fld>
            <a:endParaRPr lang="en-US"/>
          </a:p>
        </p:txBody>
      </p:sp>
    </p:spTree>
    <p:extLst>
      <p:ext uri="{BB962C8B-B14F-4D97-AF65-F5344CB8AC3E}">
        <p14:creationId xmlns:p14="http://schemas.microsoft.com/office/powerpoint/2010/main" val="555265617"/>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O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001186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2</a:t>
            </a:fld>
            <a:endParaRPr lang="en-US"/>
          </a:p>
        </p:txBody>
      </p:sp>
    </p:spTree>
    <p:extLst>
      <p:ext uri="{BB962C8B-B14F-4D97-AF65-F5344CB8AC3E}">
        <p14:creationId xmlns:p14="http://schemas.microsoft.com/office/powerpoint/2010/main" val="3024604351"/>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HA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004103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3</a:t>
            </a:fld>
            <a:endParaRPr lang="en-US"/>
          </a:p>
        </p:txBody>
      </p:sp>
    </p:spTree>
    <p:extLst>
      <p:ext uri="{BB962C8B-B14F-4D97-AF65-F5344CB8AC3E}">
        <p14:creationId xmlns:p14="http://schemas.microsoft.com/office/powerpoint/2010/main" val="1249596031"/>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Crus | Nicolas | NICOLAS BR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798423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4</a:t>
            </a:fld>
            <a:endParaRPr lang="en-US"/>
          </a:p>
        </p:txBody>
      </p:sp>
    </p:spTree>
    <p:extLst>
      <p:ext uri="{BB962C8B-B14F-4D97-AF65-F5344CB8AC3E}">
        <p14:creationId xmlns:p14="http://schemas.microsoft.com/office/powerpoint/2010/main" val="2491458091"/>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VC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14248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5</a:t>
            </a:fld>
            <a:endParaRPr lang="en-US"/>
          </a:p>
        </p:txBody>
      </p:sp>
    </p:spTree>
    <p:extLst>
      <p:ext uri="{BB962C8B-B14F-4D97-AF65-F5344CB8AC3E}">
        <p14:creationId xmlns:p14="http://schemas.microsoft.com/office/powerpoint/2010/main" val="1260450664"/>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RN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863535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6</a:t>
            </a:fld>
            <a:endParaRPr lang="en-US"/>
          </a:p>
        </p:txBody>
      </p:sp>
    </p:spTree>
    <p:extLst>
      <p:ext uri="{BB962C8B-B14F-4D97-AF65-F5344CB8AC3E}">
        <p14:creationId xmlns:p14="http://schemas.microsoft.com/office/powerpoint/2010/main" val="1704934851"/>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CCQ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55236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7</a:t>
            </a:fld>
            <a:endParaRPr lang="en-US"/>
          </a:p>
        </p:txBody>
      </p:sp>
    </p:spTree>
    <p:extLst>
      <p:ext uri="{BB962C8B-B14F-4D97-AF65-F5344CB8AC3E}">
        <p14:creationId xmlns:p14="http://schemas.microsoft.com/office/powerpoint/2010/main" val="1169902541"/>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C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8317401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8</a:t>
            </a:fld>
            <a:endParaRPr lang="en-US"/>
          </a:p>
        </p:txBody>
      </p:sp>
    </p:spTree>
    <p:extLst>
      <p:ext uri="{BB962C8B-B14F-4D97-AF65-F5344CB8AC3E}">
        <p14:creationId xmlns:p14="http://schemas.microsoft.com/office/powerpoint/2010/main" val="4176861719"/>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OCC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689829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79</a:t>
            </a:fld>
            <a:endParaRPr lang="en-US"/>
          </a:p>
        </p:txBody>
      </p:sp>
    </p:spTree>
    <p:extLst>
      <p:ext uri="{BB962C8B-B14F-4D97-AF65-F5344CB8AC3E}">
        <p14:creationId xmlns:p14="http://schemas.microsoft.com/office/powerpoint/2010/main" val="22066815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280462125"/>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HA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751782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0</a:t>
            </a:fld>
            <a:endParaRPr lang="en-US"/>
          </a:p>
        </p:txBody>
      </p:sp>
    </p:spTree>
    <p:extLst>
      <p:ext uri="{BB962C8B-B14F-4D97-AF65-F5344CB8AC3E}">
        <p14:creationId xmlns:p14="http://schemas.microsoft.com/office/powerpoint/2010/main" val="2954694214"/>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ND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028857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1</a:t>
            </a:fld>
            <a:endParaRPr lang="en-US"/>
          </a:p>
        </p:txBody>
      </p:sp>
    </p:spTree>
    <p:extLst>
      <p:ext uri="{BB962C8B-B14F-4D97-AF65-F5344CB8AC3E}">
        <p14:creationId xmlns:p14="http://schemas.microsoft.com/office/powerpoint/2010/main" val="155040776"/>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BR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8720950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2</a:t>
            </a:fld>
            <a:endParaRPr lang="en-US"/>
          </a:p>
        </p:txBody>
      </p:sp>
    </p:spTree>
    <p:extLst>
      <p:ext uri="{BB962C8B-B14F-4D97-AF65-F5344CB8AC3E}">
        <p14:creationId xmlns:p14="http://schemas.microsoft.com/office/powerpoint/2010/main" val="1454615120"/>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LO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76783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3</a:t>
            </a:fld>
            <a:endParaRPr lang="en-US"/>
          </a:p>
        </p:txBody>
      </p:sp>
    </p:spTree>
    <p:extLst>
      <p:ext uri="{BB962C8B-B14F-4D97-AF65-F5344CB8AC3E}">
        <p14:creationId xmlns:p14="http://schemas.microsoft.com/office/powerpoint/2010/main" val="31540626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osés | Nicolas | NICOLAS BOU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937494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84</a:t>
            </a:fld>
            <a:endParaRPr lang="en-US"/>
          </a:p>
        </p:txBody>
      </p:sp>
    </p:spTree>
    <p:extLst>
      <p:ext uri="{BB962C8B-B14F-4D97-AF65-F5344CB8AC3E}">
        <p14:creationId xmlns:p14="http://schemas.microsoft.com/office/powerpoint/2010/main" val="3778172327"/>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V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7666026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5</a:t>
            </a:fld>
            <a:endParaRPr lang="en-US"/>
          </a:p>
        </p:txBody>
      </p:sp>
    </p:spTree>
    <p:extLst>
      <p:ext uri="{BB962C8B-B14F-4D97-AF65-F5344CB8AC3E}">
        <p14:creationId xmlns:p14="http://schemas.microsoft.com/office/powerpoint/2010/main" val="3685628929"/>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R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9643299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6</a:t>
            </a:fld>
            <a:endParaRPr lang="en-US"/>
          </a:p>
        </p:txBody>
      </p:sp>
    </p:spTree>
    <p:extLst>
      <p:ext uri="{BB962C8B-B14F-4D97-AF65-F5344CB8AC3E}">
        <p14:creationId xmlns:p14="http://schemas.microsoft.com/office/powerpoint/2010/main" val="966703127"/>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CCQ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4607765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7</a:t>
            </a:fld>
            <a:endParaRPr lang="en-US"/>
          </a:p>
        </p:txBody>
      </p:sp>
    </p:spTree>
    <p:extLst>
      <p:ext uri="{BB962C8B-B14F-4D97-AF65-F5344CB8AC3E}">
        <p14:creationId xmlns:p14="http://schemas.microsoft.com/office/powerpoint/2010/main" val="858929724"/>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C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873297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8</a:t>
            </a:fld>
            <a:endParaRPr lang="en-US"/>
          </a:p>
        </p:txBody>
      </p:sp>
    </p:spTree>
    <p:extLst>
      <p:ext uri="{BB962C8B-B14F-4D97-AF65-F5344CB8AC3E}">
        <p14:creationId xmlns:p14="http://schemas.microsoft.com/office/powerpoint/2010/main" val="387894363"/>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O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046087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89</a:t>
            </a:fld>
            <a:endParaRPr lang="en-US"/>
          </a:p>
        </p:txBody>
      </p:sp>
    </p:spTree>
    <p:extLst>
      <p:ext uri="{BB962C8B-B14F-4D97-AF65-F5344CB8AC3E}">
        <p14:creationId xmlns:p14="http://schemas.microsoft.com/office/powerpoint/2010/main" val="1919265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898236453"/>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HA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86354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0</a:t>
            </a:fld>
            <a:endParaRPr lang="en-US"/>
          </a:p>
        </p:txBody>
      </p:sp>
    </p:spTree>
    <p:extLst>
      <p:ext uri="{BB962C8B-B14F-4D97-AF65-F5344CB8AC3E}">
        <p14:creationId xmlns:p14="http://schemas.microsoft.com/office/powerpoint/2010/main" val="870526149"/>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ND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1987562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1</a:t>
            </a:fld>
            <a:endParaRPr lang="en-US"/>
          </a:p>
        </p:txBody>
      </p:sp>
    </p:spTree>
    <p:extLst>
      <p:ext uri="{BB962C8B-B14F-4D97-AF65-F5344CB8AC3E}">
        <p14:creationId xmlns:p14="http://schemas.microsoft.com/office/powerpoint/2010/main" val="1528254009"/>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BR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329751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2</a:t>
            </a:fld>
            <a:endParaRPr lang="en-US"/>
          </a:p>
        </p:txBody>
      </p:sp>
    </p:spTree>
    <p:extLst>
      <p:ext uri="{BB962C8B-B14F-4D97-AF65-F5344CB8AC3E}">
        <p14:creationId xmlns:p14="http://schemas.microsoft.com/office/powerpoint/2010/main" val="184846165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LO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4936409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3</a:t>
            </a:fld>
            <a:endParaRPr lang="en-US"/>
          </a:p>
        </p:txBody>
      </p:sp>
    </p:spTree>
    <p:extLst>
      <p:ext uri="{BB962C8B-B14F-4D97-AF65-F5344CB8AC3E}">
        <p14:creationId xmlns:p14="http://schemas.microsoft.com/office/powerpoint/2010/main" val="752439659"/>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CE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821314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4</a:t>
            </a:fld>
            <a:endParaRPr lang="en-US"/>
          </a:p>
        </p:txBody>
      </p:sp>
    </p:spTree>
    <p:extLst>
      <p:ext uri="{BB962C8B-B14F-4D97-AF65-F5344CB8AC3E}">
        <p14:creationId xmlns:p14="http://schemas.microsoft.com/office/powerpoint/2010/main" val="2894925027"/>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ffervescents | Nicolas | NICOLAS BO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0980238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5</a:t>
            </a:fld>
            <a:endParaRPr lang="en-US"/>
          </a:p>
        </p:txBody>
      </p:sp>
    </p:spTree>
    <p:extLst>
      <p:ext uri="{BB962C8B-B14F-4D97-AF65-F5344CB8AC3E}">
        <p14:creationId xmlns:p14="http://schemas.microsoft.com/office/powerpoint/2010/main" val="3714709731"/>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V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42926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6</a:t>
            </a:fld>
            <a:endParaRPr lang="en-US"/>
          </a:p>
        </p:txBody>
      </p:sp>
    </p:spTree>
    <p:extLst>
      <p:ext uri="{BB962C8B-B14F-4D97-AF65-F5344CB8AC3E}">
        <p14:creationId xmlns:p14="http://schemas.microsoft.com/office/powerpoint/2010/main" val="2476456166"/>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R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355518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7</a:t>
            </a:fld>
            <a:endParaRPr lang="en-US"/>
          </a:p>
        </p:txBody>
      </p:sp>
    </p:spTree>
    <p:extLst>
      <p:ext uri="{BB962C8B-B14F-4D97-AF65-F5344CB8AC3E}">
        <p14:creationId xmlns:p14="http://schemas.microsoft.com/office/powerpoint/2010/main" val="2877656044"/>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CCQ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563690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8</a:t>
            </a:fld>
            <a:endParaRPr lang="en-US"/>
          </a:p>
        </p:txBody>
      </p:sp>
    </p:spTree>
    <p:extLst>
      <p:ext uri="{BB962C8B-B14F-4D97-AF65-F5344CB8AC3E}">
        <p14:creationId xmlns:p14="http://schemas.microsoft.com/office/powerpoint/2010/main" val="2434336482"/>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C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061845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699</a:t>
            </a:fld>
            <a:endParaRPr lang="en-US"/>
          </a:p>
        </p:txBody>
      </p:sp>
    </p:spTree>
    <p:extLst>
      <p:ext uri="{BB962C8B-B14F-4D97-AF65-F5344CB8AC3E}">
        <p14:creationId xmlns:p14="http://schemas.microsoft.com/office/powerpoint/2010/main" val="3597218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518274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857901211"/>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O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9332626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0</a:t>
            </a:fld>
            <a:endParaRPr lang="en-US"/>
          </a:p>
        </p:txBody>
      </p:sp>
    </p:spTree>
    <p:extLst>
      <p:ext uri="{BB962C8B-B14F-4D97-AF65-F5344CB8AC3E}">
        <p14:creationId xmlns:p14="http://schemas.microsoft.com/office/powerpoint/2010/main" val="3072844246"/>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HA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1509659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1</a:t>
            </a:fld>
            <a:endParaRPr lang="en-US"/>
          </a:p>
        </p:txBody>
      </p:sp>
    </p:spTree>
    <p:extLst>
      <p:ext uri="{BB962C8B-B14F-4D97-AF65-F5344CB8AC3E}">
        <p14:creationId xmlns:p14="http://schemas.microsoft.com/office/powerpoint/2010/main" val="349062361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ND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8299970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2</a:t>
            </a:fld>
            <a:endParaRPr lang="en-US"/>
          </a:p>
        </p:txBody>
      </p:sp>
    </p:spTree>
    <p:extLst>
      <p:ext uri="{BB962C8B-B14F-4D97-AF65-F5344CB8AC3E}">
        <p14:creationId xmlns:p14="http://schemas.microsoft.com/office/powerpoint/2010/main" val="382948015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BR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207822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3</a:t>
            </a:fld>
            <a:endParaRPr lang="en-US"/>
          </a:p>
        </p:txBody>
      </p:sp>
    </p:spTree>
    <p:extLst>
      <p:ext uri="{BB962C8B-B14F-4D97-AF65-F5344CB8AC3E}">
        <p14:creationId xmlns:p14="http://schemas.microsoft.com/office/powerpoint/2010/main" val="3744546569"/>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LO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763714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4</a:t>
            </a:fld>
            <a:endParaRPr lang="en-US"/>
          </a:p>
        </p:txBody>
      </p:sp>
    </p:spTree>
    <p:extLst>
      <p:ext uri="{BB962C8B-B14F-4D97-AF65-F5344CB8AC3E}">
        <p14:creationId xmlns:p14="http://schemas.microsoft.com/office/powerpoint/2010/main" val="2010032535"/>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CE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7127768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5</a:t>
            </a:fld>
            <a:endParaRPr lang="en-US"/>
          </a:p>
        </p:txBody>
      </p:sp>
    </p:spTree>
    <p:extLst>
      <p:ext uri="{BB962C8B-B14F-4D97-AF65-F5344CB8AC3E}">
        <p14:creationId xmlns:p14="http://schemas.microsoft.com/office/powerpoint/2010/main" val="2127194234"/>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hampagnes | Nicolas | NICOLAS BO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183605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6</a:t>
            </a:fld>
            <a:endParaRPr lang="en-US"/>
          </a:p>
        </p:txBody>
      </p:sp>
    </p:spTree>
    <p:extLst>
      <p:ext uri="{BB962C8B-B14F-4D97-AF65-F5344CB8AC3E}">
        <p14:creationId xmlns:p14="http://schemas.microsoft.com/office/powerpoint/2010/main" val="3538590954"/>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V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8390576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7</a:t>
            </a:fld>
            <a:endParaRPr lang="en-US"/>
          </a:p>
        </p:txBody>
      </p:sp>
    </p:spTree>
    <p:extLst>
      <p:ext uri="{BB962C8B-B14F-4D97-AF65-F5344CB8AC3E}">
        <p14:creationId xmlns:p14="http://schemas.microsoft.com/office/powerpoint/2010/main" val="177168266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R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905494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8</a:t>
            </a:fld>
            <a:endParaRPr lang="en-US"/>
          </a:p>
        </p:txBody>
      </p:sp>
    </p:spTree>
    <p:extLst>
      <p:ext uri="{BB962C8B-B14F-4D97-AF65-F5344CB8AC3E}">
        <p14:creationId xmlns:p14="http://schemas.microsoft.com/office/powerpoint/2010/main" val="1498096203"/>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CCQ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034919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09</a:t>
            </a:fld>
            <a:endParaRPr lang="en-US"/>
          </a:p>
        </p:txBody>
      </p:sp>
    </p:spTree>
    <p:extLst>
      <p:ext uri="{BB962C8B-B14F-4D97-AF65-F5344CB8AC3E}">
        <p14:creationId xmlns:p14="http://schemas.microsoft.com/office/powerpoint/2010/main" val="40112442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2646822239"/>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C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2495579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0</a:t>
            </a:fld>
            <a:endParaRPr lang="en-US"/>
          </a:p>
        </p:txBody>
      </p:sp>
    </p:spTree>
    <p:extLst>
      <p:ext uri="{BB962C8B-B14F-4D97-AF65-F5344CB8AC3E}">
        <p14:creationId xmlns:p14="http://schemas.microsoft.com/office/powerpoint/2010/main" val="863487625"/>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O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2676307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1</a:t>
            </a:fld>
            <a:endParaRPr lang="en-US"/>
          </a:p>
        </p:txBody>
      </p:sp>
    </p:spTree>
    <p:extLst>
      <p:ext uri="{BB962C8B-B14F-4D97-AF65-F5344CB8AC3E}">
        <p14:creationId xmlns:p14="http://schemas.microsoft.com/office/powerpoint/2010/main" val="2797165195"/>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HA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6218282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2</a:t>
            </a:fld>
            <a:endParaRPr lang="en-US"/>
          </a:p>
        </p:txBody>
      </p:sp>
    </p:spTree>
    <p:extLst>
      <p:ext uri="{BB962C8B-B14F-4D97-AF65-F5344CB8AC3E}">
        <p14:creationId xmlns:p14="http://schemas.microsoft.com/office/powerpoint/2010/main" val="2415612760"/>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ND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7622960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3</a:t>
            </a:fld>
            <a:endParaRPr lang="en-US"/>
          </a:p>
        </p:txBody>
      </p:sp>
    </p:spTree>
    <p:extLst>
      <p:ext uri="{BB962C8B-B14F-4D97-AF65-F5344CB8AC3E}">
        <p14:creationId xmlns:p14="http://schemas.microsoft.com/office/powerpoint/2010/main" val="1143681858"/>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BR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339601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4</a:t>
            </a:fld>
            <a:endParaRPr lang="en-US"/>
          </a:p>
        </p:txBody>
      </p:sp>
    </p:spTree>
    <p:extLst>
      <p:ext uri="{BB962C8B-B14F-4D97-AF65-F5344CB8AC3E}">
        <p14:creationId xmlns:p14="http://schemas.microsoft.com/office/powerpoint/2010/main" val="3556144080"/>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LO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6728036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5</a:t>
            </a:fld>
            <a:endParaRPr lang="en-US"/>
          </a:p>
        </p:txBody>
      </p:sp>
    </p:spTree>
    <p:extLst>
      <p:ext uri="{BB962C8B-B14F-4D97-AF65-F5344CB8AC3E}">
        <p14:creationId xmlns:p14="http://schemas.microsoft.com/office/powerpoint/2010/main" val="2028095989"/>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lanc De Blancs | Nicolas | NICOLAS CE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0891975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6</a:t>
            </a:fld>
            <a:endParaRPr lang="en-US"/>
          </a:p>
        </p:txBody>
      </p:sp>
    </p:spTree>
    <p:extLst>
      <p:ext uri="{BB962C8B-B14F-4D97-AF65-F5344CB8AC3E}">
        <p14:creationId xmlns:p14="http://schemas.microsoft.com/office/powerpoint/2010/main" val="397608827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V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8148682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7</a:t>
            </a:fld>
            <a:endParaRPr lang="en-US"/>
          </a:p>
        </p:txBody>
      </p:sp>
    </p:spTree>
    <p:extLst>
      <p:ext uri="{BB962C8B-B14F-4D97-AF65-F5344CB8AC3E}">
        <p14:creationId xmlns:p14="http://schemas.microsoft.com/office/powerpoint/2010/main" val="1783011297"/>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R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619643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8</a:t>
            </a:fld>
            <a:endParaRPr lang="en-US"/>
          </a:p>
        </p:txBody>
      </p:sp>
    </p:spTree>
    <p:extLst>
      <p:ext uri="{BB962C8B-B14F-4D97-AF65-F5344CB8AC3E}">
        <p14:creationId xmlns:p14="http://schemas.microsoft.com/office/powerpoint/2010/main" val="1976009822"/>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CCQ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157057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19</a:t>
            </a:fld>
            <a:endParaRPr lang="en-US"/>
          </a:p>
        </p:txBody>
      </p:sp>
    </p:spTree>
    <p:extLst>
      <p:ext uri="{BB962C8B-B14F-4D97-AF65-F5344CB8AC3E}">
        <p14:creationId xmlns:p14="http://schemas.microsoft.com/office/powerpoint/2010/main" val="269332738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152644741"/>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C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452192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0</a:t>
            </a:fld>
            <a:endParaRPr lang="en-US"/>
          </a:p>
        </p:txBody>
      </p:sp>
    </p:spTree>
    <p:extLst>
      <p:ext uri="{BB962C8B-B14F-4D97-AF65-F5344CB8AC3E}">
        <p14:creationId xmlns:p14="http://schemas.microsoft.com/office/powerpoint/2010/main" val="1833287592"/>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O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2250026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1</a:t>
            </a:fld>
            <a:endParaRPr lang="en-US"/>
          </a:p>
        </p:txBody>
      </p:sp>
    </p:spTree>
    <p:extLst>
      <p:ext uri="{BB962C8B-B14F-4D97-AF65-F5344CB8AC3E}">
        <p14:creationId xmlns:p14="http://schemas.microsoft.com/office/powerpoint/2010/main" val="86847977"/>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HA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397157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2</a:t>
            </a:fld>
            <a:endParaRPr lang="en-US"/>
          </a:p>
        </p:txBody>
      </p:sp>
    </p:spTree>
    <p:extLst>
      <p:ext uri="{BB962C8B-B14F-4D97-AF65-F5344CB8AC3E}">
        <p14:creationId xmlns:p14="http://schemas.microsoft.com/office/powerpoint/2010/main" val="2075505284"/>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ND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058044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3</a:t>
            </a:fld>
            <a:endParaRPr lang="en-US"/>
          </a:p>
        </p:txBody>
      </p:sp>
    </p:spTree>
    <p:extLst>
      <p:ext uri="{BB962C8B-B14F-4D97-AF65-F5344CB8AC3E}">
        <p14:creationId xmlns:p14="http://schemas.microsoft.com/office/powerpoint/2010/main" val="9229711"/>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BR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4052131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4</a:t>
            </a:fld>
            <a:endParaRPr lang="en-US"/>
          </a:p>
        </p:txBody>
      </p:sp>
    </p:spTree>
    <p:extLst>
      <p:ext uri="{BB962C8B-B14F-4D97-AF65-F5344CB8AC3E}">
        <p14:creationId xmlns:p14="http://schemas.microsoft.com/office/powerpoint/2010/main" val="260506134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LO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445120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5</a:t>
            </a:fld>
            <a:endParaRPr lang="en-US"/>
          </a:p>
        </p:txBody>
      </p:sp>
    </p:spTree>
    <p:extLst>
      <p:ext uri="{BB962C8B-B14F-4D97-AF65-F5344CB8AC3E}">
        <p14:creationId xmlns:p14="http://schemas.microsoft.com/office/powerpoint/2010/main" val="3783707596"/>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CE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4001639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6</a:t>
            </a:fld>
            <a:endParaRPr lang="en-US"/>
          </a:p>
        </p:txBody>
      </p:sp>
    </p:spTree>
    <p:extLst>
      <p:ext uri="{BB962C8B-B14F-4D97-AF65-F5344CB8AC3E}">
        <p14:creationId xmlns:p14="http://schemas.microsoft.com/office/powerpoint/2010/main" val="364153812"/>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Bruts | Nicolas | NICOLAS BO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7483512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7</a:t>
            </a:fld>
            <a:endParaRPr lang="en-US"/>
          </a:p>
        </p:txBody>
      </p:sp>
    </p:spTree>
    <p:extLst>
      <p:ext uri="{BB962C8B-B14F-4D97-AF65-F5344CB8AC3E}">
        <p14:creationId xmlns:p14="http://schemas.microsoft.com/office/powerpoint/2010/main" val="3166360328"/>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R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582676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8</a:t>
            </a:fld>
            <a:endParaRPr lang="en-US"/>
          </a:p>
        </p:txBody>
      </p:sp>
    </p:spTree>
    <p:extLst>
      <p:ext uri="{BB962C8B-B14F-4D97-AF65-F5344CB8AC3E}">
        <p14:creationId xmlns:p14="http://schemas.microsoft.com/office/powerpoint/2010/main" val="1731988268"/>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O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7772002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29</a:t>
            </a:fld>
            <a:endParaRPr lang="en-US"/>
          </a:p>
        </p:txBody>
      </p:sp>
    </p:spTree>
    <p:extLst>
      <p:ext uri="{BB962C8B-B14F-4D97-AF65-F5344CB8AC3E}">
        <p14:creationId xmlns:p14="http://schemas.microsoft.com/office/powerpoint/2010/main" val="28393464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2548915662"/>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HA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853413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0</a:t>
            </a:fld>
            <a:endParaRPr lang="en-US"/>
          </a:p>
        </p:txBody>
      </p:sp>
    </p:spTree>
    <p:extLst>
      <p:ext uri="{BB962C8B-B14F-4D97-AF65-F5344CB8AC3E}">
        <p14:creationId xmlns:p14="http://schemas.microsoft.com/office/powerpoint/2010/main" val="2342962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Crus | Nicolas | NICOLAS BR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483676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1</a:t>
            </a:fld>
            <a:endParaRPr lang="en-US"/>
          </a:p>
        </p:txBody>
      </p:sp>
    </p:spTree>
    <p:extLst>
      <p:ext uri="{BB962C8B-B14F-4D97-AF65-F5344CB8AC3E}">
        <p14:creationId xmlns:p14="http://schemas.microsoft.com/office/powerpoint/2010/main" val="1202304303"/>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VC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47812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2</a:t>
            </a:fld>
            <a:endParaRPr lang="en-US"/>
          </a:p>
        </p:txBody>
      </p:sp>
    </p:spTree>
    <p:extLst>
      <p:ext uri="{BB962C8B-B14F-4D97-AF65-F5344CB8AC3E}">
        <p14:creationId xmlns:p14="http://schemas.microsoft.com/office/powerpoint/2010/main" val="3410196561"/>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RN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9034028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3</a:t>
            </a:fld>
            <a:endParaRPr lang="en-US"/>
          </a:p>
        </p:txBody>
      </p:sp>
    </p:spTree>
    <p:extLst>
      <p:ext uri="{BB962C8B-B14F-4D97-AF65-F5344CB8AC3E}">
        <p14:creationId xmlns:p14="http://schemas.microsoft.com/office/powerpoint/2010/main" val="3992317900"/>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CCQ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405759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4</a:t>
            </a:fld>
            <a:endParaRPr lang="en-US"/>
          </a:p>
        </p:txBody>
      </p:sp>
    </p:spTree>
    <p:extLst>
      <p:ext uri="{BB962C8B-B14F-4D97-AF65-F5344CB8AC3E}">
        <p14:creationId xmlns:p14="http://schemas.microsoft.com/office/powerpoint/2010/main" val="4075679347"/>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C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430537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5</a:t>
            </a:fld>
            <a:endParaRPr lang="en-US"/>
          </a:p>
        </p:txBody>
      </p:sp>
    </p:spTree>
    <p:extLst>
      <p:ext uri="{BB962C8B-B14F-4D97-AF65-F5344CB8AC3E}">
        <p14:creationId xmlns:p14="http://schemas.microsoft.com/office/powerpoint/2010/main" val="1785863303"/>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OCC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852094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6</a:t>
            </a:fld>
            <a:endParaRPr lang="en-US"/>
          </a:p>
        </p:txBody>
      </p:sp>
    </p:spTree>
    <p:extLst>
      <p:ext uri="{BB962C8B-B14F-4D97-AF65-F5344CB8AC3E}">
        <p14:creationId xmlns:p14="http://schemas.microsoft.com/office/powerpoint/2010/main" val="933819278"/>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HA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569812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7</a:t>
            </a:fld>
            <a:endParaRPr lang="en-US"/>
          </a:p>
        </p:txBody>
      </p:sp>
    </p:spTree>
    <p:extLst>
      <p:ext uri="{BB962C8B-B14F-4D97-AF65-F5344CB8AC3E}">
        <p14:creationId xmlns:p14="http://schemas.microsoft.com/office/powerpoint/2010/main" val="425390715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ND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097625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8</a:t>
            </a:fld>
            <a:endParaRPr lang="en-US"/>
          </a:p>
        </p:txBody>
      </p:sp>
    </p:spTree>
    <p:extLst>
      <p:ext uri="{BB962C8B-B14F-4D97-AF65-F5344CB8AC3E}">
        <p14:creationId xmlns:p14="http://schemas.microsoft.com/office/powerpoint/2010/main" val="2949883794"/>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BR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588714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39</a:t>
            </a:fld>
            <a:endParaRPr lang="en-US"/>
          </a:p>
        </p:txBody>
      </p:sp>
    </p:spTree>
    <p:extLst>
      <p:ext uri="{BB962C8B-B14F-4D97-AF65-F5344CB8AC3E}">
        <p14:creationId xmlns:p14="http://schemas.microsoft.com/office/powerpoint/2010/main" val="42576705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271497686"/>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LO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6821603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40</a:t>
            </a:fld>
            <a:endParaRPr lang="en-US"/>
          </a:p>
        </p:txBody>
      </p:sp>
    </p:spTree>
    <p:extLst>
      <p:ext uri="{BB962C8B-B14F-4D97-AF65-F5344CB8AC3E}">
        <p14:creationId xmlns:p14="http://schemas.microsoft.com/office/powerpoint/2010/main" val="642471463"/>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osés | Nicolas | NICOLAS BOU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710774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41</a:t>
            </a:fld>
            <a:endParaRPr lang="en-US"/>
          </a:p>
        </p:txBody>
      </p:sp>
    </p:spTree>
    <p:extLst>
      <p:ext uri="{BB962C8B-B14F-4D97-AF65-F5344CB8AC3E}">
        <p14:creationId xmlns:p14="http://schemas.microsoft.com/office/powerpoint/2010/main" val="3357767059"/>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HA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2</a:t>
            </a:fld>
            <a:endParaRPr lang="en-US"/>
          </a:p>
        </p:txBody>
      </p:sp>
    </p:spTree>
    <p:extLst>
      <p:ext uri="{BB962C8B-B14F-4D97-AF65-F5344CB8AC3E}">
        <p14:creationId xmlns:p14="http://schemas.microsoft.com/office/powerpoint/2010/main" val="1325722179"/>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R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3</a:t>
            </a:fld>
            <a:endParaRPr lang="en-US"/>
          </a:p>
        </p:txBody>
      </p:sp>
    </p:spTree>
    <p:extLst>
      <p:ext uri="{BB962C8B-B14F-4D97-AF65-F5344CB8AC3E}">
        <p14:creationId xmlns:p14="http://schemas.microsoft.com/office/powerpoint/2010/main" val="3997968396"/>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C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10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4</a:t>
            </a:fld>
            <a:endParaRPr lang="en-US"/>
          </a:p>
        </p:txBody>
      </p:sp>
    </p:spTree>
    <p:extLst>
      <p:ext uri="{BB962C8B-B14F-4D97-AF65-F5344CB8AC3E}">
        <p14:creationId xmlns:p14="http://schemas.microsoft.com/office/powerpoint/2010/main" val="414429010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B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5</a:t>
            </a:fld>
            <a:endParaRPr lang="en-US"/>
          </a:p>
        </p:txBody>
      </p:sp>
    </p:spTree>
    <p:extLst>
      <p:ext uri="{BB962C8B-B14F-4D97-AF65-F5344CB8AC3E}">
        <p14:creationId xmlns:p14="http://schemas.microsoft.com/office/powerpoint/2010/main" val="338888499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ND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5</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6</a:t>
            </a:fld>
            <a:endParaRPr lang="en-US"/>
          </a:p>
        </p:txBody>
      </p:sp>
    </p:spTree>
    <p:extLst>
      <p:ext uri="{BB962C8B-B14F-4D97-AF65-F5344CB8AC3E}">
        <p14:creationId xmlns:p14="http://schemas.microsoft.com/office/powerpoint/2010/main" val="3260713328"/>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V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7</a:t>
            </a:fld>
            <a:endParaRPr lang="en-US"/>
          </a:p>
        </p:txBody>
      </p:sp>
    </p:spTree>
    <p:extLst>
      <p:ext uri="{BB962C8B-B14F-4D97-AF65-F5344CB8AC3E}">
        <p14:creationId xmlns:p14="http://schemas.microsoft.com/office/powerpoint/2010/main" val="853703841"/>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CCQ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8</a:t>
            </a:fld>
            <a:endParaRPr lang="en-US"/>
          </a:p>
        </p:txBody>
      </p:sp>
    </p:spTree>
    <p:extLst>
      <p:ext uri="{BB962C8B-B14F-4D97-AF65-F5344CB8AC3E}">
        <p14:creationId xmlns:p14="http://schemas.microsoft.com/office/powerpoint/2010/main" val="4055497915"/>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O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49</a:t>
            </a:fld>
            <a:endParaRPr lang="en-US"/>
          </a:p>
        </p:txBody>
      </p:sp>
    </p:spTree>
    <p:extLst>
      <p:ext uri="{BB962C8B-B14F-4D97-AF65-F5344CB8AC3E}">
        <p14:creationId xmlns:p14="http://schemas.microsoft.com/office/powerpoint/2010/main" val="38333807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4220190552"/>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LO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0</a:t>
            </a:fld>
            <a:endParaRPr lang="en-US"/>
          </a:p>
        </p:txBody>
      </p:sp>
    </p:spTree>
    <p:extLst>
      <p:ext uri="{BB962C8B-B14F-4D97-AF65-F5344CB8AC3E}">
        <p14:creationId xmlns:p14="http://schemas.microsoft.com/office/powerpoint/2010/main" val="2437601973"/>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CE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1</a:t>
            </a:fld>
            <a:endParaRPr lang="en-US"/>
          </a:p>
        </p:txBody>
      </p:sp>
    </p:spTree>
    <p:extLst>
      <p:ext uri="{BB962C8B-B14F-4D97-AF65-F5344CB8AC3E}">
        <p14:creationId xmlns:p14="http://schemas.microsoft.com/office/powerpoint/2010/main" val="915544807"/>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Malard Nicolas | NICOLAS BO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2</a:t>
            </a:fld>
            <a:endParaRPr lang="en-US"/>
          </a:p>
        </p:txBody>
      </p:sp>
    </p:spTree>
    <p:extLst>
      <p:ext uri="{BB962C8B-B14F-4D97-AF65-F5344CB8AC3E}">
        <p14:creationId xmlns:p14="http://schemas.microsoft.com/office/powerpoint/2010/main" val="1673096245"/>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C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10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3</a:t>
            </a:fld>
            <a:endParaRPr lang="en-US"/>
          </a:p>
        </p:txBody>
      </p:sp>
    </p:spTree>
    <p:extLst>
      <p:ext uri="{BB962C8B-B14F-4D97-AF65-F5344CB8AC3E}">
        <p14:creationId xmlns:p14="http://schemas.microsoft.com/office/powerpoint/2010/main" val="1370969684"/>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O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4</a:t>
            </a:fld>
            <a:endParaRPr lang="en-US"/>
          </a:p>
        </p:txBody>
      </p:sp>
    </p:spTree>
    <p:extLst>
      <p:ext uri="{BB962C8B-B14F-4D97-AF65-F5344CB8AC3E}">
        <p14:creationId xmlns:p14="http://schemas.microsoft.com/office/powerpoint/2010/main" val="419908055"/>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R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5</a:t>
            </a:fld>
            <a:endParaRPr lang="en-US"/>
          </a:p>
        </p:txBody>
      </p:sp>
    </p:spTree>
    <p:extLst>
      <p:ext uri="{BB962C8B-B14F-4D97-AF65-F5344CB8AC3E}">
        <p14:creationId xmlns:p14="http://schemas.microsoft.com/office/powerpoint/2010/main" val="1168803134"/>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CCQ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6</a:t>
            </a:fld>
            <a:endParaRPr lang="en-US"/>
          </a:p>
        </p:txBody>
      </p:sp>
    </p:spTree>
    <p:extLst>
      <p:ext uri="{BB962C8B-B14F-4D97-AF65-F5344CB8AC3E}">
        <p14:creationId xmlns:p14="http://schemas.microsoft.com/office/powerpoint/2010/main" val="1530879866"/>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B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7</a:t>
            </a:fld>
            <a:endParaRPr lang="en-US"/>
          </a:p>
        </p:txBody>
      </p:sp>
    </p:spTree>
    <p:extLst>
      <p:ext uri="{BB962C8B-B14F-4D97-AF65-F5344CB8AC3E}">
        <p14:creationId xmlns:p14="http://schemas.microsoft.com/office/powerpoint/2010/main" val="4060527235"/>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ND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5</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8</a:t>
            </a:fld>
            <a:endParaRPr lang="en-US"/>
          </a:p>
        </p:txBody>
      </p:sp>
    </p:spTree>
    <p:extLst>
      <p:ext uri="{BB962C8B-B14F-4D97-AF65-F5344CB8AC3E}">
        <p14:creationId xmlns:p14="http://schemas.microsoft.com/office/powerpoint/2010/main" val="2856245404"/>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HA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59</a:t>
            </a:fld>
            <a:endParaRPr lang="en-US"/>
          </a:p>
        </p:txBody>
      </p:sp>
    </p:spTree>
    <p:extLst>
      <p:ext uri="{BB962C8B-B14F-4D97-AF65-F5344CB8AC3E}">
        <p14:creationId xmlns:p14="http://schemas.microsoft.com/office/powerpoint/2010/main" val="39991250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4011662836"/>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V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9</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0</a:t>
            </a:fld>
            <a:endParaRPr lang="en-US"/>
          </a:p>
        </p:txBody>
      </p:sp>
    </p:spTree>
    <p:extLst>
      <p:ext uri="{BB962C8B-B14F-4D97-AF65-F5344CB8AC3E}">
        <p14:creationId xmlns:p14="http://schemas.microsoft.com/office/powerpoint/2010/main" val="2866458179"/>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LO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1</a:t>
            </a:fld>
            <a:endParaRPr lang="en-US"/>
          </a:p>
        </p:txBody>
      </p:sp>
    </p:spTree>
    <p:extLst>
      <p:ext uri="{BB962C8B-B14F-4D97-AF65-F5344CB8AC3E}">
        <p14:creationId xmlns:p14="http://schemas.microsoft.com/office/powerpoint/2010/main" val="1010406443"/>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BO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2</a:t>
            </a:fld>
            <a:endParaRPr lang="en-US"/>
          </a:p>
        </p:txBody>
      </p:sp>
    </p:spTree>
    <p:extLst>
      <p:ext uri="{BB962C8B-B14F-4D97-AF65-F5344CB8AC3E}">
        <p14:creationId xmlns:p14="http://schemas.microsoft.com/office/powerpoint/2010/main" val="4113310009"/>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Effervescents | Nicolas | NICOLAS CE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Champagnes</a:t>
                      </a:r>
                    </a:p>
                  </a:txBody>
                  <a:tcPr marL="3810" marR="3810" marT="3810" marB="0" anchor="ctr">
                    <a:noFill/>
                  </a:tcPr>
                </a:tc>
                <a:tc>
                  <a:txBody>
                    <a:bodyPr/>
                    <a:lstStyle/>
                    <a:p>
                      <a:pPr algn="ctr">
                        <a:defRPr sz="800">
                          <a:latin typeface="Nexa Book"/>
                        </a:defRPr>
                      </a:pPr>
                      <a:r>
                        <a:t>8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Mousseux</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Effervescents Sans Alcool</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3</a:t>
            </a:fld>
            <a:endParaRPr lang="en-US"/>
          </a:p>
        </p:txBody>
      </p:sp>
    </p:spTree>
    <p:extLst>
      <p:ext uri="{BB962C8B-B14F-4D97-AF65-F5344CB8AC3E}">
        <p14:creationId xmlns:p14="http://schemas.microsoft.com/office/powerpoint/2010/main" val="2818537206"/>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O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4</a:t>
            </a:fld>
            <a:endParaRPr lang="en-US"/>
          </a:p>
        </p:txBody>
      </p:sp>
    </p:spTree>
    <p:extLst>
      <p:ext uri="{BB962C8B-B14F-4D97-AF65-F5344CB8AC3E}">
        <p14:creationId xmlns:p14="http://schemas.microsoft.com/office/powerpoint/2010/main" val="2967776364"/>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B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5</a:t>
            </a:fld>
            <a:endParaRPr lang="en-US"/>
          </a:p>
        </p:txBody>
      </p:sp>
    </p:spTree>
    <p:extLst>
      <p:ext uri="{BB962C8B-B14F-4D97-AF65-F5344CB8AC3E}">
        <p14:creationId xmlns:p14="http://schemas.microsoft.com/office/powerpoint/2010/main" val="3121815846"/>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R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6</a:t>
            </a:fld>
            <a:endParaRPr lang="en-US"/>
          </a:p>
        </p:txBody>
      </p:sp>
    </p:spTree>
    <p:extLst>
      <p:ext uri="{BB962C8B-B14F-4D97-AF65-F5344CB8AC3E}">
        <p14:creationId xmlns:p14="http://schemas.microsoft.com/office/powerpoint/2010/main" val="405446725"/>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HA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7</a:t>
            </a:fld>
            <a:endParaRPr lang="en-US"/>
          </a:p>
        </p:txBody>
      </p:sp>
    </p:spTree>
    <p:extLst>
      <p:ext uri="{BB962C8B-B14F-4D97-AF65-F5344CB8AC3E}">
        <p14:creationId xmlns:p14="http://schemas.microsoft.com/office/powerpoint/2010/main" val="21774545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C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8</a:t>
            </a:fld>
            <a:endParaRPr lang="en-US"/>
          </a:p>
        </p:txBody>
      </p:sp>
    </p:spTree>
    <p:extLst>
      <p:ext uri="{BB962C8B-B14F-4D97-AF65-F5344CB8AC3E}">
        <p14:creationId xmlns:p14="http://schemas.microsoft.com/office/powerpoint/2010/main" val="2109858054"/>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ND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69</a:t>
            </a:fld>
            <a:endParaRPr lang="en-US"/>
          </a:p>
        </p:txBody>
      </p:sp>
    </p:spTree>
    <p:extLst>
      <p:ext uri="{BB962C8B-B14F-4D97-AF65-F5344CB8AC3E}">
        <p14:creationId xmlns:p14="http://schemas.microsoft.com/office/powerpoint/2010/main" val="3679966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Cru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3342223957"/>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CCQ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0</a:t>
            </a:fld>
            <a:endParaRPr lang="en-US"/>
          </a:p>
        </p:txBody>
      </p:sp>
    </p:spTree>
    <p:extLst>
      <p:ext uri="{BB962C8B-B14F-4D97-AF65-F5344CB8AC3E}">
        <p14:creationId xmlns:p14="http://schemas.microsoft.com/office/powerpoint/2010/main" val="2143966230"/>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V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1</a:t>
            </a:fld>
            <a:endParaRPr lang="en-US"/>
          </a:p>
        </p:txBody>
      </p:sp>
    </p:spTree>
    <p:extLst>
      <p:ext uri="{BB962C8B-B14F-4D97-AF65-F5344CB8AC3E}">
        <p14:creationId xmlns:p14="http://schemas.microsoft.com/office/powerpoint/2010/main" val="285709043"/>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CE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2</a:t>
            </a:fld>
            <a:endParaRPr lang="en-US"/>
          </a:p>
        </p:txBody>
      </p:sp>
    </p:spTree>
    <p:extLst>
      <p:ext uri="{BB962C8B-B14F-4D97-AF65-F5344CB8AC3E}">
        <p14:creationId xmlns:p14="http://schemas.microsoft.com/office/powerpoint/2010/main" val="243679785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LO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3</a:t>
            </a:fld>
            <a:endParaRPr lang="en-US"/>
          </a:p>
        </p:txBody>
      </p:sp>
    </p:spTree>
    <p:extLst>
      <p:ext uri="{BB962C8B-B14F-4D97-AF65-F5344CB8AC3E}">
        <p14:creationId xmlns:p14="http://schemas.microsoft.com/office/powerpoint/2010/main" val="2429123235"/>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Malard Nicolas | NICOLAS BO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Malard 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4</a:t>
            </a:fld>
            <a:endParaRPr lang="en-US"/>
          </a:p>
        </p:txBody>
      </p:sp>
    </p:spTree>
    <p:extLst>
      <p:ext uri="{BB962C8B-B14F-4D97-AF65-F5344CB8AC3E}">
        <p14:creationId xmlns:p14="http://schemas.microsoft.com/office/powerpoint/2010/main" val="1674312367"/>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VCT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5</a:t>
            </a:fld>
            <a:endParaRPr lang="en-US"/>
          </a:p>
        </p:txBody>
      </p:sp>
    </p:spTree>
    <p:extLst>
      <p:ext uri="{BB962C8B-B14F-4D97-AF65-F5344CB8AC3E}">
        <p14:creationId xmlns:p14="http://schemas.microsoft.com/office/powerpoint/2010/main" val="2691946898"/>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HA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6</a:t>
            </a:fld>
            <a:endParaRPr lang="en-US"/>
          </a:p>
        </p:txBody>
      </p:sp>
    </p:spTree>
    <p:extLst>
      <p:ext uri="{BB962C8B-B14F-4D97-AF65-F5344CB8AC3E}">
        <p14:creationId xmlns:p14="http://schemas.microsoft.com/office/powerpoint/2010/main" val="765346730"/>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R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7</a:t>
            </a:fld>
            <a:endParaRPr lang="en-US"/>
          </a:p>
        </p:txBody>
      </p:sp>
    </p:spTree>
    <p:extLst>
      <p:ext uri="{BB962C8B-B14F-4D97-AF65-F5344CB8AC3E}">
        <p14:creationId xmlns:p14="http://schemas.microsoft.com/office/powerpoint/2010/main" val="48281547"/>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CCQ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8</a:t>
            </a:fld>
            <a:endParaRPr lang="en-US"/>
          </a:p>
        </p:txBody>
      </p:sp>
    </p:spTree>
    <p:extLst>
      <p:ext uri="{BB962C8B-B14F-4D97-AF65-F5344CB8AC3E}">
        <p14:creationId xmlns:p14="http://schemas.microsoft.com/office/powerpoint/2010/main" val="321769860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ND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79</a:t>
            </a:fld>
            <a:endParaRPr lang="en-US"/>
          </a:p>
        </p:txBody>
      </p:sp>
    </p:spTree>
    <p:extLst>
      <p:ext uri="{BB962C8B-B14F-4D97-AF65-F5344CB8AC3E}">
        <p14:creationId xmlns:p14="http://schemas.microsoft.com/office/powerpoint/2010/main" val="34363051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3354577990"/>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O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0</a:t>
            </a:fld>
            <a:endParaRPr lang="en-US"/>
          </a:p>
        </p:txBody>
      </p:sp>
    </p:spTree>
    <p:extLst>
      <p:ext uri="{BB962C8B-B14F-4D97-AF65-F5344CB8AC3E}">
        <p14:creationId xmlns:p14="http://schemas.microsoft.com/office/powerpoint/2010/main" val="305402051"/>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B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1</a:t>
            </a:fld>
            <a:endParaRPr lang="en-US"/>
          </a:p>
        </p:txBody>
      </p:sp>
    </p:spTree>
    <p:extLst>
      <p:ext uri="{BB962C8B-B14F-4D97-AF65-F5344CB8AC3E}">
        <p14:creationId xmlns:p14="http://schemas.microsoft.com/office/powerpoint/2010/main" val="3140133336"/>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CCC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2</a:t>
            </a:fld>
            <a:endParaRPr lang="en-US"/>
          </a:p>
        </p:txBody>
      </p:sp>
    </p:spTree>
    <p:extLst>
      <p:ext uri="{BB962C8B-B14F-4D97-AF65-F5344CB8AC3E}">
        <p14:creationId xmlns:p14="http://schemas.microsoft.com/office/powerpoint/2010/main" val="1518476459"/>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LO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3</a:t>
            </a:fld>
            <a:endParaRPr lang="en-US"/>
          </a:p>
        </p:txBody>
      </p:sp>
    </p:spTree>
    <p:extLst>
      <p:ext uri="{BB962C8B-B14F-4D97-AF65-F5344CB8AC3E}">
        <p14:creationId xmlns:p14="http://schemas.microsoft.com/office/powerpoint/2010/main" val="3769844668"/>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CEN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4</a:t>
            </a:fld>
            <a:endParaRPr lang="en-US"/>
          </a:p>
        </p:txBody>
      </p:sp>
    </p:spTree>
    <p:extLst>
      <p:ext uri="{BB962C8B-B14F-4D97-AF65-F5344CB8AC3E}">
        <p14:creationId xmlns:p14="http://schemas.microsoft.com/office/powerpoint/2010/main" val="2652803412"/>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Effervescents | Nicolas | NICOLAS BOU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Nicolas</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a:defRPr sz="800" b="1">
                          <a:latin typeface="Nexa (Headings)"/>
                        </a:defRPr>
                      </a:pPr>
                      <a:r>
                        <a:t>Mousseux Italien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277134">
                <a:tc>
                  <a:txBody>
                    <a:bodyPr/>
                    <a:lstStyle/>
                    <a:p>
                      <a:pPr algn="ctr">
                        <a:defRPr sz="800" b="1">
                          <a:latin typeface="Nexa (Headings)"/>
                        </a:defRPr>
                      </a:pPr>
                      <a:r>
                        <a:t>Mousseux Alsace</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a:defRPr sz="800" b="1">
                          <a:latin typeface="Nexa (Headings)"/>
                        </a:defRPr>
                      </a:pPr>
                      <a:r>
                        <a:t>Mousseux Bourgogne</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a:defRPr sz="800" b="1">
                          <a:latin typeface="Nexa (Headings)"/>
                        </a:defRPr>
                      </a:pPr>
                      <a:r>
                        <a:t>Mousseux Bordelais</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a:defRPr sz="800" b="1">
                          <a:latin typeface="Nexa (Headings)"/>
                        </a:defRPr>
                      </a:pPr>
                      <a:r>
                        <a:t>Mousseux Val De Loire</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a:defRPr sz="800" b="1">
                          <a:latin typeface="Nexa (Headings)"/>
                        </a:defRPr>
                      </a:pPr>
                      <a:r>
                        <a:t>Rosé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a:defRPr sz="800" b="1">
                          <a:latin typeface="Nexa (Headings)"/>
                        </a:defRPr>
                      </a:pPr>
                      <a:r>
                        <a:t>Bruts</a:t>
                      </a:r>
                    </a:p>
                  </a:txBody>
                  <a:tcPr marL="3810" marR="3810" marT="3810" marB="0" anchor="ctr">
                    <a:noFill/>
                  </a:tcPr>
                </a:tc>
                <a:tc>
                  <a:txBody>
                    <a:bodyPr/>
                    <a:lstStyle/>
                    <a:p>
                      <a:pPr algn="ctr">
                        <a:defRPr sz="800">
                          <a:latin typeface="Nexa Book"/>
                        </a:defRPr>
                      </a:pPr>
                      <a:r>
                        <a:t>4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a:defRPr sz="800" b="1">
                          <a:latin typeface="Nexa (Headings)"/>
                        </a:defRPr>
                      </a:pPr>
                      <a:r>
                        <a:t>Blanc De Blancs</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a:defRPr sz="800" b="1">
                          <a:latin typeface="Nexa (Headings)"/>
                        </a:defRPr>
                      </a:pPr>
                      <a:r>
                        <a:t>Millesim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a:defRPr sz="800" b="1">
                          <a:latin typeface="Nexa (Headings)"/>
                        </a:defRPr>
                      </a:pPr>
                      <a:r>
                        <a:t>Extra Brut</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a:defRPr sz="800" b="1">
                          <a:latin typeface="Nexa (Headings)"/>
                        </a:defRPr>
                      </a:pPr>
                      <a:r>
                        <a:t>Cru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785</a:t>
            </a:fld>
            <a:endParaRPr lang="en-US"/>
          </a:p>
        </p:txBody>
      </p:sp>
    </p:spTree>
    <p:extLst>
      <p:ext uri="{BB962C8B-B14F-4D97-AF65-F5344CB8AC3E}">
        <p14:creationId xmlns:p14="http://schemas.microsoft.com/office/powerpoint/2010/main" val="28215402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38252758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864487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282020950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7118154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22999199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3782353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41971553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5345000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04230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1967888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xtra Brut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27084730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VC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21734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ffervescent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92744195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R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20738695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CCQ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4609551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C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25362577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OCC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896380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HA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8635311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ND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77557385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BR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9159020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LO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407960681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CEN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24651496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illesimes | NICOLAS BOU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452452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73688</Words>
  <Application>Microsoft Office PowerPoint</Application>
  <PresentationFormat>On-screen Show (16:9)</PresentationFormat>
  <Paragraphs>20969</Paragraphs>
  <Slides>785</Slides>
  <Notes>10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5</vt:i4>
      </vt:variant>
    </vt:vector>
  </HeadingPairs>
  <TitlesOfParts>
    <vt:vector size="795"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Sophie  ZIMMERMANN</cp:lastModifiedBy>
  <cp:revision>24</cp:revision>
  <dcterms:created xsi:type="dcterms:W3CDTF">2024-07-05T14:32:36Z</dcterms:created>
  <dcterms:modified xsi:type="dcterms:W3CDTF">2025-09-01T07:3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